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2.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heme/themeOverride1.xml" ContentType="application/vnd.openxmlformats-officedocument.themeOverr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8.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heme/themeOverride2.xml" ContentType="application/vnd.openxmlformats-officedocument.themeOverride+xml"/>
  <Override PartName="/ppt/notesSlides/notesSlide1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charts/chart1.xml" ContentType="application/vnd.openxmlformats-officedocument.drawingml.chart+xml"/>
  <Override PartName="/ppt/notesSlides/notesSlide20.xml" ContentType="application/vnd.openxmlformats-officedocument.presentationml.notesSlide+xml"/>
  <Override PartName="/ppt/charts/chart2.xml" ContentType="application/vnd.openxmlformats-officedocument.drawingml.chart+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2.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23.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9"/>
  </p:notesMasterIdLst>
  <p:sldIdLst>
    <p:sldId id="370" r:id="rId2"/>
    <p:sldId id="395" r:id="rId3"/>
    <p:sldId id="290" r:id="rId4"/>
    <p:sldId id="399" r:id="rId5"/>
    <p:sldId id="261" r:id="rId6"/>
    <p:sldId id="262" r:id="rId7"/>
    <p:sldId id="413" r:id="rId8"/>
    <p:sldId id="371" r:id="rId9"/>
    <p:sldId id="293" r:id="rId10"/>
    <p:sldId id="335" r:id="rId11"/>
    <p:sldId id="375" r:id="rId12"/>
    <p:sldId id="265" r:id="rId13"/>
    <p:sldId id="377" r:id="rId14"/>
    <p:sldId id="378" r:id="rId15"/>
    <p:sldId id="379" r:id="rId16"/>
    <p:sldId id="380" r:id="rId17"/>
    <p:sldId id="381" r:id="rId18"/>
    <p:sldId id="376" r:id="rId19"/>
    <p:sldId id="263" r:id="rId20"/>
    <p:sldId id="299" r:id="rId21"/>
    <p:sldId id="382" r:id="rId22"/>
    <p:sldId id="266" r:id="rId23"/>
    <p:sldId id="385" r:id="rId24"/>
    <p:sldId id="394" r:id="rId25"/>
    <p:sldId id="268" r:id="rId26"/>
    <p:sldId id="414" r:id="rId27"/>
    <p:sldId id="301" r:id="rId28"/>
    <p:sldId id="302" r:id="rId29"/>
    <p:sldId id="303" r:id="rId30"/>
    <p:sldId id="369" r:id="rId31"/>
    <p:sldId id="374" r:id="rId32"/>
    <p:sldId id="383" r:id="rId33"/>
    <p:sldId id="384" r:id="rId34"/>
    <p:sldId id="336" r:id="rId35"/>
    <p:sldId id="285" r:id="rId36"/>
    <p:sldId id="294" r:id="rId37"/>
    <p:sldId id="295" r:id="rId38"/>
    <p:sldId id="296" r:id="rId39"/>
    <p:sldId id="297" r:id="rId40"/>
    <p:sldId id="401" r:id="rId41"/>
    <p:sldId id="400" r:id="rId42"/>
    <p:sldId id="288" r:id="rId43"/>
    <p:sldId id="338" r:id="rId44"/>
    <p:sldId id="333" r:id="rId45"/>
    <p:sldId id="271" r:id="rId46"/>
    <p:sldId id="415" r:id="rId47"/>
    <p:sldId id="387" r:id="rId48"/>
    <p:sldId id="388" r:id="rId49"/>
    <p:sldId id="367" r:id="rId50"/>
    <p:sldId id="368" r:id="rId51"/>
    <p:sldId id="272" r:id="rId52"/>
    <p:sldId id="273" r:id="rId53"/>
    <p:sldId id="274" r:id="rId54"/>
    <p:sldId id="389" r:id="rId55"/>
    <p:sldId id="391" r:id="rId56"/>
    <p:sldId id="365" r:id="rId57"/>
    <p:sldId id="339" r:id="rId58"/>
    <p:sldId id="275" r:id="rId59"/>
    <p:sldId id="276" r:id="rId60"/>
    <p:sldId id="277" r:id="rId61"/>
    <p:sldId id="278" r:id="rId62"/>
    <p:sldId id="279" r:id="rId63"/>
    <p:sldId id="280" r:id="rId64"/>
    <p:sldId id="282" r:id="rId65"/>
    <p:sldId id="392" r:id="rId66"/>
    <p:sldId id="283" r:id="rId67"/>
    <p:sldId id="287" r:id="rId68"/>
    <p:sldId id="305" r:id="rId69"/>
    <p:sldId id="306" r:id="rId70"/>
    <p:sldId id="307" r:id="rId71"/>
    <p:sldId id="300" r:id="rId72"/>
    <p:sldId id="393" r:id="rId73"/>
    <p:sldId id="396" r:id="rId74"/>
    <p:sldId id="402" r:id="rId75"/>
    <p:sldId id="403" r:id="rId76"/>
    <p:sldId id="405" r:id="rId77"/>
    <p:sldId id="406" r:id="rId78"/>
    <p:sldId id="345" r:id="rId79"/>
    <p:sldId id="407" r:id="rId80"/>
    <p:sldId id="408" r:id="rId81"/>
    <p:sldId id="409" r:id="rId82"/>
    <p:sldId id="410" r:id="rId83"/>
    <p:sldId id="411" r:id="rId84"/>
    <p:sldId id="363" r:id="rId85"/>
    <p:sldId id="340" r:id="rId86"/>
    <p:sldId id="397" r:id="rId87"/>
    <p:sldId id="341" r:id="rId88"/>
    <p:sldId id="342" r:id="rId89"/>
    <p:sldId id="346" r:id="rId90"/>
    <p:sldId id="347" r:id="rId91"/>
    <p:sldId id="348" r:id="rId92"/>
    <p:sldId id="362" r:id="rId93"/>
    <p:sldId id="349" r:id="rId94"/>
    <p:sldId id="350" r:id="rId95"/>
    <p:sldId id="351" r:id="rId96"/>
    <p:sldId id="352" r:id="rId97"/>
    <p:sldId id="353" r:id="rId98"/>
    <p:sldId id="354" r:id="rId99"/>
    <p:sldId id="355" r:id="rId100"/>
    <p:sldId id="356" r:id="rId101"/>
    <p:sldId id="357" r:id="rId102"/>
    <p:sldId id="358" r:id="rId103"/>
    <p:sldId id="359" r:id="rId104"/>
    <p:sldId id="360" r:id="rId105"/>
    <p:sldId id="334" r:id="rId106"/>
    <p:sldId id="310" r:id="rId107"/>
    <p:sldId id="308" r:id="rId108"/>
    <p:sldId id="312" r:id="rId109"/>
    <p:sldId id="311" r:id="rId110"/>
    <p:sldId id="316" r:id="rId111"/>
    <p:sldId id="313" r:id="rId112"/>
    <p:sldId id="314" r:id="rId113"/>
    <p:sldId id="315" r:id="rId114"/>
    <p:sldId id="337" r:id="rId115"/>
    <p:sldId id="332" r:id="rId116"/>
    <p:sldId id="398" r:id="rId117"/>
    <p:sldId id="320" r:id="rId118"/>
    <p:sldId id="321" r:id="rId119"/>
    <p:sldId id="322" r:id="rId120"/>
    <p:sldId id="323" r:id="rId121"/>
    <p:sldId id="318" r:id="rId122"/>
    <p:sldId id="319" r:id="rId123"/>
    <p:sldId id="366" r:id="rId124"/>
    <p:sldId id="325" r:id="rId125"/>
    <p:sldId id="291" r:id="rId126"/>
    <p:sldId id="292" r:id="rId127"/>
    <p:sldId id="364" r:id="rId128"/>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dheer Ram" initials="SR" lastIdx="1" clrIdx="0">
    <p:extLst>
      <p:ext uri="{19B8F6BF-5375-455C-9EA6-DF929625EA0E}">
        <p15:presenceInfo xmlns:p15="http://schemas.microsoft.com/office/powerpoint/2012/main" userId="S-1-5-21-796845957-1645522239-682003330-15821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8C791D1-577A-447D-96BB-B3F56476A42B}">
  <a:tblStyle styleId="{C8C791D1-577A-447D-96BB-B3F56476A42B}" styleName="MERCK Table Template">
    <a:wholeTbl>
      <a:tcTxStyle>
        <a:fontRef idx="minor">
          <a:scrgbClr r="0" g="0" b="0"/>
        </a:fontRef>
        <a:schemeClr val="tx1"/>
      </a:tcTxStyle>
      <a:tcStyle>
        <a:tcBdr>
          <a:left>
            <a:ln>
              <a:noFill/>
            </a:ln>
          </a:left>
          <a:right>
            <a:ln>
              <a:noFill/>
            </a:ln>
          </a:right>
          <a:top>
            <a:ln w="9525" cmpd="sng">
              <a:solidFill>
                <a:schemeClr val="accent1"/>
              </a:solidFill>
            </a:ln>
          </a:top>
          <a:bottom>
            <a:ln w="9525" cmpd="sng">
              <a:solidFill>
                <a:schemeClr val="accent1"/>
              </a:solidFill>
            </a:ln>
          </a:bottom>
          <a:insideH>
            <a:ln w="9525" cmpd="sng">
              <a:solidFill>
                <a:schemeClr val="accent1"/>
              </a:solidFill>
            </a:ln>
          </a:insideH>
          <a:insideV>
            <a:ln>
              <a:noFill/>
            </a:ln>
          </a:insideV>
        </a:tcBdr>
        <a:fill>
          <a:noFill/>
        </a:fill>
      </a:tcStyle>
    </a:wholeTbl>
    <a:lastCol>
      <a:tcTxStyle b="on">
        <a:fontRef idx="minor">
          <a:scrgbClr r="0" g="0" b="0"/>
        </a:fontRef>
        <a:schemeClr val="accent1"/>
      </a:tcTxStyle>
      <a:tcStyle>
        <a:tcBdr/>
      </a:tcStyle>
    </a:lastCol>
    <a:firstCol>
      <a:tcTxStyle b="on">
        <a:fontRef idx="minor">
          <a:scrgbClr r="0" g="0" b="0"/>
        </a:fontRef>
        <a:schemeClr val="accent1"/>
      </a:tcTxStyle>
      <a:tcStyle>
        <a:tcBdr/>
      </a:tcStyle>
    </a:firstCol>
    <a:lastRow>
      <a:tcTxStyle b="on">
        <a:fontRef idx="minor">
          <a:scrgbClr r="0" g="0" b="0"/>
        </a:fontRef>
        <a:schemeClr val="accent1"/>
      </a:tcTxStyle>
      <a:tcStyle>
        <a:tcBdr/>
      </a:tcStyle>
    </a:lastRow>
    <a:firstRow>
      <a:tcTxStyle b="off">
        <a:fontRef idx="minor">
          <a:scrgbClr r="0" g="0" b="0"/>
        </a:fontRef>
        <a:schemeClr val="bg1"/>
      </a:tcTxStyle>
      <a:tcStyle>
        <a:tcBdr/>
        <a:fillRef idx="1">
          <a:schemeClr val="accent1"/>
        </a:fillRef>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569" autoAdjust="0"/>
    <p:restoredTop sz="87354" autoAdjust="0"/>
  </p:normalViewPr>
  <p:slideViewPr>
    <p:cSldViewPr showGuides="1">
      <p:cViewPr varScale="1">
        <p:scale>
          <a:sx n="100" d="100"/>
          <a:sy n="100" d="100"/>
        </p:scale>
        <p:origin x="960" y="78"/>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7" d="100"/>
          <a:sy n="87" d="100"/>
        </p:scale>
        <p:origin x="3840" y="90"/>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tableStyles" Target="tableStyle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notesMaster" Target="notesMasters/notesMaster1.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commentAuthors" Target="commentAuthor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viewProps" Target="viewProps.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25"/>
    </mc:Choice>
    <mc:Fallback>
      <c:style val="25"/>
    </mc:Fallback>
  </mc:AlternateContent>
  <c:chart>
    <c:autoTitleDeleted val="1"/>
    <c:plotArea>
      <c:layout/>
      <c:scatterChart>
        <c:scatterStyle val="smoothMarker"/>
        <c:varyColors val="0"/>
        <c:ser>
          <c:idx val="0"/>
          <c:order val="0"/>
          <c:tx>
            <c:strRef>
              <c:f>Sheet1!$B$1</c:f>
              <c:strCache>
                <c:ptCount val="1"/>
                <c:pt idx="0">
                  <c:v>Cost</c:v>
                </c:pt>
              </c:strCache>
            </c:strRef>
          </c:tx>
          <c:spPr>
            <a:ln w="126746">
              <a:solidFill>
                <a:schemeClr val="accent2"/>
              </a:solidFill>
              <a:miter lim="800000"/>
              <a:tailEnd type="none"/>
            </a:ln>
          </c:spPr>
          <c:marker>
            <c:symbol val="none"/>
          </c:marker>
          <c:xVal>
            <c:numRef>
              <c:f>Sheet1!$A$2:$A$7</c:f>
              <c:numCache>
                <c:formatCode>General</c:formatCode>
                <c:ptCount val="6"/>
                <c:pt idx="0">
                  <c:v>0</c:v>
                </c:pt>
                <c:pt idx="1">
                  <c:v>1</c:v>
                </c:pt>
                <c:pt idx="2">
                  <c:v>2</c:v>
                </c:pt>
                <c:pt idx="3">
                  <c:v>3</c:v>
                </c:pt>
                <c:pt idx="4">
                  <c:v>4</c:v>
                </c:pt>
                <c:pt idx="5">
                  <c:v>5</c:v>
                </c:pt>
              </c:numCache>
            </c:numRef>
          </c:xVal>
          <c:yVal>
            <c:numRef>
              <c:f>Sheet1!$B$2:$B$7</c:f>
              <c:numCache>
                <c:formatCode>General</c:formatCode>
                <c:ptCount val="6"/>
                <c:pt idx="0">
                  <c:v>2</c:v>
                </c:pt>
                <c:pt idx="1">
                  <c:v>3</c:v>
                </c:pt>
                <c:pt idx="2">
                  <c:v>5</c:v>
                </c:pt>
                <c:pt idx="3">
                  <c:v>9</c:v>
                </c:pt>
                <c:pt idx="4">
                  <c:v>17</c:v>
                </c:pt>
                <c:pt idx="5">
                  <c:v>33</c:v>
                </c:pt>
              </c:numCache>
            </c:numRef>
          </c:yVal>
          <c:smooth val="1"/>
          <c:extLst>
            <c:ext xmlns:c16="http://schemas.microsoft.com/office/drawing/2014/chart" uri="{C3380CC4-5D6E-409C-BE32-E72D297353CC}">
              <c16:uniqueId val="{00000000-78D5-4B1A-8151-836563E192B5}"/>
            </c:ext>
          </c:extLst>
        </c:ser>
        <c:dLbls>
          <c:showLegendKey val="0"/>
          <c:showVal val="0"/>
          <c:showCatName val="0"/>
          <c:showSerName val="0"/>
          <c:showPercent val="0"/>
          <c:showBubbleSize val="0"/>
        </c:dLbls>
        <c:axId val="88323200"/>
        <c:axId val="88325120"/>
      </c:scatterChart>
      <c:valAx>
        <c:axId val="88323200"/>
        <c:scaling>
          <c:orientation val="minMax"/>
          <c:max val="5.0999999999999996"/>
          <c:min val="0"/>
        </c:scaling>
        <c:delete val="0"/>
        <c:axPos val="b"/>
        <c:title>
          <c:tx>
            <c:rich>
              <a:bodyPr/>
              <a:lstStyle/>
              <a:p>
                <a:pPr>
                  <a:defRPr sz="1789" b="1" i="0" u="none" strike="noStrike" baseline="0">
                    <a:solidFill>
                      <a:srgbClr val="000000"/>
                    </a:solidFill>
                    <a:latin typeface="Calibri"/>
                    <a:ea typeface="Calibri"/>
                    <a:cs typeface="Calibri"/>
                  </a:defRPr>
                </a:pPr>
                <a:r>
                  <a:rPr lang="en-US"/>
                  <a:t>Time</a:t>
                </a:r>
              </a:p>
            </c:rich>
          </c:tx>
          <c:overlay val="0"/>
        </c:title>
        <c:numFmt formatCode="General" sourceLinked="1"/>
        <c:majorTickMark val="none"/>
        <c:minorTickMark val="none"/>
        <c:tickLblPos val="none"/>
        <c:spPr>
          <a:ln w="38025">
            <a:solidFill>
              <a:schemeClr val="tx1">
                <a:lumMod val="50000"/>
                <a:lumOff val="50000"/>
              </a:schemeClr>
            </a:solidFill>
            <a:tailEnd type="triangle"/>
          </a:ln>
        </c:spPr>
        <c:crossAx val="88325120"/>
        <c:crosses val="autoZero"/>
        <c:crossBetween val="midCat"/>
      </c:valAx>
      <c:valAx>
        <c:axId val="88325120"/>
        <c:scaling>
          <c:orientation val="minMax"/>
        </c:scaling>
        <c:delete val="0"/>
        <c:axPos val="l"/>
        <c:title>
          <c:tx>
            <c:rich>
              <a:bodyPr rot="0" vert="horz"/>
              <a:lstStyle/>
              <a:p>
                <a:pPr algn="ctr">
                  <a:defRPr sz="1097" b="0" i="0" u="none" strike="noStrike" baseline="0">
                    <a:solidFill>
                      <a:srgbClr val="000000"/>
                    </a:solidFill>
                    <a:latin typeface="Calibri"/>
                    <a:ea typeface="Calibri"/>
                    <a:cs typeface="Calibri"/>
                  </a:defRPr>
                </a:pPr>
                <a:r>
                  <a:rPr lang="en-US" sz="1789" b="1" i="0" strike="noStrike">
                    <a:solidFill>
                      <a:srgbClr val="000000"/>
                    </a:solidFill>
                    <a:latin typeface="Calibri"/>
                  </a:rPr>
                  <a:t>Cost</a:t>
                </a:r>
              </a:p>
              <a:p>
                <a:pPr algn="ctr">
                  <a:defRPr sz="1097" b="0" i="0" u="none" strike="noStrike" baseline="0">
                    <a:solidFill>
                      <a:srgbClr val="000000"/>
                    </a:solidFill>
                    <a:latin typeface="Calibri"/>
                    <a:ea typeface="Calibri"/>
                    <a:cs typeface="Calibri"/>
                  </a:defRPr>
                </a:pPr>
                <a:r>
                  <a:rPr lang="en-US" sz="1789" b="1" i="0" strike="noStrike">
                    <a:solidFill>
                      <a:srgbClr val="000000"/>
                    </a:solidFill>
                    <a:latin typeface="Calibri"/>
                  </a:rPr>
                  <a:t>Of</a:t>
                </a:r>
              </a:p>
              <a:p>
                <a:pPr algn="ctr">
                  <a:defRPr sz="1097" b="0" i="0" u="none" strike="noStrike" baseline="0">
                    <a:solidFill>
                      <a:srgbClr val="000000"/>
                    </a:solidFill>
                    <a:latin typeface="Calibri"/>
                    <a:ea typeface="Calibri"/>
                    <a:cs typeface="Calibri"/>
                  </a:defRPr>
                </a:pPr>
                <a:r>
                  <a:rPr lang="en-US" sz="1789" b="1" i="0" strike="noStrike">
                    <a:solidFill>
                      <a:srgbClr val="000000"/>
                    </a:solidFill>
                    <a:latin typeface="Calibri"/>
                  </a:rPr>
                  <a:t>Change</a:t>
                </a:r>
              </a:p>
            </c:rich>
          </c:tx>
          <c:overlay val="0"/>
        </c:title>
        <c:numFmt formatCode="General" sourceLinked="1"/>
        <c:majorTickMark val="none"/>
        <c:minorTickMark val="none"/>
        <c:tickLblPos val="none"/>
        <c:spPr>
          <a:ln w="38025" cap="sq">
            <a:bevel/>
            <a:headEnd type="oval"/>
            <a:tailEnd type="triangle"/>
          </a:ln>
        </c:spPr>
        <c:crossAx val="88323200"/>
        <c:crossesAt val="-1"/>
        <c:crossBetween val="midCat"/>
      </c:valAx>
    </c:plotArea>
    <c:plotVisOnly val="1"/>
    <c:dispBlanksAs val="gap"/>
    <c:showDLblsOverMax val="0"/>
  </c:chart>
  <c:txPr>
    <a:bodyPr/>
    <a:lstStyle/>
    <a:p>
      <a:pPr>
        <a:defRPr sz="1797"/>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25"/>
    </mc:Choice>
    <mc:Fallback>
      <c:style val="25"/>
    </mc:Fallback>
  </mc:AlternateContent>
  <c:chart>
    <c:autoTitleDeleted val="1"/>
    <c:plotArea>
      <c:layout/>
      <c:scatterChart>
        <c:scatterStyle val="smoothMarker"/>
        <c:varyColors val="0"/>
        <c:ser>
          <c:idx val="0"/>
          <c:order val="0"/>
          <c:tx>
            <c:strRef>
              <c:f>Sheet1!$B$1</c:f>
              <c:strCache>
                <c:ptCount val="1"/>
                <c:pt idx="0">
                  <c:v>Cost</c:v>
                </c:pt>
              </c:strCache>
            </c:strRef>
          </c:tx>
          <c:spPr>
            <a:ln w="126746">
              <a:solidFill>
                <a:schemeClr val="accent2"/>
              </a:solidFill>
            </a:ln>
          </c:spPr>
          <c:marker>
            <c:symbol val="none"/>
          </c:marker>
          <c:xVal>
            <c:numRef>
              <c:f>Sheet1!$A$2:$A$12</c:f>
              <c:numCache>
                <c:formatCode>General</c:formatCode>
                <c:ptCount val="11"/>
                <c:pt idx="0">
                  <c:v>0</c:v>
                </c:pt>
                <c:pt idx="1">
                  <c:v>0.5</c:v>
                </c:pt>
                <c:pt idx="2">
                  <c:v>1</c:v>
                </c:pt>
                <c:pt idx="3">
                  <c:v>1.5</c:v>
                </c:pt>
                <c:pt idx="4">
                  <c:v>2</c:v>
                </c:pt>
                <c:pt idx="5">
                  <c:v>2.5</c:v>
                </c:pt>
                <c:pt idx="6">
                  <c:v>3</c:v>
                </c:pt>
                <c:pt idx="7">
                  <c:v>3.5</c:v>
                </c:pt>
                <c:pt idx="8">
                  <c:v>4</c:v>
                </c:pt>
                <c:pt idx="9">
                  <c:v>4.5</c:v>
                </c:pt>
                <c:pt idx="10">
                  <c:v>5</c:v>
                </c:pt>
              </c:numCache>
            </c:numRef>
          </c:xVal>
          <c:yVal>
            <c:numRef>
              <c:f>Sheet1!$B$2:$B$12</c:f>
              <c:numCache>
                <c:formatCode>General</c:formatCode>
                <c:ptCount val="11"/>
                <c:pt idx="0">
                  <c:v>1</c:v>
                </c:pt>
                <c:pt idx="1">
                  <c:v>2.5</c:v>
                </c:pt>
                <c:pt idx="2">
                  <c:v>3.5</c:v>
                </c:pt>
                <c:pt idx="3">
                  <c:v>4</c:v>
                </c:pt>
                <c:pt idx="4">
                  <c:v>4.25</c:v>
                </c:pt>
                <c:pt idx="5">
                  <c:v>4.5</c:v>
                </c:pt>
                <c:pt idx="6">
                  <c:v>4.6249999999999956</c:v>
                </c:pt>
                <c:pt idx="7">
                  <c:v>4.75</c:v>
                </c:pt>
                <c:pt idx="8">
                  <c:v>5</c:v>
                </c:pt>
                <c:pt idx="9">
                  <c:v>5.5</c:v>
                </c:pt>
                <c:pt idx="10">
                  <c:v>6</c:v>
                </c:pt>
              </c:numCache>
            </c:numRef>
          </c:yVal>
          <c:smooth val="1"/>
          <c:extLst>
            <c:ext xmlns:c16="http://schemas.microsoft.com/office/drawing/2014/chart" uri="{C3380CC4-5D6E-409C-BE32-E72D297353CC}">
              <c16:uniqueId val="{00000000-9845-46D0-A2F3-A140F19483B5}"/>
            </c:ext>
          </c:extLst>
        </c:ser>
        <c:dLbls>
          <c:showLegendKey val="0"/>
          <c:showVal val="0"/>
          <c:showCatName val="0"/>
          <c:showSerName val="0"/>
          <c:showPercent val="0"/>
          <c:showBubbleSize val="0"/>
        </c:dLbls>
        <c:axId val="88644224"/>
        <c:axId val="88834816"/>
      </c:scatterChart>
      <c:valAx>
        <c:axId val="88644224"/>
        <c:scaling>
          <c:orientation val="minMax"/>
          <c:max val="5.0999999999999996"/>
          <c:min val="0"/>
        </c:scaling>
        <c:delete val="0"/>
        <c:axPos val="b"/>
        <c:title>
          <c:tx>
            <c:rich>
              <a:bodyPr/>
              <a:lstStyle/>
              <a:p>
                <a:pPr>
                  <a:defRPr sz="1789" b="1" i="0" u="none" strike="noStrike" baseline="0">
                    <a:solidFill>
                      <a:srgbClr val="000000"/>
                    </a:solidFill>
                    <a:latin typeface="Calibri"/>
                    <a:ea typeface="Calibri"/>
                    <a:cs typeface="Calibri"/>
                  </a:defRPr>
                </a:pPr>
                <a:r>
                  <a:rPr lang="en-US"/>
                  <a:t>Time</a:t>
                </a:r>
              </a:p>
            </c:rich>
          </c:tx>
          <c:overlay val="0"/>
        </c:title>
        <c:numFmt formatCode="General" sourceLinked="1"/>
        <c:majorTickMark val="none"/>
        <c:minorTickMark val="none"/>
        <c:tickLblPos val="none"/>
        <c:spPr>
          <a:ln w="38025">
            <a:solidFill>
              <a:schemeClr val="tx1">
                <a:lumMod val="50000"/>
                <a:lumOff val="50000"/>
              </a:schemeClr>
            </a:solidFill>
            <a:tailEnd type="triangle"/>
          </a:ln>
        </c:spPr>
        <c:crossAx val="88834816"/>
        <c:crosses val="autoZero"/>
        <c:crossBetween val="midCat"/>
      </c:valAx>
      <c:valAx>
        <c:axId val="88834816"/>
        <c:scaling>
          <c:orientation val="minMax"/>
          <c:max val="35"/>
        </c:scaling>
        <c:delete val="0"/>
        <c:axPos val="l"/>
        <c:title>
          <c:tx>
            <c:rich>
              <a:bodyPr rot="0" vert="horz"/>
              <a:lstStyle/>
              <a:p>
                <a:pPr algn="ctr">
                  <a:defRPr sz="1097" b="0" i="0" u="none" strike="noStrike" baseline="0">
                    <a:solidFill>
                      <a:srgbClr val="000000"/>
                    </a:solidFill>
                    <a:latin typeface="Calibri"/>
                    <a:ea typeface="Calibri"/>
                    <a:cs typeface="Calibri"/>
                  </a:defRPr>
                </a:pPr>
                <a:r>
                  <a:rPr lang="en-US" sz="1789" b="1" i="0" strike="noStrike">
                    <a:solidFill>
                      <a:srgbClr val="000000"/>
                    </a:solidFill>
                    <a:latin typeface="Calibri"/>
                  </a:rPr>
                  <a:t>Cost</a:t>
                </a:r>
              </a:p>
              <a:p>
                <a:pPr algn="ctr">
                  <a:defRPr sz="1097" b="0" i="0" u="none" strike="noStrike" baseline="0">
                    <a:solidFill>
                      <a:srgbClr val="000000"/>
                    </a:solidFill>
                    <a:latin typeface="Calibri"/>
                    <a:ea typeface="Calibri"/>
                    <a:cs typeface="Calibri"/>
                  </a:defRPr>
                </a:pPr>
                <a:r>
                  <a:rPr lang="en-US" sz="1789" b="1" i="0" strike="noStrike">
                    <a:solidFill>
                      <a:srgbClr val="000000"/>
                    </a:solidFill>
                    <a:latin typeface="Calibri"/>
                  </a:rPr>
                  <a:t>of</a:t>
                </a:r>
              </a:p>
              <a:p>
                <a:pPr algn="ctr">
                  <a:defRPr sz="1097" b="0" i="0" u="none" strike="noStrike" baseline="0">
                    <a:solidFill>
                      <a:srgbClr val="000000"/>
                    </a:solidFill>
                    <a:latin typeface="Calibri"/>
                    <a:ea typeface="Calibri"/>
                    <a:cs typeface="Calibri"/>
                  </a:defRPr>
                </a:pPr>
                <a:r>
                  <a:rPr lang="en-US" sz="1789" b="1" i="0" strike="noStrike">
                    <a:solidFill>
                      <a:srgbClr val="000000"/>
                    </a:solidFill>
                    <a:latin typeface="Calibri"/>
                  </a:rPr>
                  <a:t>Change</a:t>
                </a:r>
              </a:p>
            </c:rich>
          </c:tx>
          <c:layout>
            <c:manualLayout>
              <c:xMode val="edge"/>
              <c:yMode val="edge"/>
              <c:x val="0"/>
              <c:y val="0.33999999999999991"/>
            </c:manualLayout>
          </c:layout>
          <c:overlay val="0"/>
        </c:title>
        <c:numFmt formatCode="General" sourceLinked="1"/>
        <c:majorTickMark val="none"/>
        <c:minorTickMark val="none"/>
        <c:tickLblPos val="none"/>
        <c:spPr>
          <a:ln w="38025" cap="sq">
            <a:bevel/>
            <a:headEnd type="oval"/>
            <a:tailEnd type="triangle"/>
          </a:ln>
        </c:spPr>
        <c:crossAx val="88644224"/>
        <c:crossesAt val="-1"/>
        <c:crossBetween val="midCat"/>
      </c:valAx>
    </c:plotArea>
    <c:plotVisOnly val="1"/>
    <c:dispBlanksAs val="gap"/>
    <c:showDLblsOverMax val="0"/>
  </c:chart>
  <c:txPr>
    <a:bodyPr/>
    <a:lstStyle/>
    <a:p>
      <a:pPr>
        <a:defRPr sz="1797"/>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F343C08-84A8-4AFE-B788-5C83367A6619}"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en-US"/>
        </a:p>
      </dgm:t>
    </dgm:pt>
    <dgm:pt modelId="{C413C6D2-08AD-4000-92C0-E87D4235A9D8}">
      <dgm:prSet phldrT="[Text]"/>
      <dgm:spPr/>
      <dgm:t>
        <a:bodyPr/>
        <a:lstStyle/>
        <a:p>
          <a:r>
            <a:rPr lang="en-US" dirty="0"/>
            <a:t>Release 1</a:t>
          </a:r>
        </a:p>
      </dgm:t>
    </dgm:pt>
    <dgm:pt modelId="{791FEE7A-3874-44AB-A388-4468E221909A}" type="parTrans" cxnId="{A588C5D6-3A39-418F-BE85-B45A0C02B591}">
      <dgm:prSet/>
      <dgm:spPr/>
      <dgm:t>
        <a:bodyPr/>
        <a:lstStyle/>
        <a:p>
          <a:endParaRPr lang="en-US"/>
        </a:p>
      </dgm:t>
    </dgm:pt>
    <dgm:pt modelId="{B575993B-1229-402C-9FF6-DC7C707117BC}" type="sibTrans" cxnId="{A588C5D6-3A39-418F-BE85-B45A0C02B591}">
      <dgm:prSet/>
      <dgm:spPr/>
      <dgm:t>
        <a:bodyPr/>
        <a:lstStyle/>
        <a:p>
          <a:endParaRPr lang="en-US"/>
        </a:p>
      </dgm:t>
    </dgm:pt>
    <dgm:pt modelId="{2CD2BBA6-19BF-4563-93E4-5CF5E4E643B8}">
      <dgm:prSet phldrT="[Text]"/>
      <dgm:spPr/>
      <dgm:t>
        <a:bodyPr/>
        <a:lstStyle/>
        <a:p>
          <a:r>
            <a:rPr lang="en-US" dirty="0"/>
            <a:t>Design</a:t>
          </a:r>
        </a:p>
      </dgm:t>
    </dgm:pt>
    <dgm:pt modelId="{B257CDBE-2B9D-40D8-BA03-9ADEBA80AEE3}" type="parTrans" cxnId="{0CBE8889-7490-406D-88B3-D49CADCC18F6}">
      <dgm:prSet/>
      <dgm:spPr/>
      <dgm:t>
        <a:bodyPr/>
        <a:lstStyle/>
        <a:p>
          <a:endParaRPr lang="en-US"/>
        </a:p>
      </dgm:t>
    </dgm:pt>
    <dgm:pt modelId="{A5AC494D-7A50-452A-9777-C05238B6136A}" type="sibTrans" cxnId="{0CBE8889-7490-406D-88B3-D49CADCC18F6}">
      <dgm:prSet/>
      <dgm:spPr/>
      <dgm:t>
        <a:bodyPr/>
        <a:lstStyle/>
        <a:p>
          <a:endParaRPr lang="en-US"/>
        </a:p>
      </dgm:t>
    </dgm:pt>
    <dgm:pt modelId="{619C37D9-5926-463A-824E-817E6B2CCBEB}">
      <dgm:prSet phldrT="[Text]"/>
      <dgm:spPr/>
      <dgm:t>
        <a:bodyPr/>
        <a:lstStyle/>
        <a:p>
          <a:r>
            <a:rPr lang="en-US" dirty="0"/>
            <a:t>Develop</a:t>
          </a:r>
        </a:p>
      </dgm:t>
    </dgm:pt>
    <dgm:pt modelId="{9A9AA701-F75A-43D7-BEA9-69DE5EF9F5E5}" type="parTrans" cxnId="{BDFE56A5-E9D1-4053-BAE7-82ABC94D23A1}">
      <dgm:prSet/>
      <dgm:spPr/>
      <dgm:t>
        <a:bodyPr/>
        <a:lstStyle/>
        <a:p>
          <a:endParaRPr lang="en-US"/>
        </a:p>
      </dgm:t>
    </dgm:pt>
    <dgm:pt modelId="{9D46A4AD-5C94-4A6C-95ED-1D150FD17D1B}" type="sibTrans" cxnId="{BDFE56A5-E9D1-4053-BAE7-82ABC94D23A1}">
      <dgm:prSet/>
      <dgm:spPr/>
      <dgm:t>
        <a:bodyPr/>
        <a:lstStyle/>
        <a:p>
          <a:endParaRPr lang="en-US"/>
        </a:p>
      </dgm:t>
    </dgm:pt>
    <dgm:pt modelId="{1C620434-CE27-449E-9EEB-267474C2BE0D}">
      <dgm:prSet phldrT="[Text]"/>
      <dgm:spPr/>
      <dgm:t>
        <a:bodyPr/>
        <a:lstStyle/>
        <a:p>
          <a:r>
            <a:rPr lang="en-US" dirty="0"/>
            <a:t>Release 2</a:t>
          </a:r>
        </a:p>
      </dgm:t>
    </dgm:pt>
    <dgm:pt modelId="{48CB58A2-FABF-4091-9164-299EA04EF33F}" type="parTrans" cxnId="{97184FD4-6D3F-4A8F-8DA7-7DEF541D73A6}">
      <dgm:prSet/>
      <dgm:spPr/>
      <dgm:t>
        <a:bodyPr/>
        <a:lstStyle/>
        <a:p>
          <a:endParaRPr lang="en-US"/>
        </a:p>
      </dgm:t>
    </dgm:pt>
    <dgm:pt modelId="{7676D375-A041-4E32-BEC0-96DF42A04C2A}" type="sibTrans" cxnId="{97184FD4-6D3F-4A8F-8DA7-7DEF541D73A6}">
      <dgm:prSet/>
      <dgm:spPr/>
      <dgm:t>
        <a:bodyPr/>
        <a:lstStyle/>
        <a:p>
          <a:endParaRPr lang="en-US"/>
        </a:p>
      </dgm:t>
    </dgm:pt>
    <dgm:pt modelId="{89BBBBD0-297E-4294-A69E-949D6D3C1822}">
      <dgm:prSet phldrT="[Text]"/>
      <dgm:spPr/>
      <dgm:t>
        <a:bodyPr/>
        <a:lstStyle/>
        <a:p>
          <a:r>
            <a:rPr lang="en-US" dirty="0"/>
            <a:t>Design/Refactor</a:t>
          </a:r>
        </a:p>
      </dgm:t>
    </dgm:pt>
    <dgm:pt modelId="{35C281CE-D888-4389-A0D6-2E86397D016F}" type="parTrans" cxnId="{52FBFB7B-D90F-41C1-956D-4EF04499E095}">
      <dgm:prSet/>
      <dgm:spPr/>
      <dgm:t>
        <a:bodyPr/>
        <a:lstStyle/>
        <a:p>
          <a:endParaRPr lang="en-US"/>
        </a:p>
      </dgm:t>
    </dgm:pt>
    <dgm:pt modelId="{FC88585C-3EF3-4AEF-88F4-4F64E3985237}" type="sibTrans" cxnId="{52FBFB7B-D90F-41C1-956D-4EF04499E095}">
      <dgm:prSet/>
      <dgm:spPr/>
      <dgm:t>
        <a:bodyPr/>
        <a:lstStyle/>
        <a:p>
          <a:endParaRPr lang="en-US"/>
        </a:p>
      </dgm:t>
    </dgm:pt>
    <dgm:pt modelId="{89FCED79-6979-4361-8F57-54644DF08822}">
      <dgm:prSet phldrT="[Text]"/>
      <dgm:spPr/>
      <dgm:t>
        <a:bodyPr/>
        <a:lstStyle/>
        <a:p>
          <a:r>
            <a:rPr lang="en-US" dirty="0"/>
            <a:t>Develop</a:t>
          </a:r>
        </a:p>
      </dgm:t>
    </dgm:pt>
    <dgm:pt modelId="{F10A2E91-E516-4B94-8E22-829496F8061E}" type="parTrans" cxnId="{FAF67504-0EBF-4E79-AADF-EAC4EB9CCBE5}">
      <dgm:prSet/>
      <dgm:spPr/>
      <dgm:t>
        <a:bodyPr/>
        <a:lstStyle/>
        <a:p>
          <a:endParaRPr lang="en-US"/>
        </a:p>
      </dgm:t>
    </dgm:pt>
    <dgm:pt modelId="{4D9E89EA-20E9-440E-90A7-34E8B21B5061}" type="sibTrans" cxnId="{FAF67504-0EBF-4E79-AADF-EAC4EB9CCBE5}">
      <dgm:prSet/>
      <dgm:spPr/>
      <dgm:t>
        <a:bodyPr/>
        <a:lstStyle/>
        <a:p>
          <a:endParaRPr lang="en-US"/>
        </a:p>
      </dgm:t>
    </dgm:pt>
    <dgm:pt modelId="{BE9EE89C-98E0-4DD7-BDE6-C874D219931C}">
      <dgm:prSet phldrT="[Text]"/>
      <dgm:spPr/>
      <dgm:t>
        <a:bodyPr/>
        <a:lstStyle/>
        <a:p>
          <a:r>
            <a:rPr lang="en-US" dirty="0"/>
            <a:t>Release 3</a:t>
          </a:r>
        </a:p>
      </dgm:t>
    </dgm:pt>
    <dgm:pt modelId="{745F0354-8FD3-47D4-987C-FDBBE58298CC}" type="parTrans" cxnId="{DDA1210D-C09E-466A-B66C-78B6CF66CE44}">
      <dgm:prSet/>
      <dgm:spPr/>
      <dgm:t>
        <a:bodyPr/>
        <a:lstStyle/>
        <a:p>
          <a:endParaRPr lang="en-US"/>
        </a:p>
      </dgm:t>
    </dgm:pt>
    <dgm:pt modelId="{D4328187-ADE5-4A02-B014-5787960C1590}" type="sibTrans" cxnId="{DDA1210D-C09E-466A-B66C-78B6CF66CE44}">
      <dgm:prSet/>
      <dgm:spPr/>
      <dgm:t>
        <a:bodyPr/>
        <a:lstStyle/>
        <a:p>
          <a:endParaRPr lang="en-US"/>
        </a:p>
      </dgm:t>
    </dgm:pt>
    <dgm:pt modelId="{A0CCC710-2607-4B6B-A331-B682D9586B7E}">
      <dgm:prSet phldrT="[Text]"/>
      <dgm:spPr/>
      <dgm:t>
        <a:bodyPr/>
        <a:lstStyle/>
        <a:p>
          <a:r>
            <a:rPr lang="en-US" dirty="0"/>
            <a:t>Design/Refactor</a:t>
          </a:r>
        </a:p>
      </dgm:t>
    </dgm:pt>
    <dgm:pt modelId="{2AF24EB8-03CA-4BB0-891B-24F636CE3092}" type="parTrans" cxnId="{8FB36178-C858-47CD-A930-99CAE4CFF5E7}">
      <dgm:prSet/>
      <dgm:spPr/>
      <dgm:t>
        <a:bodyPr/>
        <a:lstStyle/>
        <a:p>
          <a:endParaRPr lang="en-US"/>
        </a:p>
      </dgm:t>
    </dgm:pt>
    <dgm:pt modelId="{90EB1BFF-F7E4-40EC-AC0C-D376FDDB10E0}" type="sibTrans" cxnId="{8FB36178-C858-47CD-A930-99CAE4CFF5E7}">
      <dgm:prSet/>
      <dgm:spPr/>
      <dgm:t>
        <a:bodyPr/>
        <a:lstStyle/>
        <a:p>
          <a:endParaRPr lang="en-US"/>
        </a:p>
      </dgm:t>
    </dgm:pt>
    <dgm:pt modelId="{114EB774-08B4-414B-A3F4-07690A7FC4B3}">
      <dgm:prSet phldrT="[Text]"/>
      <dgm:spPr/>
      <dgm:t>
        <a:bodyPr/>
        <a:lstStyle/>
        <a:p>
          <a:r>
            <a:rPr lang="en-US" dirty="0"/>
            <a:t>Develop</a:t>
          </a:r>
        </a:p>
      </dgm:t>
    </dgm:pt>
    <dgm:pt modelId="{9CAF3037-3F7A-473B-B444-3E2D025586DA}" type="parTrans" cxnId="{9C61579D-CBE7-4AE1-B9CF-B506290BC769}">
      <dgm:prSet/>
      <dgm:spPr/>
      <dgm:t>
        <a:bodyPr/>
        <a:lstStyle/>
        <a:p>
          <a:endParaRPr lang="en-US"/>
        </a:p>
      </dgm:t>
    </dgm:pt>
    <dgm:pt modelId="{3941F4FE-DE9F-4367-BC75-72699695225A}" type="sibTrans" cxnId="{9C61579D-CBE7-4AE1-B9CF-B506290BC769}">
      <dgm:prSet/>
      <dgm:spPr/>
      <dgm:t>
        <a:bodyPr/>
        <a:lstStyle/>
        <a:p>
          <a:endParaRPr lang="en-US"/>
        </a:p>
      </dgm:t>
    </dgm:pt>
    <dgm:pt modelId="{A5D18830-0E27-4D99-AD78-0609B169130F}">
      <dgm:prSet phldrT="[Text]"/>
      <dgm:spPr/>
      <dgm:t>
        <a:bodyPr/>
        <a:lstStyle/>
        <a:p>
          <a:r>
            <a:rPr lang="en-US" u="sng" dirty="0"/>
            <a:t>Deploy</a:t>
          </a:r>
        </a:p>
      </dgm:t>
    </dgm:pt>
    <dgm:pt modelId="{71B6E284-785A-48C2-ACE1-0B3DA26BE388}" type="parTrans" cxnId="{3725C55D-34FE-45D6-8790-241F90B9BF9A}">
      <dgm:prSet/>
      <dgm:spPr/>
      <dgm:t>
        <a:bodyPr/>
        <a:lstStyle/>
        <a:p>
          <a:endParaRPr lang="en-US"/>
        </a:p>
      </dgm:t>
    </dgm:pt>
    <dgm:pt modelId="{B9ED82AE-5EF1-4B7A-9A26-010708ABD846}" type="sibTrans" cxnId="{3725C55D-34FE-45D6-8790-241F90B9BF9A}">
      <dgm:prSet/>
      <dgm:spPr/>
      <dgm:t>
        <a:bodyPr/>
        <a:lstStyle/>
        <a:p>
          <a:endParaRPr lang="en-US"/>
        </a:p>
      </dgm:t>
    </dgm:pt>
    <dgm:pt modelId="{C876BD2B-3EF0-4A90-BFBA-2C30A02659A6}">
      <dgm:prSet phldrT="[Text]"/>
      <dgm:spPr/>
      <dgm:t>
        <a:bodyPr/>
        <a:lstStyle/>
        <a:p>
          <a:r>
            <a:rPr lang="en-US" u="sng" dirty="0"/>
            <a:t>Deploy</a:t>
          </a:r>
        </a:p>
      </dgm:t>
    </dgm:pt>
    <dgm:pt modelId="{2B49D5D5-18C7-4FDE-9D7D-9CA75640AFA5}" type="parTrans" cxnId="{12B71E36-DC8C-467C-B19D-6F7C9B2A7A01}">
      <dgm:prSet/>
      <dgm:spPr/>
      <dgm:t>
        <a:bodyPr/>
        <a:lstStyle/>
        <a:p>
          <a:endParaRPr lang="en-US"/>
        </a:p>
      </dgm:t>
    </dgm:pt>
    <dgm:pt modelId="{4A92E6F7-E549-415B-9D43-77777B1D72FF}" type="sibTrans" cxnId="{12B71E36-DC8C-467C-B19D-6F7C9B2A7A01}">
      <dgm:prSet/>
      <dgm:spPr/>
      <dgm:t>
        <a:bodyPr/>
        <a:lstStyle/>
        <a:p>
          <a:endParaRPr lang="en-US"/>
        </a:p>
      </dgm:t>
    </dgm:pt>
    <dgm:pt modelId="{6124DC2B-567E-444F-9393-04F085FED218}">
      <dgm:prSet phldrT="[Text]"/>
      <dgm:spPr/>
      <dgm:t>
        <a:bodyPr/>
        <a:lstStyle/>
        <a:p>
          <a:r>
            <a:rPr lang="en-US" u="sng" dirty="0"/>
            <a:t>Deploy</a:t>
          </a:r>
        </a:p>
      </dgm:t>
    </dgm:pt>
    <dgm:pt modelId="{A4FA0D5C-1B5D-4F76-B38C-FC6B2D5EC109}" type="parTrans" cxnId="{B4CF9FF7-59AA-4CA3-BCB2-401E13BB1ADB}">
      <dgm:prSet/>
      <dgm:spPr/>
      <dgm:t>
        <a:bodyPr/>
        <a:lstStyle/>
        <a:p>
          <a:endParaRPr lang="en-US"/>
        </a:p>
      </dgm:t>
    </dgm:pt>
    <dgm:pt modelId="{DAC5E42B-AAB1-4BA0-BE41-A08281BEB372}" type="sibTrans" cxnId="{B4CF9FF7-59AA-4CA3-BCB2-401E13BB1ADB}">
      <dgm:prSet/>
      <dgm:spPr/>
      <dgm:t>
        <a:bodyPr/>
        <a:lstStyle/>
        <a:p>
          <a:endParaRPr lang="en-US"/>
        </a:p>
      </dgm:t>
    </dgm:pt>
    <dgm:pt modelId="{8BC45840-E947-49C3-A995-A28FB761F3DF}" type="pres">
      <dgm:prSet presAssocID="{CF343C08-84A8-4AFE-B788-5C83367A6619}" presName="rootnode" presStyleCnt="0">
        <dgm:presLayoutVars>
          <dgm:chMax/>
          <dgm:chPref/>
          <dgm:dir/>
          <dgm:animLvl val="lvl"/>
        </dgm:presLayoutVars>
      </dgm:prSet>
      <dgm:spPr/>
    </dgm:pt>
    <dgm:pt modelId="{EC266A1A-FEA9-453E-A881-890116489422}" type="pres">
      <dgm:prSet presAssocID="{C413C6D2-08AD-4000-92C0-E87D4235A9D8}" presName="composite" presStyleCnt="0"/>
      <dgm:spPr/>
    </dgm:pt>
    <dgm:pt modelId="{54E6C6AA-4523-4E1B-8231-1885F43130EC}" type="pres">
      <dgm:prSet presAssocID="{C413C6D2-08AD-4000-92C0-E87D4235A9D8}" presName="LShape" presStyleLbl="alignNode1" presStyleIdx="0" presStyleCnt="5"/>
      <dgm:spPr/>
    </dgm:pt>
    <dgm:pt modelId="{BA3AA46C-F283-456E-94B4-E982EB18C004}" type="pres">
      <dgm:prSet presAssocID="{C413C6D2-08AD-4000-92C0-E87D4235A9D8}" presName="ParentText" presStyleLbl="revTx" presStyleIdx="0" presStyleCnt="3">
        <dgm:presLayoutVars>
          <dgm:chMax val="0"/>
          <dgm:chPref val="0"/>
          <dgm:bulletEnabled val="1"/>
        </dgm:presLayoutVars>
      </dgm:prSet>
      <dgm:spPr/>
    </dgm:pt>
    <dgm:pt modelId="{07090AD9-E572-4EAB-91A1-47AEE17AFF49}" type="pres">
      <dgm:prSet presAssocID="{C413C6D2-08AD-4000-92C0-E87D4235A9D8}" presName="Triangle" presStyleLbl="alignNode1" presStyleIdx="1" presStyleCnt="5" custAng="16200000"/>
      <dgm:spPr/>
    </dgm:pt>
    <dgm:pt modelId="{749495C8-CD2F-4BE0-AAD3-1CFE45B06AA3}" type="pres">
      <dgm:prSet presAssocID="{B575993B-1229-402C-9FF6-DC7C707117BC}" presName="sibTrans" presStyleCnt="0"/>
      <dgm:spPr/>
    </dgm:pt>
    <dgm:pt modelId="{08ED81AA-0FF0-4B92-A872-57396ACCAC26}" type="pres">
      <dgm:prSet presAssocID="{B575993B-1229-402C-9FF6-DC7C707117BC}" presName="space" presStyleCnt="0"/>
      <dgm:spPr/>
    </dgm:pt>
    <dgm:pt modelId="{9807C4F3-0DA6-4029-8E31-9AC52F6D990B}" type="pres">
      <dgm:prSet presAssocID="{1C620434-CE27-449E-9EEB-267474C2BE0D}" presName="composite" presStyleCnt="0"/>
      <dgm:spPr/>
    </dgm:pt>
    <dgm:pt modelId="{8DF0808E-D4A8-4681-9191-CBC2959B6917}" type="pres">
      <dgm:prSet presAssocID="{1C620434-CE27-449E-9EEB-267474C2BE0D}" presName="LShape" presStyleLbl="alignNode1" presStyleIdx="2" presStyleCnt="5"/>
      <dgm:spPr/>
    </dgm:pt>
    <dgm:pt modelId="{92FBD1D4-013A-486A-B10C-88950BE6DEAB}" type="pres">
      <dgm:prSet presAssocID="{1C620434-CE27-449E-9EEB-267474C2BE0D}" presName="ParentText" presStyleLbl="revTx" presStyleIdx="1" presStyleCnt="3">
        <dgm:presLayoutVars>
          <dgm:chMax val="0"/>
          <dgm:chPref val="0"/>
          <dgm:bulletEnabled val="1"/>
        </dgm:presLayoutVars>
      </dgm:prSet>
      <dgm:spPr/>
    </dgm:pt>
    <dgm:pt modelId="{175FA4E2-FB2B-4B09-B52E-220453014EF6}" type="pres">
      <dgm:prSet presAssocID="{1C620434-CE27-449E-9EEB-267474C2BE0D}" presName="Triangle" presStyleLbl="alignNode1" presStyleIdx="3" presStyleCnt="5" custAng="16200000"/>
      <dgm:spPr/>
    </dgm:pt>
    <dgm:pt modelId="{E2070922-872B-4827-8850-8AEF226168F1}" type="pres">
      <dgm:prSet presAssocID="{7676D375-A041-4E32-BEC0-96DF42A04C2A}" presName="sibTrans" presStyleCnt="0"/>
      <dgm:spPr/>
    </dgm:pt>
    <dgm:pt modelId="{0DBE2370-50A7-40FD-BB5C-A60C2CDB4E40}" type="pres">
      <dgm:prSet presAssocID="{7676D375-A041-4E32-BEC0-96DF42A04C2A}" presName="space" presStyleCnt="0"/>
      <dgm:spPr/>
    </dgm:pt>
    <dgm:pt modelId="{7538B5AD-6899-48B5-9BD3-0A38DEBE69CB}" type="pres">
      <dgm:prSet presAssocID="{BE9EE89C-98E0-4DD7-BDE6-C874D219931C}" presName="composite" presStyleCnt="0"/>
      <dgm:spPr/>
    </dgm:pt>
    <dgm:pt modelId="{8DDD43F9-0967-4DB6-97A7-E19276369394}" type="pres">
      <dgm:prSet presAssocID="{BE9EE89C-98E0-4DD7-BDE6-C874D219931C}" presName="LShape" presStyleLbl="alignNode1" presStyleIdx="4" presStyleCnt="5"/>
      <dgm:spPr/>
    </dgm:pt>
    <dgm:pt modelId="{05EA32A1-7A40-4305-B996-6DDAFF2E72AB}" type="pres">
      <dgm:prSet presAssocID="{BE9EE89C-98E0-4DD7-BDE6-C874D219931C}" presName="ParentText" presStyleLbl="revTx" presStyleIdx="2" presStyleCnt="3">
        <dgm:presLayoutVars>
          <dgm:chMax val="0"/>
          <dgm:chPref val="0"/>
          <dgm:bulletEnabled val="1"/>
        </dgm:presLayoutVars>
      </dgm:prSet>
      <dgm:spPr/>
    </dgm:pt>
  </dgm:ptLst>
  <dgm:cxnLst>
    <dgm:cxn modelId="{FAF67504-0EBF-4E79-AADF-EAC4EB9CCBE5}" srcId="{1C620434-CE27-449E-9EEB-267474C2BE0D}" destId="{89FCED79-6979-4361-8F57-54644DF08822}" srcOrd="1" destOrd="0" parTransId="{F10A2E91-E516-4B94-8E22-829496F8061E}" sibTransId="{4D9E89EA-20E9-440E-90A7-34E8B21B5061}"/>
    <dgm:cxn modelId="{0EE77E57-D943-44A7-8860-2559D8ECE360}" type="presOf" srcId="{CF343C08-84A8-4AFE-B788-5C83367A6619}" destId="{8BC45840-E947-49C3-A995-A28FB761F3DF}" srcOrd="0" destOrd="0" presId="urn:microsoft.com/office/officeart/2009/3/layout/StepUpProcess"/>
    <dgm:cxn modelId="{4224EFB2-9B71-4FF6-B496-0580EED3DAEC}" type="presOf" srcId="{1C620434-CE27-449E-9EEB-267474C2BE0D}" destId="{92FBD1D4-013A-486A-B10C-88950BE6DEAB}" srcOrd="0" destOrd="0" presId="urn:microsoft.com/office/officeart/2009/3/layout/StepUpProcess"/>
    <dgm:cxn modelId="{B4CF9FF7-59AA-4CA3-BCB2-401E13BB1ADB}" srcId="{BE9EE89C-98E0-4DD7-BDE6-C874D219931C}" destId="{6124DC2B-567E-444F-9393-04F085FED218}" srcOrd="2" destOrd="0" parTransId="{A4FA0D5C-1B5D-4F76-B38C-FC6B2D5EC109}" sibTransId="{DAC5E42B-AAB1-4BA0-BE41-A08281BEB372}"/>
    <dgm:cxn modelId="{F6538FFB-CFA7-457C-832D-D092C85DF8BA}" type="presOf" srcId="{C413C6D2-08AD-4000-92C0-E87D4235A9D8}" destId="{BA3AA46C-F283-456E-94B4-E982EB18C004}" srcOrd="0" destOrd="0" presId="urn:microsoft.com/office/officeart/2009/3/layout/StepUpProcess"/>
    <dgm:cxn modelId="{3725C55D-34FE-45D6-8790-241F90B9BF9A}" srcId="{C413C6D2-08AD-4000-92C0-E87D4235A9D8}" destId="{A5D18830-0E27-4D99-AD78-0609B169130F}" srcOrd="2" destOrd="0" parTransId="{71B6E284-785A-48C2-ACE1-0B3DA26BE388}" sibTransId="{B9ED82AE-5EF1-4B7A-9A26-010708ABD846}"/>
    <dgm:cxn modelId="{6F1F2827-49B8-485F-8C9B-C6610B1F2B6B}" type="presOf" srcId="{A0CCC710-2607-4B6B-A331-B682D9586B7E}" destId="{05EA32A1-7A40-4305-B996-6DDAFF2E72AB}" srcOrd="0" destOrd="1" presId="urn:microsoft.com/office/officeart/2009/3/layout/StepUpProcess"/>
    <dgm:cxn modelId="{52FBFB7B-D90F-41C1-956D-4EF04499E095}" srcId="{1C620434-CE27-449E-9EEB-267474C2BE0D}" destId="{89BBBBD0-297E-4294-A69E-949D6D3C1822}" srcOrd="0" destOrd="0" parTransId="{35C281CE-D888-4389-A0D6-2E86397D016F}" sibTransId="{FC88585C-3EF3-4AEF-88F4-4F64E3985237}"/>
    <dgm:cxn modelId="{BDFE56A5-E9D1-4053-BAE7-82ABC94D23A1}" srcId="{C413C6D2-08AD-4000-92C0-E87D4235A9D8}" destId="{619C37D9-5926-463A-824E-817E6B2CCBEB}" srcOrd="1" destOrd="0" parTransId="{9A9AA701-F75A-43D7-BEA9-69DE5EF9F5E5}" sibTransId="{9D46A4AD-5C94-4A6C-95ED-1D150FD17D1B}"/>
    <dgm:cxn modelId="{0CBE8889-7490-406D-88B3-D49CADCC18F6}" srcId="{C413C6D2-08AD-4000-92C0-E87D4235A9D8}" destId="{2CD2BBA6-19BF-4563-93E4-5CF5E4E643B8}" srcOrd="0" destOrd="0" parTransId="{B257CDBE-2B9D-40D8-BA03-9ADEBA80AEE3}" sibTransId="{A5AC494D-7A50-452A-9777-C05238B6136A}"/>
    <dgm:cxn modelId="{8FB36178-C858-47CD-A930-99CAE4CFF5E7}" srcId="{BE9EE89C-98E0-4DD7-BDE6-C874D219931C}" destId="{A0CCC710-2607-4B6B-A331-B682D9586B7E}" srcOrd="0" destOrd="0" parTransId="{2AF24EB8-03CA-4BB0-891B-24F636CE3092}" sibTransId="{90EB1BFF-F7E4-40EC-AC0C-D376FDDB10E0}"/>
    <dgm:cxn modelId="{97184FD4-6D3F-4A8F-8DA7-7DEF541D73A6}" srcId="{CF343C08-84A8-4AFE-B788-5C83367A6619}" destId="{1C620434-CE27-449E-9EEB-267474C2BE0D}" srcOrd="1" destOrd="0" parTransId="{48CB58A2-FABF-4091-9164-299EA04EF33F}" sibTransId="{7676D375-A041-4E32-BEC0-96DF42A04C2A}"/>
    <dgm:cxn modelId="{D2FF37E5-10E0-4BB7-B9EC-6B1A640F9CBB}" type="presOf" srcId="{89FCED79-6979-4361-8F57-54644DF08822}" destId="{92FBD1D4-013A-486A-B10C-88950BE6DEAB}" srcOrd="0" destOrd="2" presId="urn:microsoft.com/office/officeart/2009/3/layout/StepUpProcess"/>
    <dgm:cxn modelId="{856B32C6-3BBC-4CFB-B2E4-6B5E90D970C4}" type="presOf" srcId="{2CD2BBA6-19BF-4563-93E4-5CF5E4E643B8}" destId="{BA3AA46C-F283-456E-94B4-E982EB18C004}" srcOrd="0" destOrd="1" presId="urn:microsoft.com/office/officeart/2009/3/layout/StepUpProcess"/>
    <dgm:cxn modelId="{CF14A57A-0C09-485B-9183-8D8A76F5A021}" type="presOf" srcId="{C876BD2B-3EF0-4A90-BFBA-2C30A02659A6}" destId="{92FBD1D4-013A-486A-B10C-88950BE6DEAB}" srcOrd="0" destOrd="3" presId="urn:microsoft.com/office/officeart/2009/3/layout/StepUpProcess"/>
    <dgm:cxn modelId="{12B71E36-DC8C-467C-B19D-6F7C9B2A7A01}" srcId="{1C620434-CE27-449E-9EEB-267474C2BE0D}" destId="{C876BD2B-3EF0-4A90-BFBA-2C30A02659A6}" srcOrd="2" destOrd="0" parTransId="{2B49D5D5-18C7-4FDE-9D7D-9CA75640AFA5}" sibTransId="{4A92E6F7-E549-415B-9D43-77777B1D72FF}"/>
    <dgm:cxn modelId="{9C61579D-CBE7-4AE1-B9CF-B506290BC769}" srcId="{BE9EE89C-98E0-4DD7-BDE6-C874D219931C}" destId="{114EB774-08B4-414B-A3F4-07690A7FC4B3}" srcOrd="1" destOrd="0" parTransId="{9CAF3037-3F7A-473B-B444-3E2D025586DA}" sibTransId="{3941F4FE-DE9F-4367-BC75-72699695225A}"/>
    <dgm:cxn modelId="{DDA1210D-C09E-466A-B66C-78B6CF66CE44}" srcId="{CF343C08-84A8-4AFE-B788-5C83367A6619}" destId="{BE9EE89C-98E0-4DD7-BDE6-C874D219931C}" srcOrd="2" destOrd="0" parTransId="{745F0354-8FD3-47D4-987C-FDBBE58298CC}" sibTransId="{D4328187-ADE5-4A02-B014-5787960C1590}"/>
    <dgm:cxn modelId="{71E95C10-B517-4079-9B9F-706CC86F576F}" type="presOf" srcId="{6124DC2B-567E-444F-9393-04F085FED218}" destId="{05EA32A1-7A40-4305-B996-6DDAFF2E72AB}" srcOrd="0" destOrd="3" presId="urn:microsoft.com/office/officeart/2009/3/layout/StepUpProcess"/>
    <dgm:cxn modelId="{A588C5D6-3A39-418F-BE85-B45A0C02B591}" srcId="{CF343C08-84A8-4AFE-B788-5C83367A6619}" destId="{C413C6D2-08AD-4000-92C0-E87D4235A9D8}" srcOrd="0" destOrd="0" parTransId="{791FEE7A-3874-44AB-A388-4468E221909A}" sibTransId="{B575993B-1229-402C-9FF6-DC7C707117BC}"/>
    <dgm:cxn modelId="{E70996D3-6389-4782-8D60-8B10796DB7E3}" type="presOf" srcId="{A5D18830-0E27-4D99-AD78-0609B169130F}" destId="{BA3AA46C-F283-456E-94B4-E982EB18C004}" srcOrd="0" destOrd="3" presId="urn:microsoft.com/office/officeart/2009/3/layout/StepUpProcess"/>
    <dgm:cxn modelId="{DDEDFAF0-2D03-4308-97F3-F49A15FD2C68}" type="presOf" srcId="{114EB774-08B4-414B-A3F4-07690A7FC4B3}" destId="{05EA32A1-7A40-4305-B996-6DDAFF2E72AB}" srcOrd="0" destOrd="2" presId="urn:microsoft.com/office/officeart/2009/3/layout/StepUpProcess"/>
    <dgm:cxn modelId="{267D3477-3AC9-4044-B638-8651ED976836}" type="presOf" srcId="{89BBBBD0-297E-4294-A69E-949D6D3C1822}" destId="{92FBD1D4-013A-486A-B10C-88950BE6DEAB}" srcOrd="0" destOrd="1" presId="urn:microsoft.com/office/officeart/2009/3/layout/StepUpProcess"/>
    <dgm:cxn modelId="{47D38217-1448-423C-87B3-A9E53630E950}" type="presOf" srcId="{BE9EE89C-98E0-4DD7-BDE6-C874D219931C}" destId="{05EA32A1-7A40-4305-B996-6DDAFF2E72AB}" srcOrd="0" destOrd="0" presId="urn:microsoft.com/office/officeart/2009/3/layout/StepUpProcess"/>
    <dgm:cxn modelId="{C6A50AD3-2060-48F1-BFEB-D3E98AB539CF}" type="presOf" srcId="{619C37D9-5926-463A-824E-817E6B2CCBEB}" destId="{BA3AA46C-F283-456E-94B4-E982EB18C004}" srcOrd="0" destOrd="2" presId="urn:microsoft.com/office/officeart/2009/3/layout/StepUpProcess"/>
    <dgm:cxn modelId="{08F5671B-3ABC-41A1-A0F2-A77F1AE59951}" type="presParOf" srcId="{8BC45840-E947-49C3-A995-A28FB761F3DF}" destId="{EC266A1A-FEA9-453E-A881-890116489422}" srcOrd="0" destOrd="0" presId="urn:microsoft.com/office/officeart/2009/3/layout/StepUpProcess"/>
    <dgm:cxn modelId="{967EB311-157A-4B23-A2C8-FCF98148D4F5}" type="presParOf" srcId="{EC266A1A-FEA9-453E-A881-890116489422}" destId="{54E6C6AA-4523-4E1B-8231-1885F43130EC}" srcOrd="0" destOrd="0" presId="urn:microsoft.com/office/officeart/2009/3/layout/StepUpProcess"/>
    <dgm:cxn modelId="{09197B3D-396A-410D-9D86-54B97ED764DC}" type="presParOf" srcId="{EC266A1A-FEA9-453E-A881-890116489422}" destId="{BA3AA46C-F283-456E-94B4-E982EB18C004}" srcOrd="1" destOrd="0" presId="urn:microsoft.com/office/officeart/2009/3/layout/StepUpProcess"/>
    <dgm:cxn modelId="{21CBEAC5-FF3A-4A9C-8BC5-E62B77F2F6ED}" type="presParOf" srcId="{EC266A1A-FEA9-453E-A881-890116489422}" destId="{07090AD9-E572-4EAB-91A1-47AEE17AFF49}" srcOrd="2" destOrd="0" presId="urn:microsoft.com/office/officeart/2009/3/layout/StepUpProcess"/>
    <dgm:cxn modelId="{1FFC67F7-4B1F-4B43-A862-6846CC6F9E10}" type="presParOf" srcId="{8BC45840-E947-49C3-A995-A28FB761F3DF}" destId="{749495C8-CD2F-4BE0-AAD3-1CFE45B06AA3}" srcOrd="1" destOrd="0" presId="urn:microsoft.com/office/officeart/2009/3/layout/StepUpProcess"/>
    <dgm:cxn modelId="{208A6804-7335-4C30-AE57-1C56321ABB13}" type="presParOf" srcId="{749495C8-CD2F-4BE0-AAD3-1CFE45B06AA3}" destId="{08ED81AA-0FF0-4B92-A872-57396ACCAC26}" srcOrd="0" destOrd="0" presId="urn:microsoft.com/office/officeart/2009/3/layout/StepUpProcess"/>
    <dgm:cxn modelId="{0254D3ED-AFD8-4255-B3F1-64C7D15DC22E}" type="presParOf" srcId="{8BC45840-E947-49C3-A995-A28FB761F3DF}" destId="{9807C4F3-0DA6-4029-8E31-9AC52F6D990B}" srcOrd="2" destOrd="0" presId="urn:microsoft.com/office/officeart/2009/3/layout/StepUpProcess"/>
    <dgm:cxn modelId="{F3B34882-2B26-4655-9751-2BDD654B1037}" type="presParOf" srcId="{9807C4F3-0DA6-4029-8E31-9AC52F6D990B}" destId="{8DF0808E-D4A8-4681-9191-CBC2959B6917}" srcOrd="0" destOrd="0" presId="urn:microsoft.com/office/officeart/2009/3/layout/StepUpProcess"/>
    <dgm:cxn modelId="{686DE582-59DC-4785-9D18-53EBC75DDA89}" type="presParOf" srcId="{9807C4F3-0DA6-4029-8E31-9AC52F6D990B}" destId="{92FBD1D4-013A-486A-B10C-88950BE6DEAB}" srcOrd="1" destOrd="0" presId="urn:microsoft.com/office/officeart/2009/3/layout/StepUpProcess"/>
    <dgm:cxn modelId="{25F2EE25-5602-4000-9317-44DE7A0F51FE}" type="presParOf" srcId="{9807C4F3-0DA6-4029-8E31-9AC52F6D990B}" destId="{175FA4E2-FB2B-4B09-B52E-220453014EF6}" srcOrd="2" destOrd="0" presId="urn:microsoft.com/office/officeart/2009/3/layout/StepUpProcess"/>
    <dgm:cxn modelId="{E53BDF17-FE86-44A5-831A-E4B1F4D231D6}" type="presParOf" srcId="{8BC45840-E947-49C3-A995-A28FB761F3DF}" destId="{E2070922-872B-4827-8850-8AEF226168F1}" srcOrd="3" destOrd="0" presId="urn:microsoft.com/office/officeart/2009/3/layout/StepUpProcess"/>
    <dgm:cxn modelId="{5F7B0AB1-B105-4239-9AB0-A584881594BC}" type="presParOf" srcId="{E2070922-872B-4827-8850-8AEF226168F1}" destId="{0DBE2370-50A7-40FD-BB5C-A60C2CDB4E40}" srcOrd="0" destOrd="0" presId="urn:microsoft.com/office/officeart/2009/3/layout/StepUpProcess"/>
    <dgm:cxn modelId="{BED81341-8F22-439B-8457-DF78C4C11075}" type="presParOf" srcId="{8BC45840-E947-49C3-A995-A28FB761F3DF}" destId="{7538B5AD-6899-48B5-9BD3-0A38DEBE69CB}" srcOrd="4" destOrd="0" presId="urn:microsoft.com/office/officeart/2009/3/layout/StepUpProcess"/>
    <dgm:cxn modelId="{D6F40D2B-1EE8-4EED-9CA4-0852F558E54F}" type="presParOf" srcId="{7538B5AD-6899-48B5-9BD3-0A38DEBE69CB}" destId="{8DDD43F9-0967-4DB6-97A7-E19276369394}" srcOrd="0" destOrd="0" presId="urn:microsoft.com/office/officeart/2009/3/layout/StepUpProcess"/>
    <dgm:cxn modelId="{8C88846D-273F-4ACD-9A36-1C690729FFB3}" type="presParOf" srcId="{7538B5AD-6899-48B5-9BD3-0A38DEBE69CB}" destId="{05EA32A1-7A40-4305-B996-6DDAFF2E72AB}"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4DBF4C6-78EE-4DFB-A565-C67AF7638168}"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BB824EB7-129A-41FB-88CF-5E8B75946885}">
      <dgm:prSet/>
      <dgm:spPr/>
      <dgm:t>
        <a:bodyPr/>
        <a:lstStyle/>
        <a:p>
          <a:pPr rtl="0"/>
          <a:r>
            <a:rPr lang="en-US" dirty="0"/>
            <a:t>Foundation of critical practices</a:t>
          </a:r>
        </a:p>
      </dgm:t>
    </dgm:pt>
    <dgm:pt modelId="{2A5E65CF-5C78-4A8E-ADB3-722E335D2AE9}" type="parTrans" cxnId="{DE3EFB15-EB46-40E3-AD59-F1FACAF1BCF1}">
      <dgm:prSet/>
      <dgm:spPr/>
      <dgm:t>
        <a:bodyPr/>
        <a:lstStyle/>
        <a:p>
          <a:endParaRPr lang="en-US"/>
        </a:p>
      </dgm:t>
    </dgm:pt>
    <dgm:pt modelId="{FF84FCA2-AD6F-4A37-B994-FC1F49C57134}" type="sibTrans" cxnId="{DE3EFB15-EB46-40E3-AD59-F1FACAF1BCF1}">
      <dgm:prSet/>
      <dgm:spPr/>
      <dgm:t>
        <a:bodyPr/>
        <a:lstStyle/>
        <a:p>
          <a:endParaRPr lang="en-US"/>
        </a:p>
      </dgm:t>
    </dgm:pt>
    <dgm:pt modelId="{320122F7-7184-4460-84D4-D2111BFC54DC}">
      <dgm:prSet/>
      <dgm:spPr/>
      <dgm:t>
        <a:bodyPr/>
        <a:lstStyle/>
        <a:p>
          <a:pPr rtl="0"/>
          <a:r>
            <a:rPr lang="en-US" dirty="0"/>
            <a:t>Collaborate</a:t>
          </a:r>
        </a:p>
      </dgm:t>
    </dgm:pt>
    <dgm:pt modelId="{9D405EB7-66D4-4478-88C1-8B816892CF0E}" type="parTrans" cxnId="{17E1B119-B457-44D6-99B5-BEAA60422C53}">
      <dgm:prSet/>
      <dgm:spPr/>
      <dgm:t>
        <a:bodyPr/>
        <a:lstStyle/>
        <a:p>
          <a:endParaRPr lang="en-US"/>
        </a:p>
      </dgm:t>
    </dgm:pt>
    <dgm:pt modelId="{38B31AB3-8BE4-4A9A-BDEA-C252A688C110}" type="sibTrans" cxnId="{17E1B119-B457-44D6-99B5-BEAA60422C53}">
      <dgm:prSet/>
      <dgm:spPr/>
      <dgm:t>
        <a:bodyPr/>
        <a:lstStyle/>
        <a:p>
          <a:endParaRPr lang="en-US"/>
        </a:p>
      </dgm:t>
    </dgm:pt>
    <dgm:pt modelId="{25597642-5E9F-4A41-88E9-E84884F80576}">
      <dgm:prSet/>
      <dgm:spPr/>
      <dgm:t>
        <a:bodyPr/>
        <a:lstStyle/>
        <a:p>
          <a:pPr rtl="0"/>
          <a:r>
            <a:rPr lang="en-US" dirty="0"/>
            <a:t>Continually improve</a:t>
          </a:r>
        </a:p>
      </dgm:t>
    </dgm:pt>
    <dgm:pt modelId="{9E121BD8-65BD-42F4-ADBF-4F09FF481C42}" type="parTrans" cxnId="{331881E2-E22E-4D1E-AB87-6C4459499895}">
      <dgm:prSet/>
      <dgm:spPr/>
      <dgm:t>
        <a:bodyPr/>
        <a:lstStyle/>
        <a:p>
          <a:endParaRPr lang="en-US"/>
        </a:p>
      </dgm:t>
    </dgm:pt>
    <dgm:pt modelId="{C4E1EEA7-5B01-494C-B218-B9E01A6C7817}" type="sibTrans" cxnId="{331881E2-E22E-4D1E-AB87-6C4459499895}">
      <dgm:prSet/>
      <dgm:spPr/>
      <dgm:t>
        <a:bodyPr/>
        <a:lstStyle/>
        <a:p>
          <a:endParaRPr lang="en-US"/>
        </a:p>
      </dgm:t>
    </dgm:pt>
    <dgm:pt modelId="{F69AD7EA-BA03-4A7E-8319-4D314665A3C4}">
      <dgm:prSet custT="1"/>
      <dgm:spPr/>
      <dgm:t>
        <a:bodyPr/>
        <a:lstStyle/>
        <a:p>
          <a:pPr rtl="0"/>
          <a:r>
            <a:rPr lang="en-US" sz="2000" dirty="0"/>
            <a:t>Collaborate with customers</a:t>
          </a:r>
        </a:p>
      </dgm:t>
    </dgm:pt>
    <dgm:pt modelId="{BBC3F2B9-DA40-4F1B-BA0C-087F4C9D76FC}" type="parTrans" cxnId="{D260ADC9-9897-4291-B642-13EDBAC270DD}">
      <dgm:prSet/>
      <dgm:spPr/>
      <dgm:t>
        <a:bodyPr/>
        <a:lstStyle/>
        <a:p>
          <a:endParaRPr lang="en-US"/>
        </a:p>
      </dgm:t>
    </dgm:pt>
    <dgm:pt modelId="{E32A1738-A111-477C-9335-C5DDA534439C}" type="sibTrans" cxnId="{D260ADC9-9897-4291-B642-13EDBAC270DD}">
      <dgm:prSet/>
      <dgm:spPr/>
      <dgm:t>
        <a:bodyPr/>
        <a:lstStyle/>
        <a:p>
          <a:endParaRPr lang="en-US"/>
        </a:p>
      </dgm:t>
    </dgm:pt>
    <dgm:pt modelId="{12931440-CF77-413B-B47F-E2D9FC096256}">
      <dgm:prSet custT="1"/>
      <dgm:spPr/>
      <dgm:t>
        <a:bodyPr/>
        <a:lstStyle/>
        <a:p>
          <a:pPr rtl="0"/>
          <a:r>
            <a:rPr lang="en-US" sz="2000" dirty="0"/>
            <a:t>Team retrospectives</a:t>
          </a:r>
        </a:p>
      </dgm:t>
    </dgm:pt>
    <dgm:pt modelId="{F1057C6C-9A47-4AC6-BEDF-6527B7468DDD}" type="parTrans" cxnId="{B9038553-B0B0-434D-9F61-85F7067D1E72}">
      <dgm:prSet/>
      <dgm:spPr/>
      <dgm:t>
        <a:bodyPr/>
        <a:lstStyle/>
        <a:p>
          <a:endParaRPr lang="en-US"/>
        </a:p>
      </dgm:t>
    </dgm:pt>
    <dgm:pt modelId="{C6446A46-BEB2-4063-852E-274F5E4934AD}" type="sibTrans" cxnId="{B9038553-B0B0-434D-9F61-85F7067D1E72}">
      <dgm:prSet/>
      <dgm:spPr/>
      <dgm:t>
        <a:bodyPr/>
        <a:lstStyle/>
        <a:p>
          <a:endParaRPr lang="en-US"/>
        </a:p>
      </dgm:t>
    </dgm:pt>
    <dgm:pt modelId="{601CE728-D6A3-4B88-AF13-FB1BCAAA2182}">
      <dgm:prSet custT="1"/>
      <dgm:spPr/>
      <dgm:t>
        <a:bodyPr/>
        <a:lstStyle/>
        <a:p>
          <a:pPr rtl="0"/>
          <a:r>
            <a:rPr lang="en-US" sz="2000" dirty="0"/>
            <a:t>Session-based testing, </a:t>
          </a:r>
          <a:br>
            <a:rPr lang="en-US" sz="2000" dirty="0"/>
          </a:br>
          <a:r>
            <a:rPr lang="en-US" sz="2000" dirty="0"/>
            <a:t>agile test environments</a:t>
          </a:r>
        </a:p>
      </dgm:t>
    </dgm:pt>
    <dgm:pt modelId="{776F04C2-991E-46CD-B4E7-BD4ECFC2C261}" type="parTrans" cxnId="{13CCFAE5-FDA5-452F-A426-5289CB15954E}">
      <dgm:prSet/>
      <dgm:spPr/>
      <dgm:t>
        <a:bodyPr/>
        <a:lstStyle/>
        <a:p>
          <a:endParaRPr lang="en-US"/>
        </a:p>
      </dgm:t>
    </dgm:pt>
    <dgm:pt modelId="{8CF57CC1-F42F-48F9-A39B-48434F5A4313}" type="sibTrans" cxnId="{13CCFAE5-FDA5-452F-A426-5289CB15954E}">
      <dgm:prSet/>
      <dgm:spPr/>
      <dgm:t>
        <a:bodyPr/>
        <a:lstStyle/>
        <a:p>
          <a:endParaRPr lang="en-US"/>
        </a:p>
      </dgm:t>
    </dgm:pt>
    <dgm:pt modelId="{C4603056-FDFF-4252-B0B2-3986A3767452}">
      <dgm:prSet custT="1"/>
      <dgm:spPr/>
      <dgm:t>
        <a:bodyPr/>
        <a:lstStyle/>
        <a:p>
          <a:pPr rtl="0"/>
          <a:r>
            <a:rPr lang="en-US" sz="2000" dirty="0"/>
            <a:t>Informative workspace</a:t>
          </a:r>
        </a:p>
      </dgm:t>
    </dgm:pt>
    <dgm:pt modelId="{AE1F9B33-0C4D-4047-9264-0A9C957D648E}" type="parTrans" cxnId="{056F944B-7FC1-4DC8-B045-3C04EC6BCE24}">
      <dgm:prSet/>
      <dgm:spPr/>
      <dgm:t>
        <a:bodyPr/>
        <a:lstStyle/>
        <a:p>
          <a:endParaRPr lang="en-US"/>
        </a:p>
      </dgm:t>
    </dgm:pt>
    <dgm:pt modelId="{048F47FF-46E0-4CF0-B228-581586345B5E}" type="sibTrans" cxnId="{056F944B-7FC1-4DC8-B045-3C04EC6BCE24}">
      <dgm:prSet/>
      <dgm:spPr/>
      <dgm:t>
        <a:bodyPr/>
        <a:lstStyle/>
        <a:p>
          <a:endParaRPr lang="en-US"/>
        </a:p>
      </dgm:t>
    </dgm:pt>
    <dgm:pt modelId="{205308E8-4224-401E-96EB-8DCAD6BCA0F7}">
      <dgm:prSet custT="1"/>
      <dgm:spPr/>
      <dgm:t>
        <a:bodyPr/>
        <a:lstStyle/>
        <a:p>
          <a:pPr rtl="0"/>
          <a:r>
            <a:rPr lang="en-US" sz="2000" dirty="0"/>
            <a:t>Collaborate within team</a:t>
          </a:r>
        </a:p>
      </dgm:t>
    </dgm:pt>
    <dgm:pt modelId="{ABE6FF57-7B62-48BC-BD67-6849DA41C309}" type="parTrans" cxnId="{D6593445-EC61-4EC2-8383-A61E4B87B798}">
      <dgm:prSet/>
      <dgm:spPr/>
      <dgm:t>
        <a:bodyPr/>
        <a:lstStyle/>
        <a:p>
          <a:endParaRPr lang="en-US"/>
        </a:p>
      </dgm:t>
    </dgm:pt>
    <dgm:pt modelId="{D072384B-1534-45D4-93B2-E41A9680D7E8}" type="sibTrans" cxnId="{D6593445-EC61-4EC2-8383-A61E4B87B798}">
      <dgm:prSet/>
      <dgm:spPr/>
      <dgm:t>
        <a:bodyPr/>
        <a:lstStyle/>
        <a:p>
          <a:endParaRPr lang="en-US"/>
        </a:p>
      </dgm:t>
    </dgm:pt>
    <dgm:pt modelId="{AE36EE76-958D-4090-BC23-7A3864494D19}">
      <dgm:prSet custT="1"/>
      <dgm:spPr/>
      <dgm:t>
        <a:bodyPr/>
        <a:lstStyle/>
        <a:p>
          <a:pPr rtl="0"/>
          <a:r>
            <a:rPr lang="en-US" sz="2000" dirty="0"/>
            <a:t>Personal training: reading, blogs, QAI, local QA groups</a:t>
          </a:r>
        </a:p>
      </dgm:t>
    </dgm:pt>
    <dgm:pt modelId="{D41DF07C-05D4-45DD-A4C1-C51F4F956807}" type="parTrans" cxnId="{D72D9541-2F1D-450F-B615-CADAAD23BB1B}">
      <dgm:prSet/>
      <dgm:spPr/>
      <dgm:t>
        <a:bodyPr/>
        <a:lstStyle/>
        <a:p>
          <a:endParaRPr lang="en-US"/>
        </a:p>
      </dgm:t>
    </dgm:pt>
    <dgm:pt modelId="{FAFB0E5C-E866-47CB-93DD-3145CEAE6700}" type="sibTrans" cxnId="{D72D9541-2F1D-450F-B615-CADAAD23BB1B}">
      <dgm:prSet/>
      <dgm:spPr/>
      <dgm:t>
        <a:bodyPr/>
        <a:lstStyle/>
        <a:p>
          <a:endParaRPr lang="en-US"/>
        </a:p>
      </dgm:t>
    </dgm:pt>
    <dgm:pt modelId="{E414E34C-F7B1-4D9B-AB49-C708CBF483C1}" type="pres">
      <dgm:prSet presAssocID="{84DBF4C6-78EE-4DFB-A565-C67AF7638168}" presName="Name0" presStyleCnt="0">
        <dgm:presLayoutVars>
          <dgm:dir/>
          <dgm:animLvl val="lvl"/>
          <dgm:resizeHandles val="exact"/>
        </dgm:presLayoutVars>
      </dgm:prSet>
      <dgm:spPr/>
    </dgm:pt>
    <dgm:pt modelId="{B99D9240-9684-4907-B73E-04BA23F0AB17}" type="pres">
      <dgm:prSet presAssocID="{BB824EB7-129A-41FB-88CF-5E8B75946885}" presName="linNode" presStyleCnt="0"/>
      <dgm:spPr/>
    </dgm:pt>
    <dgm:pt modelId="{F0A46D73-B33A-44FB-8826-53EA279FE424}" type="pres">
      <dgm:prSet presAssocID="{BB824EB7-129A-41FB-88CF-5E8B75946885}" presName="parentText" presStyleLbl="node1" presStyleIdx="0" presStyleCnt="3">
        <dgm:presLayoutVars>
          <dgm:chMax val="1"/>
          <dgm:bulletEnabled val="1"/>
        </dgm:presLayoutVars>
      </dgm:prSet>
      <dgm:spPr/>
    </dgm:pt>
    <dgm:pt modelId="{001AFC3F-8D4D-491E-8BC7-DF8C5D36185D}" type="pres">
      <dgm:prSet presAssocID="{BB824EB7-129A-41FB-88CF-5E8B75946885}" presName="descendantText" presStyleLbl="alignAccFollowNode1" presStyleIdx="0" presStyleCnt="3">
        <dgm:presLayoutVars>
          <dgm:bulletEnabled val="1"/>
        </dgm:presLayoutVars>
      </dgm:prSet>
      <dgm:spPr/>
    </dgm:pt>
    <dgm:pt modelId="{E7ADA9BC-0A4D-4273-A7F1-82A8F82B19EC}" type="pres">
      <dgm:prSet presAssocID="{FF84FCA2-AD6F-4A37-B994-FC1F49C57134}" presName="sp" presStyleCnt="0"/>
      <dgm:spPr/>
    </dgm:pt>
    <dgm:pt modelId="{B038873B-C6FB-410F-905D-1465FB8D6EF5}" type="pres">
      <dgm:prSet presAssocID="{320122F7-7184-4460-84D4-D2111BFC54DC}" presName="linNode" presStyleCnt="0"/>
      <dgm:spPr/>
    </dgm:pt>
    <dgm:pt modelId="{5D76A62E-0A96-4BB3-A5AB-67752DBE829B}" type="pres">
      <dgm:prSet presAssocID="{320122F7-7184-4460-84D4-D2111BFC54DC}" presName="parentText" presStyleLbl="node1" presStyleIdx="1" presStyleCnt="3">
        <dgm:presLayoutVars>
          <dgm:chMax val="1"/>
          <dgm:bulletEnabled val="1"/>
        </dgm:presLayoutVars>
      </dgm:prSet>
      <dgm:spPr/>
    </dgm:pt>
    <dgm:pt modelId="{D9799DA5-11A2-4008-B4FB-B7E2FB3227DB}" type="pres">
      <dgm:prSet presAssocID="{320122F7-7184-4460-84D4-D2111BFC54DC}" presName="descendantText" presStyleLbl="alignAccFollowNode1" presStyleIdx="1" presStyleCnt="3">
        <dgm:presLayoutVars>
          <dgm:bulletEnabled val="1"/>
        </dgm:presLayoutVars>
      </dgm:prSet>
      <dgm:spPr/>
    </dgm:pt>
    <dgm:pt modelId="{094C4C6E-1A07-49DF-9E5E-7682E1D282B0}" type="pres">
      <dgm:prSet presAssocID="{38B31AB3-8BE4-4A9A-BDEA-C252A688C110}" presName="sp" presStyleCnt="0"/>
      <dgm:spPr/>
    </dgm:pt>
    <dgm:pt modelId="{7DF4AAC0-3E44-4E48-9846-8811C8A31C20}" type="pres">
      <dgm:prSet presAssocID="{25597642-5E9F-4A41-88E9-E84884F80576}" presName="linNode" presStyleCnt="0"/>
      <dgm:spPr/>
    </dgm:pt>
    <dgm:pt modelId="{F631AD0B-014A-4DBF-88A6-EF74EE3DCC31}" type="pres">
      <dgm:prSet presAssocID="{25597642-5E9F-4A41-88E9-E84884F80576}" presName="parentText" presStyleLbl="node1" presStyleIdx="2" presStyleCnt="3">
        <dgm:presLayoutVars>
          <dgm:chMax val="1"/>
          <dgm:bulletEnabled val="1"/>
        </dgm:presLayoutVars>
      </dgm:prSet>
      <dgm:spPr/>
    </dgm:pt>
    <dgm:pt modelId="{C48F28A3-B0B5-4C16-B008-3E2AA5A89BE7}" type="pres">
      <dgm:prSet presAssocID="{25597642-5E9F-4A41-88E9-E84884F80576}" presName="descendantText" presStyleLbl="alignAccFollowNode1" presStyleIdx="2" presStyleCnt="3">
        <dgm:presLayoutVars>
          <dgm:bulletEnabled val="1"/>
        </dgm:presLayoutVars>
      </dgm:prSet>
      <dgm:spPr/>
    </dgm:pt>
  </dgm:ptLst>
  <dgm:cxnLst>
    <dgm:cxn modelId="{17E1B119-B457-44D6-99B5-BEAA60422C53}" srcId="{84DBF4C6-78EE-4DFB-A565-C67AF7638168}" destId="{320122F7-7184-4460-84D4-D2111BFC54DC}" srcOrd="1" destOrd="0" parTransId="{9D405EB7-66D4-4478-88C1-8B816892CF0E}" sibTransId="{38B31AB3-8BE4-4A9A-BDEA-C252A688C110}"/>
    <dgm:cxn modelId="{331881E2-E22E-4D1E-AB87-6C4459499895}" srcId="{84DBF4C6-78EE-4DFB-A565-C67AF7638168}" destId="{25597642-5E9F-4A41-88E9-E84884F80576}" srcOrd="2" destOrd="0" parTransId="{9E121BD8-65BD-42F4-ADBF-4F09FF481C42}" sibTransId="{C4E1EEA7-5B01-494C-B218-B9E01A6C7817}"/>
    <dgm:cxn modelId="{13CCFAE5-FDA5-452F-A426-5289CB15954E}" srcId="{BB824EB7-129A-41FB-88CF-5E8B75946885}" destId="{601CE728-D6A3-4B88-AF13-FB1BCAAA2182}" srcOrd="0" destOrd="0" parTransId="{776F04C2-991E-46CD-B4E7-BD4ECFC2C261}" sibTransId="{8CF57CC1-F42F-48F9-A39B-48434F5A4313}"/>
    <dgm:cxn modelId="{056F944B-7FC1-4DC8-B045-3C04EC6BCE24}" srcId="{BB824EB7-129A-41FB-88CF-5E8B75946885}" destId="{C4603056-FDFF-4252-B0B2-3986A3767452}" srcOrd="1" destOrd="0" parTransId="{AE1F9B33-0C4D-4047-9264-0A9C957D648E}" sibTransId="{048F47FF-46E0-4CF0-B228-581586345B5E}"/>
    <dgm:cxn modelId="{DE3EFB15-EB46-40E3-AD59-F1FACAF1BCF1}" srcId="{84DBF4C6-78EE-4DFB-A565-C67AF7638168}" destId="{BB824EB7-129A-41FB-88CF-5E8B75946885}" srcOrd="0" destOrd="0" parTransId="{2A5E65CF-5C78-4A8E-ADB3-722E335D2AE9}" sibTransId="{FF84FCA2-AD6F-4A37-B994-FC1F49C57134}"/>
    <dgm:cxn modelId="{75D4B119-F8CE-4A0F-8E2B-36FF2E0146AE}" type="presOf" srcId="{25597642-5E9F-4A41-88E9-E84884F80576}" destId="{F631AD0B-014A-4DBF-88A6-EF74EE3DCC31}" srcOrd="0" destOrd="0" presId="urn:microsoft.com/office/officeart/2005/8/layout/vList5"/>
    <dgm:cxn modelId="{188B2E83-BFCF-40A8-975F-7875DF714D83}" type="presOf" srcId="{BB824EB7-129A-41FB-88CF-5E8B75946885}" destId="{F0A46D73-B33A-44FB-8826-53EA279FE424}" srcOrd="0" destOrd="0" presId="urn:microsoft.com/office/officeart/2005/8/layout/vList5"/>
    <dgm:cxn modelId="{C7047ED3-CB3D-460E-8F0E-CFE48001F408}" type="presOf" srcId="{205308E8-4224-401E-96EB-8DCAD6BCA0F7}" destId="{D9799DA5-11A2-4008-B4FB-B7E2FB3227DB}" srcOrd="0" destOrd="1" presId="urn:microsoft.com/office/officeart/2005/8/layout/vList5"/>
    <dgm:cxn modelId="{D260ADC9-9897-4291-B642-13EDBAC270DD}" srcId="{320122F7-7184-4460-84D4-D2111BFC54DC}" destId="{F69AD7EA-BA03-4A7E-8319-4D314665A3C4}" srcOrd="0" destOrd="0" parTransId="{BBC3F2B9-DA40-4F1B-BA0C-087F4C9D76FC}" sibTransId="{E32A1738-A111-477C-9335-C5DDA534439C}"/>
    <dgm:cxn modelId="{A1C8BAC5-4658-49A6-9542-FD2CFEA4CAD9}" type="presOf" srcId="{AE36EE76-958D-4090-BC23-7A3864494D19}" destId="{C48F28A3-B0B5-4C16-B008-3E2AA5A89BE7}" srcOrd="0" destOrd="1" presId="urn:microsoft.com/office/officeart/2005/8/layout/vList5"/>
    <dgm:cxn modelId="{B9038553-B0B0-434D-9F61-85F7067D1E72}" srcId="{25597642-5E9F-4A41-88E9-E84884F80576}" destId="{12931440-CF77-413B-B47F-E2D9FC096256}" srcOrd="0" destOrd="0" parTransId="{F1057C6C-9A47-4AC6-BEDF-6527B7468DDD}" sibTransId="{C6446A46-BEB2-4063-852E-274F5E4934AD}"/>
    <dgm:cxn modelId="{BF3CF2A6-95D5-4578-8314-52C4718FEDA4}" type="presOf" srcId="{C4603056-FDFF-4252-B0B2-3986A3767452}" destId="{001AFC3F-8D4D-491E-8BC7-DF8C5D36185D}" srcOrd="0" destOrd="1" presId="urn:microsoft.com/office/officeart/2005/8/layout/vList5"/>
    <dgm:cxn modelId="{D6593445-EC61-4EC2-8383-A61E4B87B798}" srcId="{320122F7-7184-4460-84D4-D2111BFC54DC}" destId="{205308E8-4224-401E-96EB-8DCAD6BCA0F7}" srcOrd="1" destOrd="0" parTransId="{ABE6FF57-7B62-48BC-BD67-6849DA41C309}" sibTransId="{D072384B-1534-45D4-93B2-E41A9680D7E8}"/>
    <dgm:cxn modelId="{7DD602DC-00FD-4A3F-A31A-DDE1A1E3CBAE}" type="presOf" srcId="{320122F7-7184-4460-84D4-D2111BFC54DC}" destId="{5D76A62E-0A96-4BB3-A5AB-67752DBE829B}" srcOrd="0" destOrd="0" presId="urn:microsoft.com/office/officeart/2005/8/layout/vList5"/>
    <dgm:cxn modelId="{1E4D030E-EC76-4525-8D02-DC6B9511EE13}" type="presOf" srcId="{F69AD7EA-BA03-4A7E-8319-4D314665A3C4}" destId="{D9799DA5-11A2-4008-B4FB-B7E2FB3227DB}" srcOrd="0" destOrd="0" presId="urn:microsoft.com/office/officeart/2005/8/layout/vList5"/>
    <dgm:cxn modelId="{D72D9541-2F1D-450F-B615-CADAAD23BB1B}" srcId="{25597642-5E9F-4A41-88E9-E84884F80576}" destId="{AE36EE76-958D-4090-BC23-7A3864494D19}" srcOrd="1" destOrd="0" parTransId="{D41DF07C-05D4-45DD-A4C1-C51F4F956807}" sibTransId="{FAFB0E5C-E866-47CB-93DD-3145CEAE6700}"/>
    <dgm:cxn modelId="{78430F1B-4F4A-45A1-A149-E621B48ECC40}" type="presOf" srcId="{601CE728-D6A3-4B88-AF13-FB1BCAAA2182}" destId="{001AFC3F-8D4D-491E-8BC7-DF8C5D36185D}" srcOrd="0" destOrd="0" presId="urn:microsoft.com/office/officeart/2005/8/layout/vList5"/>
    <dgm:cxn modelId="{CF0144EB-F865-4CC6-B30A-4B0A8F6BD526}" type="presOf" srcId="{84DBF4C6-78EE-4DFB-A565-C67AF7638168}" destId="{E414E34C-F7B1-4D9B-AB49-C708CBF483C1}" srcOrd="0" destOrd="0" presId="urn:microsoft.com/office/officeart/2005/8/layout/vList5"/>
    <dgm:cxn modelId="{41B123DE-9C44-450B-B6E7-9712C357784B}" type="presOf" srcId="{12931440-CF77-413B-B47F-E2D9FC096256}" destId="{C48F28A3-B0B5-4C16-B008-3E2AA5A89BE7}" srcOrd="0" destOrd="0" presId="urn:microsoft.com/office/officeart/2005/8/layout/vList5"/>
    <dgm:cxn modelId="{4D115059-4DB1-4E13-A1EA-C404F99FC35A}" type="presParOf" srcId="{E414E34C-F7B1-4D9B-AB49-C708CBF483C1}" destId="{B99D9240-9684-4907-B73E-04BA23F0AB17}" srcOrd="0" destOrd="0" presId="urn:microsoft.com/office/officeart/2005/8/layout/vList5"/>
    <dgm:cxn modelId="{AC032523-E5DF-4D92-A082-2968A19A822C}" type="presParOf" srcId="{B99D9240-9684-4907-B73E-04BA23F0AB17}" destId="{F0A46D73-B33A-44FB-8826-53EA279FE424}" srcOrd="0" destOrd="0" presId="urn:microsoft.com/office/officeart/2005/8/layout/vList5"/>
    <dgm:cxn modelId="{A3B60485-4437-4C8F-AC63-3B6DCFE85F3D}" type="presParOf" srcId="{B99D9240-9684-4907-B73E-04BA23F0AB17}" destId="{001AFC3F-8D4D-491E-8BC7-DF8C5D36185D}" srcOrd="1" destOrd="0" presId="urn:microsoft.com/office/officeart/2005/8/layout/vList5"/>
    <dgm:cxn modelId="{C496CADD-9958-4CEC-8A79-0499A36B81BB}" type="presParOf" srcId="{E414E34C-F7B1-4D9B-AB49-C708CBF483C1}" destId="{E7ADA9BC-0A4D-4273-A7F1-82A8F82B19EC}" srcOrd="1" destOrd="0" presId="urn:microsoft.com/office/officeart/2005/8/layout/vList5"/>
    <dgm:cxn modelId="{E4034C7F-D9E7-4CCE-83DD-80E40B149CBA}" type="presParOf" srcId="{E414E34C-F7B1-4D9B-AB49-C708CBF483C1}" destId="{B038873B-C6FB-410F-905D-1465FB8D6EF5}" srcOrd="2" destOrd="0" presId="urn:microsoft.com/office/officeart/2005/8/layout/vList5"/>
    <dgm:cxn modelId="{2D89525E-839D-4F71-86DF-F75C622C3606}" type="presParOf" srcId="{B038873B-C6FB-410F-905D-1465FB8D6EF5}" destId="{5D76A62E-0A96-4BB3-A5AB-67752DBE829B}" srcOrd="0" destOrd="0" presId="urn:microsoft.com/office/officeart/2005/8/layout/vList5"/>
    <dgm:cxn modelId="{4BACB7F0-9D39-4C68-82CA-D582487A0182}" type="presParOf" srcId="{B038873B-C6FB-410F-905D-1465FB8D6EF5}" destId="{D9799DA5-11A2-4008-B4FB-B7E2FB3227DB}" srcOrd="1" destOrd="0" presId="urn:microsoft.com/office/officeart/2005/8/layout/vList5"/>
    <dgm:cxn modelId="{DF1B1E9A-F16B-495C-B84E-BE26B088E1C4}" type="presParOf" srcId="{E414E34C-F7B1-4D9B-AB49-C708CBF483C1}" destId="{094C4C6E-1A07-49DF-9E5E-7682E1D282B0}" srcOrd="3" destOrd="0" presId="urn:microsoft.com/office/officeart/2005/8/layout/vList5"/>
    <dgm:cxn modelId="{4E30DA58-21AB-4CDE-A3D6-6993E25724D2}" type="presParOf" srcId="{E414E34C-F7B1-4D9B-AB49-C708CBF483C1}" destId="{7DF4AAC0-3E44-4E48-9846-8811C8A31C20}" srcOrd="4" destOrd="0" presId="urn:microsoft.com/office/officeart/2005/8/layout/vList5"/>
    <dgm:cxn modelId="{93209F8E-9E83-4718-9124-89CDD0E1EA98}" type="presParOf" srcId="{7DF4AAC0-3E44-4E48-9846-8811C8A31C20}" destId="{F631AD0B-014A-4DBF-88A6-EF74EE3DCC31}" srcOrd="0" destOrd="0" presId="urn:microsoft.com/office/officeart/2005/8/layout/vList5"/>
    <dgm:cxn modelId="{EF79DBFD-0AD7-4A86-9B2F-3B8DC1560FFB}" type="presParOf" srcId="{7DF4AAC0-3E44-4E48-9846-8811C8A31C20}" destId="{C48F28A3-B0B5-4C16-B008-3E2AA5A89BE7}"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C7432D5-41F2-4D18-88C2-A47883722D4F}" type="doc">
      <dgm:prSet loTypeId="urn:microsoft.com/office/officeart/2005/8/layout/hProcess9" loCatId="process" qsTypeId="urn:microsoft.com/office/officeart/2005/8/quickstyle/simple1" qsCatId="simple" csTypeId="urn:microsoft.com/office/officeart/2005/8/colors/accent3_2" csCatId="accent3" phldr="1"/>
      <dgm:spPr/>
      <dgm:t>
        <a:bodyPr/>
        <a:lstStyle/>
        <a:p>
          <a:endParaRPr lang="en-US"/>
        </a:p>
      </dgm:t>
    </dgm:pt>
    <dgm:pt modelId="{A69FAD68-F62B-4303-A46A-328F4AD40892}">
      <dgm:prSet phldrT="[Text]"/>
      <dgm:spPr/>
      <dgm:t>
        <a:bodyPr/>
        <a:lstStyle/>
        <a:p>
          <a:r>
            <a:rPr lang="en-US" dirty="0"/>
            <a:t>Requirements</a:t>
          </a:r>
        </a:p>
      </dgm:t>
    </dgm:pt>
    <dgm:pt modelId="{FBDC8529-9447-477A-8E68-34EDBC1A9D6C}" type="parTrans" cxnId="{E35B1ECE-6297-4F3F-9A49-D0E794C414B0}">
      <dgm:prSet/>
      <dgm:spPr/>
      <dgm:t>
        <a:bodyPr/>
        <a:lstStyle/>
        <a:p>
          <a:endParaRPr lang="en-US"/>
        </a:p>
      </dgm:t>
    </dgm:pt>
    <dgm:pt modelId="{DD1FBCFF-666D-43FC-A0EA-2D767386F8E1}" type="sibTrans" cxnId="{E35B1ECE-6297-4F3F-9A49-D0E794C414B0}">
      <dgm:prSet/>
      <dgm:spPr/>
      <dgm:t>
        <a:bodyPr/>
        <a:lstStyle/>
        <a:p>
          <a:endParaRPr lang="en-US"/>
        </a:p>
      </dgm:t>
    </dgm:pt>
    <dgm:pt modelId="{1994E39C-FD26-4990-B2AE-944CE4F70255}">
      <dgm:prSet phldrT="[Text]"/>
      <dgm:spPr/>
      <dgm:t>
        <a:bodyPr/>
        <a:lstStyle/>
        <a:p>
          <a:r>
            <a:rPr lang="en-US" dirty="0"/>
            <a:t>Business Requirements</a:t>
          </a:r>
        </a:p>
      </dgm:t>
    </dgm:pt>
    <dgm:pt modelId="{AE8F9D80-185D-4CA5-A5BE-2D9055BEFEE7}" type="parTrans" cxnId="{C4583369-5C42-4DC4-9070-25D70065ADB3}">
      <dgm:prSet/>
      <dgm:spPr/>
      <dgm:t>
        <a:bodyPr/>
        <a:lstStyle/>
        <a:p>
          <a:endParaRPr lang="en-US"/>
        </a:p>
      </dgm:t>
    </dgm:pt>
    <dgm:pt modelId="{4B46DC21-367A-4A7F-81B7-91D6C66C04B2}" type="sibTrans" cxnId="{C4583369-5C42-4DC4-9070-25D70065ADB3}">
      <dgm:prSet/>
      <dgm:spPr/>
      <dgm:t>
        <a:bodyPr/>
        <a:lstStyle/>
        <a:p>
          <a:endParaRPr lang="en-US"/>
        </a:p>
      </dgm:t>
    </dgm:pt>
    <dgm:pt modelId="{1897E7CC-2D9D-4F13-94A7-821B5E98FFE0}">
      <dgm:prSet phldrT="[Text]"/>
      <dgm:spPr/>
      <dgm:t>
        <a:bodyPr/>
        <a:lstStyle/>
        <a:p>
          <a:r>
            <a:rPr lang="en-US" dirty="0"/>
            <a:t>Technical Requirements</a:t>
          </a:r>
        </a:p>
      </dgm:t>
    </dgm:pt>
    <dgm:pt modelId="{0A91793A-8224-40B7-8655-4D60B7AE0F43}" type="parTrans" cxnId="{ECCC8D23-7E70-4833-8FAC-AD9981F9028A}">
      <dgm:prSet/>
      <dgm:spPr/>
      <dgm:t>
        <a:bodyPr/>
        <a:lstStyle/>
        <a:p>
          <a:endParaRPr lang="en-US"/>
        </a:p>
      </dgm:t>
    </dgm:pt>
    <dgm:pt modelId="{32006B6E-C3CB-4037-B5CE-3F6B4CB8D7AC}" type="sibTrans" cxnId="{ECCC8D23-7E70-4833-8FAC-AD9981F9028A}">
      <dgm:prSet/>
      <dgm:spPr/>
      <dgm:t>
        <a:bodyPr/>
        <a:lstStyle/>
        <a:p>
          <a:endParaRPr lang="en-US"/>
        </a:p>
      </dgm:t>
    </dgm:pt>
    <dgm:pt modelId="{617BDE32-F2CF-4267-84A8-D7AACE7C2744}">
      <dgm:prSet phldrT="[Text]"/>
      <dgm:spPr/>
      <dgm:t>
        <a:bodyPr/>
        <a:lstStyle/>
        <a:p>
          <a:r>
            <a:rPr lang="en-US" dirty="0"/>
            <a:t>Analysis &amp; Design</a:t>
          </a:r>
        </a:p>
      </dgm:t>
    </dgm:pt>
    <dgm:pt modelId="{FDDBE47B-992F-4C07-9137-46709F43179C}" type="parTrans" cxnId="{70688F9D-CC19-4DA3-B130-5F5348C406B3}">
      <dgm:prSet/>
      <dgm:spPr/>
      <dgm:t>
        <a:bodyPr/>
        <a:lstStyle/>
        <a:p>
          <a:endParaRPr lang="en-US"/>
        </a:p>
      </dgm:t>
    </dgm:pt>
    <dgm:pt modelId="{CB77CE90-6B1C-4B09-A55B-9316BC04C5C3}" type="sibTrans" cxnId="{70688F9D-CC19-4DA3-B130-5F5348C406B3}">
      <dgm:prSet/>
      <dgm:spPr/>
      <dgm:t>
        <a:bodyPr/>
        <a:lstStyle/>
        <a:p>
          <a:endParaRPr lang="en-US"/>
        </a:p>
      </dgm:t>
    </dgm:pt>
    <dgm:pt modelId="{9B23D3AB-836E-4208-A914-4620B9368C91}">
      <dgm:prSet phldrT="[Text]"/>
      <dgm:spPr/>
      <dgm:t>
        <a:bodyPr/>
        <a:lstStyle/>
        <a:p>
          <a:r>
            <a:rPr lang="en-US" dirty="0"/>
            <a:t>System Specifications</a:t>
          </a:r>
        </a:p>
      </dgm:t>
    </dgm:pt>
    <dgm:pt modelId="{16F8D7DD-FA69-44F5-A89B-A40CB9E2A60D}" type="parTrans" cxnId="{EE4F1A1A-E2F5-42C9-808D-31DAB87D1926}">
      <dgm:prSet/>
      <dgm:spPr/>
      <dgm:t>
        <a:bodyPr/>
        <a:lstStyle/>
        <a:p>
          <a:endParaRPr lang="en-US"/>
        </a:p>
      </dgm:t>
    </dgm:pt>
    <dgm:pt modelId="{D07542D9-43D5-490A-BF08-292670FE323B}" type="sibTrans" cxnId="{EE4F1A1A-E2F5-42C9-808D-31DAB87D1926}">
      <dgm:prSet/>
      <dgm:spPr/>
      <dgm:t>
        <a:bodyPr/>
        <a:lstStyle/>
        <a:p>
          <a:endParaRPr lang="en-US"/>
        </a:p>
      </dgm:t>
    </dgm:pt>
    <dgm:pt modelId="{F457E8E4-8DBB-4393-B3D9-85EC2141D339}">
      <dgm:prSet phldrT="[Text]"/>
      <dgm:spPr/>
      <dgm:t>
        <a:bodyPr/>
        <a:lstStyle/>
        <a:p>
          <a:r>
            <a:rPr lang="en-US" dirty="0"/>
            <a:t>Component Specifications</a:t>
          </a:r>
        </a:p>
      </dgm:t>
    </dgm:pt>
    <dgm:pt modelId="{A9E0C20F-43C2-4484-A0B9-AA995B66D536}" type="parTrans" cxnId="{6B79058F-6016-4244-9D1A-09F276CA39C4}">
      <dgm:prSet/>
      <dgm:spPr/>
      <dgm:t>
        <a:bodyPr/>
        <a:lstStyle/>
        <a:p>
          <a:endParaRPr lang="en-US"/>
        </a:p>
      </dgm:t>
    </dgm:pt>
    <dgm:pt modelId="{80C98F8F-7AD1-45CB-A504-6AE6961CC91B}" type="sibTrans" cxnId="{6B79058F-6016-4244-9D1A-09F276CA39C4}">
      <dgm:prSet/>
      <dgm:spPr/>
      <dgm:t>
        <a:bodyPr/>
        <a:lstStyle/>
        <a:p>
          <a:endParaRPr lang="en-US"/>
        </a:p>
      </dgm:t>
    </dgm:pt>
    <dgm:pt modelId="{8CB8CE17-9BCE-4A8F-8183-31FD8C473C83}">
      <dgm:prSet phldrT="[Text]"/>
      <dgm:spPr/>
      <dgm:t>
        <a:bodyPr/>
        <a:lstStyle/>
        <a:p>
          <a:r>
            <a:rPr lang="en-US" dirty="0"/>
            <a:t>Code</a:t>
          </a:r>
        </a:p>
      </dgm:t>
    </dgm:pt>
    <dgm:pt modelId="{E1FB1138-A666-46A0-B2E4-25BB6B300911}" type="parTrans" cxnId="{C1263A71-B3FF-49E5-A57B-4EAC4942A2C7}">
      <dgm:prSet/>
      <dgm:spPr/>
      <dgm:t>
        <a:bodyPr/>
        <a:lstStyle/>
        <a:p>
          <a:endParaRPr lang="en-US"/>
        </a:p>
      </dgm:t>
    </dgm:pt>
    <dgm:pt modelId="{59A64A3C-1BDB-46F6-9D90-E9CE7211CA0A}" type="sibTrans" cxnId="{C1263A71-B3FF-49E5-A57B-4EAC4942A2C7}">
      <dgm:prSet/>
      <dgm:spPr/>
      <dgm:t>
        <a:bodyPr/>
        <a:lstStyle/>
        <a:p>
          <a:endParaRPr lang="en-US"/>
        </a:p>
      </dgm:t>
    </dgm:pt>
    <dgm:pt modelId="{8F449781-849A-4F37-9004-4F1E236D1FA0}">
      <dgm:prSet phldrT="[Text]"/>
      <dgm:spPr/>
      <dgm:t>
        <a:bodyPr/>
        <a:lstStyle/>
        <a:p>
          <a:r>
            <a:rPr lang="en-US" dirty="0"/>
            <a:t>C#, C, C++ etc.</a:t>
          </a:r>
        </a:p>
      </dgm:t>
    </dgm:pt>
    <dgm:pt modelId="{11BE1865-A6AC-4128-8B58-F0E8DB6277E9}" type="parTrans" cxnId="{345F2752-D05C-4B72-A552-1517060BC925}">
      <dgm:prSet/>
      <dgm:spPr/>
      <dgm:t>
        <a:bodyPr/>
        <a:lstStyle/>
        <a:p>
          <a:endParaRPr lang="en-US"/>
        </a:p>
      </dgm:t>
    </dgm:pt>
    <dgm:pt modelId="{C2292441-8E6C-4EF2-AB58-B20BE5FA04D9}" type="sibTrans" cxnId="{345F2752-D05C-4B72-A552-1517060BC925}">
      <dgm:prSet/>
      <dgm:spPr/>
      <dgm:t>
        <a:bodyPr/>
        <a:lstStyle/>
        <a:p>
          <a:endParaRPr lang="en-US"/>
        </a:p>
      </dgm:t>
    </dgm:pt>
    <dgm:pt modelId="{7AD2CAA2-BDE3-4884-9243-E3FCC2801206}">
      <dgm:prSet phldrT="[Text]"/>
      <dgm:spPr/>
      <dgm:t>
        <a:bodyPr/>
        <a:lstStyle/>
        <a:p>
          <a:r>
            <a:rPr lang="en-US" dirty="0"/>
            <a:t>Test</a:t>
          </a:r>
        </a:p>
      </dgm:t>
    </dgm:pt>
    <dgm:pt modelId="{3E702F33-C33F-44D3-A134-1750AC2575F3}" type="parTrans" cxnId="{54C1AF3E-161E-438B-9E36-B7749AD36DE1}">
      <dgm:prSet/>
      <dgm:spPr/>
      <dgm:t>
        <a:bodyPr/>
        <a:lstStyle/>
        <a:p>
          <a:endParaRPr lang="en-US"/>
        </a:p>
      </dgm:t>
    </dgm:pt>
    <dgm:pt modelId="{632AA1FD-DC6E-4044-9355-43E4EB536962}" type="sibTrans" cxnId="{54C1AF3E-161E-438B-9E36-B7749AD36DE1}">
      <dgm:prSet/>
      <dgm:spPr/>
      <dgm:t>
        <a:bodyPr/>
        <a:lstStyle/>
        <a:p>
          <a:endParaRPr lang="en-US"/>
        </a:p>
      </dgm:t>
    </dgm:pt>
    <dgm:pt modelId="{A66FC5AF-F41E-490E-A57F-F5E4630418ED}">
      <dgm:prSet phldrT="[Text]"/>
      <dgm:spPr/>
      <dgm:t>
        <a:bodyPr/>
        <a:lstStyle/>
        <a:p>
          <a:r>
            <a:rPr lang="en-US" dirty="0"/>
            <a:t>Deploy</a:t>
          </a:r>
        </a:p>
      </dgm:t>
    </dgm:pt>
    <dgm:pt modelId="{07CF0460-B6C0-4953-8230-B8C995B1666D}" type="parTrans" cxnId="{0BEA6C4A-64F7-41BB-818D-B9D8B2107580}">
      <dgm:prSet/>
      <dgm:spPr/>
      <dgm:t>
        <a:bodyPr/>
        <a:lstStyle/>
        <a:p>
          <a:endParaRPr lang="en-US"/>
        </a:p>
      </dgm:t>
    </dgm:pt>
    <dgm:pt modelId="{9AB72E5B-E029-46E3-90D2-9A6D03F6FCB5}" type="sibTrans" cxnId="{0BEA6C4A-64F7-41BB-818D-B9D8B2107580}">
      <dgm:prSet/>
      <dgm:spPr/>
      <dgm:t>
        <a:bodyPr/>
        <a:lstStyle/>
        <a:p>
          <a:endParaRPr lang="en-US"/>
        </a:p>
      </dgm:t>
    </dgm:pt>
    <dgm:pt modelId="{77D7D803-8BD4-465C-8014-2E5203AB5989}">
      <dgm:prSet phldrT="[Text]"/>
      <dgm:spPr/>
      <dgm:t>
        <a:bodyPr/>
        <a:lstStyle/>
        <a:p>
          <a:r>
            <a:rPr lang="en-US" dirty="0"/>
            <a:t>Big-Bang Integration</a:t>
          </a:r>
        </a:p>
      </dgm:t>
    </dgm:pt>
    <dgm:pt modelId="{116E607C-C006-4BFB-B89A-6CF8D38DECCB}" type="parTrans" cxnId="{13FD608E-5E3E-499F-AF6C-9F6B9480B928}">
      <dgm:prSet/>
      <dgm:spPr/>
      <dgm:t>
        <a:bodyPr/>
        <a:lstStyle/>
        <a:p>
          <a:endParaRPr lang="en-US"/>
        </a:p>
      </dgm:t>
    </dgm:pt>
    <dgm:pt modelId="{5D0C509E-DDEA-4CBB-A232-D56E797B803B}" type="sibTrans" cxnId="{13FD608E-5E3E-499F-AF6C-9F6B9480B928}">
      <dgm:prSet/>
      <dgm:spPr/>
      <dgm:t>
        <a:bodyPr/>
        <a:lstStyle/>
        <a:p>
          <a:endParaRPr lang="en-US"/>
        </a:p>
      </dgm:t>
    </dgm:pt>
    <dgm:pt modelId="{603E19A0-7E0D-47A8-8FD3-50BE21CF3120}">
      <dgm:prSet phldrT="[Text]"/>
      <dgm:spPr/>
      <dgm:t>
        <a:bodyPr/>
        <a:lstStyle/>
        <a:p>
          <a:r>
            <a:rPr lang="en-US" dirty="0"/>
            <a:t>Validation Tests</a:t>
          </a:r>
        </a:p>
      </dgm:t>
    </dgm:pt>
    <dgm:pt modelId="{A7528738-7A98-4347-ABC9-821D1B3E8458}" type="parTrans" cxnId="{E2E94CEC-03F6-40C4-9B1E-435AFC00801A}">
      <dgm:prSet/>
      <dgm:spPr/>
      <dgm:t>
        <a:bodyPr/>
        <a:lstStyle/>
        <a:p>
          <a:endParaRPr lang="en-US"/>
        </a:p>
      </dgm:t>
    </dgm:pt>
    <dgm:pt modelId="{30B31C2B-5045-445B-B3EC-882FC0A6AC27}" type="sibTrans" cxnId="{E2E94CEC-03F6-40C4-9B1E-435AFC00801A}">
      <dgm:prSet/>
      <dgm:spPr/>
      <dgm:t>
        <a:bodyPr/>
        <a:lstStyle/>
        <a:p>
          <a:endParaRPr lang="en-US"/>
        </a:p>
      </dgm:t>
    </dgm:pt>
    <dgm:pt modelId="{BADC8ABA-8EAF-45CC-A747-C2985CE719DE}">
      <dgm:prSet phldrT="[Text]"/>
      <dgm:spPr/>
      <dgm:t>
        <a:bodyPr/>
        <a:lstStyle/>
        <a:p>
          <a:r>
            <a:rPr lang="en-US" dirty="0"/>
            <a:t>Verification Tests</a:t>
          </a:r>
        </a:p>
      </dgm:t>
    </dgm:pt>
    <dgm:pt modelId="{35FACAA9-A89A-4A2C-81A5-764AD1CED97E}" type="parTrans" cxnId="{3C370863-0DB0-478A-92A7-F70EE9D038BA}">
      <dgm:prSet/>
      <dgm:spPr/>
      <dgm:t>
        <a:bodyPr/>
        <a:lstStyle/>
        <a:p>
          <a:endParaRPr lang="en-US"/>
        </a:p>
      </dgm:t>
    </dgm:pt>
    <dgm:pt modelId="{7DC17A44-82F0-413D-A982-C68265FE89AC}" type="sibTrans" cxnId="{3C370863-0DB0-478A-92A7-F70EE9D038BA}">
      <dgm:prSet/>
      <dgm:spPr/>
      <dgm:t>
        <a:bodyPr/>
        <a:lstStyle/>
        <a:p>
          <a:endParaRPr lang="en-US"/>
        </a:p>
      </dgm:t>
    </dgm:pt>
    <dgm:pt modelId="{46314AB6-21AB-4096-9DF7-E59715D5B3C6}">
      <dgm:prSet phldrT="[Text]"/>
      <dgm:spPr/>
      <dgm:t>
        <a:bodyPr/>
        <a:lstStyle/>
        <a:p>
          <a:endParaRPr lang="en-US" dirty="0"/>
        </a:p>
      </dgm:t>
    </dgm:pt>
    <dgm:pt modelId="{0219999E-FE98-4DF6-B9A4-786C6694F83B}" type="parTrans" cxnId="{F5C725FB-3502-4751-9016-2610DA6C3707}">
      <dgm:prSet/>
      <dgm:spPr/>
      <dgm:t>
        <a:bodyPr/>
        <a:lstStyle/>
        <a:p>
          <a:endParaRPr lang="en-US"/>
        </a:p>
      </dgm:t>
    </dgm:pt>
    <dgm:pt modelId="{F77936ED-BF58-4680-BBEA-A4BC42A2D52B}" type="sibTrans" cxnId="{F5C725FB-3502-4751-9016-2610DA6C3707}">
      <dgm:prSet/>
      <dgm:spPr/>
      <dgm:t>
        <a:bodyPr/>
        <a:lstStyle/>
        <a:p>
          <a:endParaRPr lang="en-US"/>
        </a:p>
      </dgm:t>
    </dgm:pt>
    <dgm:pt modelId="{58508D0B-8EBC-41BE-98BA-4AF5BB837058}" type="pres">
      <dgm:prSet presAssocID="{0C7432D5-41F2-4D18-88C2-A47883722D4F}" presName="CompostProcess" presStyleCnt="0">
        <dgm:presLayoutVars>
          <dgm:dir/>
          <dgm:resizeHandles val="exact"/>
        </dgm:presLayoutVars>
      </dgm:prSet>
      <dgm:spPr/>
    </dgm:pt>
    <dgm:pt modelId="{F27B8704-69AA-4609-B561-CCC0AC9D3910}" type="pres">
      <dgm:prSet presAssocID="{0C7432D5-41F2-4D18-88C2-A47883722D4F}" presName="arrow" presStyleLbl="bgShp" presStyleIdx="0" presStyleCnt="1"/>
      <dgm:spPr/>
    </dgm:pt>
    <dgm:pt modelId="{7C6A85EC-C652-4D47-B060-5F48F2C8F470}" type="pres">
      <dgm:prSet presAssocID="{0C7432D5-41F2-4D18-88C2-A47883722D4F}" presName="linearProcess" presStyleCnt="0"/>
      <dgm:spPr/>
    </dgm:pt>
    <dgm:pt modelId="{D093801B-B398-4FCB-97B7-FA898751BEAD}" type="pres">
      <dgm:prSet presAssocID="{A69FAD68-F62B-4303-A46A-328F4AD40892}" presName="textNode" presStyleLbl="node1" presStyleIdx="0" presStyleCnt="5">
        <dgm:presLayoutVars>
          <dgm:bulletEnabled val="1"/>
        </dgm:presLayoutVars>
      </dgm:prSet>
      <dgm:spPr/>
    </dgm:pt>
    <dgm:pt modelId="{7DFB3210-5644-4811-8443-86A208347854}" type="pres">
      <dgm:prSet presAssocID="{DD1FBCFF-666D-43FC-A0EA-2D767386F8E1}" presName="sibTrans" presStyleCnt="0"/>
      <dgm:spPr/>
    </dgm:pt>
    <dgm:pt modelId="{BED20197-362F-41DF-8019-B2EADA9FD447}" type="pres">
      <dgm:prSet presAssocID="{617BDE32-F2CF-4267-84A8-D7AACE7C2744}" presName="textNode" presStyleLbl="node1" presStyleIdx="1" presStyleCnt="5">
        <dgm:presLayoutVars>
          <dgm:bulletEnabled val="1"/>
        </dgm:presLayoutVars>
      </dgm:prSet>
      <dgm:spPr/>
    </dgm:pt>
    <dgm:pt modelId="{5CC1E9E8-8E84-45FD-BEB6-B573382199BB}" type="pres">
      <dgm:prSet presAssocID="{CB77CE90-6B1C-4B09-A55B-9316BC04C5C3}" presName="sibTrans" presStyleCnt="0"/>
      <dgm:spPr/>
    </dgm:pt>
    <dgm:pt modelId="{51F9EB86-59D8-417D-9EB6-D60D278FEAC2}" type="pres">
      <dgm:prSet presAssocID="{8CB8CE17-9BCE-4A8F-8183-31FD8C473C83}" presName="textNode" presStyleLbl="node1" presStyleIdx="2" presStyleCnt="5">
        <dgm:presLayoutVars>
          <dgm:bulletEnabled val="1"/>
        </dgm:presLayoutVars>
      </dgm:prSet>
      <dgm:spPr/>
    </dgm:pt>
    <dgm:pt modelId="{42E515F3-69B0-4D38-A62D-684B019E7A0B}" type="pres">
      <dgm:prSet presAssocID="{59A64A3C-1BDB-46F6-9D90-E9CE7211CA0A}" presName="sibTrans" presStyleCnt="0"/>
      <dgm:spPr/>
    </dgm:pt>
    <dgm:pt modelId="{D992062F-FC1A-413E-8617-22A87C649BAF}" type="pres">
      <dgm:prSet presAssocID="{7AD2CAA2-BDE3-4884-9243-E3FCC2801206}" presName="textNode" presStyleLbl="node1" presStyleIdx="3" presStyleCnt="5">
        <dgm:presLayoutVars>
          <dgm:bulletEnabled val="1"/>
        </dgm:presLayoutVars>
      </dgm:prSet>
      <dgm:spPr/>
    </dgm:pt>
    <dgm:pt modelId="{2BFE2AC2-9576-4726-BDF2-7E86F24BFA5F}" type="pres">
      <dgm:prSet presAssocID="{632AA1FD-DC6E-4044-9355-43E4EB536962}" presName="sibTrans" presStyleCnt="0"/>
      <dgm:spPr/>
    </dgm:pt>
    <dgm:pt modelId="{F2862C66-462D-4E76-A641-D85EB2BEBC27}" type="pres">
      <dgm:prSet presAssocID="{A66FC5AF-F41E-490E-A57F-F5E4630418ED}" presName="textNode" presStyleLbl="node1" presStyleIdx="4" presStyleCnt="5">
        <dgm:presLayoutVars>
          <dgm:bulletEnabled val="1"/>
        </dgm:presLayoutVars>
      </dgm:prSet>
      <dgm:spPr/>
    </dgm:pt>
  </dgm:ptLst>
  <dgm:cxnLst>
    <dgm:cxn modelId="{6B79058F-6016-4244-9D1A-09F276CA39C4}" srcId="{617BDE32-F2CF-4267-84A8-D7AACE7C2744}" destId="{F457E8E4-8DBB-4393-B3D9-85EC2141D339}" srcOrd="1" destOrd="0" parTransId="{A9E0C20F-43C2-4484-A0B9-AA995B66D536}" sibTransId="{80C98F8F-7AD1-45CB-A504-6AE6961CC91B}"/>
    <dgm:cxn modelId="{54C1AF3E-161E-438B-9E36-B7749AD36DE1}" srcId="{0C7432D5-41F2-4D18-88C2-A47883722D4F}" destId="{7AD2CAA2-BDE3-4884-9243-E3FCC2801206}" srcOrd="3" destOrd="0" parTransId="{3E702F33-C33F-44D3-A134-1750AC2575F3}" sibTransId="{632AA1FD-DC6E-4044-9355-43E4EB536962}"/>
    <dgm:cxn modelId="{E2E94CEC-03F6-40C4-9B1E-435AFC00801A}" srcId="{7AD2CAA2-BDE3-4884-9243-E3FCC2801206}" destId="{603E19A0-7E0D-47A8-8FD3-50BE21CF3120}" srcOrd="0" destOrd="0" parTransId="{A7528738-7A98-4347-ABC9-821D1B3E8458}" sibTransId="{30B31C2B-5045-445B-B3EC-882FC0A6AC27}"/>
    <dgm:cxn modelId="{70688F9D-CC19-4DA3-B130-5F5348C406B3}" srcId="{0C7432D5-41F2-4D18-88C2-A47883722D4F}" destId="{617BDE32-F2CF-4267-84A8-D7AACE7C2744}" srcOrd="1" destOrd="0" parTransId="{FDDBE47B-992F-4C07-9137-46709F43179C}" sibTransId="{CB77CE90-6B1C-4B09-A55B-9316BC04C5C3}"/>
    <dgm:cxn modelId="{D27D0796-043A-4FB1-A7A2-E2BB37E0B091}" type="presOf" srcId="{0C7432D5-41F2-4D18-88C2-A47883722D4F}" destId="{58508D0B-8EBC-41BE-98BA-4AF5BB837058}" srcOrd="0" destOrd="0" presId="urn:microsoft.com/office/officeart/2005/8/layout/hProcess9"/>
    <dgm:cxn modelId="{EE4F1A1A-E2F5-42C9-808D-31DAB87D1926}" srcId="{617BDE32-F2CF-4267-84A8-D7AACE7C2744}" destId="{9B23D3AB-836E-4208-A914-4620B9368C91}" srcOrd="0" destOrd="0" parTransId="{16F8D7DD-FA69-44F5-A89B-A40CB9E2A60D}" sibTransId="{D07542D9-43D5-490A-BF08-292670FE323B}"/>
    <dgm:cxn modelId="{D01AE61B-A081-44D8-A0E5-2EF2F0CD3217}" type="presOf" srcId="{F457E8E4-8DBB-4393-B3D9-85EC2141D339}" destId="{BED20197-362F-41DF-8019-B2EADA9FD447}" srcOrd="0" destOrd="2" presId="urn:microsoft.com/office/officeart/2005/8/layout/hProcess9"/>
    <dgm:cxn modelId="{A687537A-F9EE-41E2-8782-16CDB87170F1}" type="presOf" srcId="{77D7D803-8BD4-465C-8014-2E5203AB5989}" destId="{51F9EB86-59D8-417D-9EB6-D60D278FEAC2}" srcOrd="0" destOrd="2" presId="urn:microsoft.com/office/officeart/2005/8/layout/hProcess9"/>
    <dgm:cxn modelId="{3C370863-0DB0-478A-92A7-F70EE9D038BA}" srcId="{7AD2CAA2-BDE3-4884-9243-E3FCC2801206}" destId="{BADC8ABA-8EAF-45CC-A747-C2985CE719DE}" srcOrd="1" destOrd="0" parTransId="{35FACAA9-A89A-4A2C-81A5-764AD1CED97E}" sibTransId="{7DC17A44-82F0-413D-A982-C68265FE89AC}"/>
    <dgm:cxn modelId="{00AF2EF7-0415-4127-ADE5-1A3A24C8C9F4}" type="presOf" srcId="{617BDE32-F2CF-4267-84A8-D7AACE7C2744}" destId="{BED20197-362F-41DF-8019-B2EADA9FD447}" srcOrd="0" destOrd="0" presId="urn:microsoft.com/office/officeart/2005/8/layout/hProcess9"/>
    <dgm:cxn modelId="{0BEA6C4A-64F7-41BB-818D-B9D8B2107580}" srcId="{0C7432D5-41F2-4D18-88C2-A47883722D4F}" destId="{A66FC5AF-F41E-490E-A57F-F5E4630418ED}" srcOrd="4" destOrd="0" parTransId="{07CF0460-B6C0-4953-8230-B8C995B1666D}" sibTransId="{9AB72E5B-E029-46E3-90D2-9A6D03F6FCB5}"/>
    <dgm:cxn modelId="{ECCC8D23-7E70-4833-8FAC-AD9981F9028A}" srcId="{A69FAD68-F62B-4303-A46A-328F4AD40892}" destId="{1897E7CC-2D9D-4F13-94A7-821B5E98FFE0}" srcOrd="1" destOrd="0" parTransId="{0A91793A-8224-40B7-8655-4D60B7AE0F43}" sibTransId="{32006B6E-C3CB-4037-B5CE-3F6B4CB8D7AC}"/>
    <dgm:cxn modelId="{C4BA08B4-D877-42B0-8538-1B41FF0BD08B}" type="presOf" srcId="{A69FAD68-F62B-4303-A46A-328F4AD40892}" destId="{D093801B-B398-4FCB-97B7-FA898751BEAD}" srcOrd="0" destOrd="0" presId="urn:microsoft.com/office/officeart/2005/8/layout/hProcess9"/>
    <dgm:cxn modelId="{92197081-2426-4BD6-9B62-493F9E4E4AF5}" type="presOf" srcId="{BADC8ABA-8EAF-45CC-A747-C2985CE719DE}" destId="{D992062F-FC1A-413E-8617-22A87C649BAF}" srcOrd="0" destOrd="2" presId="urn:microsoft.com/office/officeart/2005/8/layout/hProcess9"/>
    <dgm:cxn modelId="{276A8627-B6B6-4B3F-B925-CB5E0CFD7519}" type="presOf" srcId="{1994E39C-FD26-4990-B2AE-944CE4F70255}" destId="{D093801B-B398-4FCB-97B7-FA898751BEAD}" srcOrd="0" destOrd="1" presId="urn:microsoft.com/office/officeart/2005/8/layout/hProcess9"/>
    <dgm:cxn modelId="{E35B1ECE-6297-4F3F-9A49-D0E794C414B0}" srcId="{0C7432D5-41F2-4D18-88C2-A47883722D4F}" destId="{A69FAD68-F62B-4303-A46A-328F4AD40892}" srcOrd="0" destOrd="0" parTransId="{FBDC8529-9447-477A-8E68-34EDBC1A9D6C}" sibTransId="{DD1FBCFF-666D-43FC-A0EA-2D767386F8E1}"/>
    <dgm:cxn modelId="{0CCCDF91-D891-49EE-8701-859A5764F625}" type="presOf" srcId="{1897E7CC-2D9D-4F13-94A7-821B5E98FFE0}" destId="{D093801B-B398-4FCB-97B7-FA898751BEAD}" srcOrd="0" destOrd="2" presId="urn:microsoft.com/office/officeart/2005/8/layout/hProcess9"/>
    <dgm:cxn modelId="{4836E863-8355-4618-BEFD-AEEE80C455F8}" type="presOf" srcId="{7AD2CAA2-BDE3-4884-9243-E3FCC2801206}" destId="{D992062F-FC1A-413E-8617-22A87C649BAF}" srcOrd="0" destOrd="0" presId="urn:microsoft.com/office/officeart/2005/8/layout/hProcess9"/>
    <dgm:cxn modelId="{F5C725FB-3502-4751-9016-2610DA6C3707}" srcId="{A66FC5AF-F41E-490E-A57F-F5E4630418ED}" destId="{46314AB6-21AB-4096-9DF7-E59715D5B3C6}" srcOrd="0" destOrd="0" parTransId="{0219999E-FE98-4DF6-B9A4-786C6694F83B}" sibTransId="{F77936ED-BF58-4680-BBEA-A4BC42A2D52B}"/>
    <dgm:cxn modelId="{13FD608E-5E3E-499F-AF6C-9F6B9480B928}" srcId="{8CB8CE17-9BCE-4A8F-8183-31FD8C473C83}" destId="{77D7D803-8BD4-465C-8014-2E5203AB5989}" srcOrd="1" destOrd="0" parTransId="{116E607C-C006-4BFB-B89A-6CF8D38DECCB}" sibTransId="{5D0C509E-DDEA-4CBB-A232-D56E797B803B}"/>
    <dgm:cxn modelId="{C1263A71-B3FF-49E5-A57B-4EAC4942A2C7}" srcId="{0C7432D5-41F2-4D18-88C2-A47883722D4F}" destId="{8CB8CE17-9BCE-4A8F-8183-31FD8C473C83}" srcOrd="2" destOrd="0" parTransId="{E1FB1138-A666-46A0-B2E4-25BB6B300911}" sibTransId="{59A64A3C-1BDB-46F6-9D90-E9CE7211CA0A}"/>
    <dgm:cxn modelId="{C765B155-3526-4569-8ED0-D4C08AD0B2CC}" type="presOf" srcId="{A66FC5AF-F41E-490E-A57F-F5E4630418ED}" destId="{F2862C66-462D-4E76-A641-D85EB2BEBC27}" srcOrd="0" destOrd="0" presId="urn:microsoft.com/office/officeart/2005/8/layout/hProcess9"/>
    <dgm:cxn modelId="{AFBFE48B-F6CB-438F-AE6F-77D5DFAF2C6F}" type="presOf" srcId="{46314AB6-21AB-4096-9DF7-E59715D5B3C6}" destId="{F2862C66-462D-4E76-A641-D85EB2BEBC27}" srcOrd="0" destOrd="1" presId="urn:microsoft.com/office/officeart/2005/8/layout/hProcess9"/>
    <dgm:cxn modelId="{B86A0268-46E7-4340-9380-53C8BFCAC3F1}" type="presOf" srcId="{8F449781-849A-4F37-9004-4F1E236D1FA0}" destId="{51F9EB86-59D8-417D-9EB6-D60D278FEAC2}" srcOrd="0" destOrd="1" presId="urn:microsoft.com/office/officeart/2005/8/layout/hProcess9"/>
    <dgm:cxn modelId="{B9C62329-E85D-4FE1-87F1-668845DFBAD7}" type="presOf" srcId="{603E19A0-7E0D-47A8-8FD3-50BE21CF3120}" destId="{D992062F-FC1A-413E-8617-22A87C649BAF}" srcOrd="0" destOrd="1" presId="urn:microsoft.com/office/officeart/2005/8/layout/hProcess9"/>
    <dgm:cxn modelId="{345F2752-D05C-4B72-A552-1517060BC925}" srcId="{8CB8CE17-9BCE-4A8F-8183-31FD8C473C83}" destId="{8F449781-849A-4F37-9004-4F1E236D1FA0}" srcOrd="0" destOrd="0" parTransId="{11BE1865-A6AC-4128-8B58-F0E8DB6277E9}" sibTransId="{C2292441-8E6C-4EF2-AB58-B20BE5FA04D9}"/>
    <dgm:cxn modelId="{C4583369-5C42-4DC4-9070-25D70065ADB3}" srcId="{A69FAD68-F62B-4303-A46A-328F4AD40892}" destId="{1994E39C-FD26-4990-B2AE-944CE4F70255}" srcOrd="0" destOrd="0" parTransId="{AE8F9D80-185D-4CA5-A5BE-2D9055BEFEE7}" sibTransId="{4B46DC21-367A-4A7F-81B7-91D6C66C04B2}"/>
    <dgm:cxn modelId="{69BE2F5E-060D-4BF4-8498-B6D28D668A36}" type="presOf" srcId="{9B23D3AB-836E-4208-A914-4620B9368C91}" destId="{BED20197-362F-41DF-8019-B2EADA9FD447}" srcOrd="0" destOrd="1" presId="urn:microsoft.com/office/officeart/2005/8/layout/hProcess9"/>
    <dgm:cxn modelId="{173BDD8E-10F5-498F-A628-A8303832A6A8}" type="presOf" srcId="{8CB8CE17-9BCE-4A8F-8183-31FD8C473C83}" destId="{51F9EB86-59D8-417D-9EB6-D60D278FEAC2}" srcOrd="0" destOrd="0" presId="urn:microsoft.com/office/officeart/2005/8/layout/hProcess9"/>
    <dgm:cxn modelId="{CCC812DF-6D2D-41CE-BD9D-D41D46172DC7}" type="presParOf" srcId="{58508D0B-8EBC-41BE-98BA-4AF5BB837058}" destId="{F27B8704-69AA-4609-B561-CCC0AC9D3910}" srcOrd="0" destOrd="0" presId="urn:microsoft.com/office/officeart/2005/8/layout/hProcess9"/>
    <dgm:cxn modelId="{0EA9255E-7755-4D58-8370-6B72E495B099}" type="presParOf" srcId="{58508D0B-8EBC-41BE-98BA-4AF5BB837058}" destId="{7C6A85EC-C652-4D47-B060-5F48F2C8F470}" srcOrd="1" destOrd="0" presId="urn:microsoft.com/office/officeart/2005/8/layout/hProcess9"/>
    <dgm:cxn modelId="{7B280735-56FB-4B99-ACED-601F96F706EF}" type="presParOf" srcId="{7C6A85EC-C652-4D47-B060-5F48F2C8F470}" destId="{D093801B-B398-4FCB-97B7-FA898751BEAD}" srcOrd="0" destOrd="0" presId="urn:microsoft.com/office/officeart/2005/8/layout/hProcess9"/>
    <dgm:cxn modelId="{DE47ABFA-76BA-4916-8C24-18E80E8BF5FC}" type="presParOf" srcId="{7C6A85EC-C652-4D47-B060-5F48F2C8F470}" destId="{7DFB3210-5644-4811-8443-86A208347854}" srcOrd="1" destOrd="0" presId="urn:microsoft.com/office/officeart/2005/8/layout/hProcess9"/>
    <dgm:cxn modelId="{4C3D7AC6-C0D4-45F0-A102-3FEA5D76B4D8}" type="presParOf" srcId="{7C6A85EC-C652-4D47-B060-5F48F2C8F470}" destId="{BED20197-362F-41DF-8019-B2EADA9FD447}" srcOrd="2" destOrd="0" presId="urn:microsoft.com/office/officeart/2005/8/layout/hProcess9"/>
    <dgm:cxn modelId="{FEE7E968-7E04-4E82-9187-925768135B72}" type="presParOf" srcId="{7C6A85EC-C652-4D47-B060-5F48F2C8F470}" destId="{5CC1E9E8-8E84-45FD-BEB6-B573382199BB}" srcOrd="3" destOrd="0" presId="urn:microsoft.com/office/officeart/2005/8/layout/hProcess9"/>
    <dgm:cxn modelId="{E5979C55-2595-458F-9A63-517D3A90A83D}" type="presParOf" srcId="{7C6A85EC-C652-4D47-B060-5F48F2C8F470}" destId="{51F9EB86-59D8-417D-9EB6-D60D278FEAC2}" srcOrd="4" destOrd="0" presId="urn:microsoft.com/office/officeart/2005/8/layout/hProcess9"/>
    <dgm:cxn modelId="{93AB2DA3-BD44-4E78-8987-BB308390B6A4}" type="presParOf" srcId="{7C6A85EC-C652-4D47-B060-5F48F2C8F470}" destId="{42E515F3-69B0-4D38-A62D-684B019E7A0B}" srcOrd="5" destOrd="0" presId="urn:microsoft.com/office/officeart/2005/8/layout/hProcess9"/>
    <dgm:cxn modelId="{8C2A27FF-8D58-4B72-9856-CE115F52E94E}" type="presParOf" srcId="{7C6A85EC-C652-4D47-B060-5F48F2C8F470}" destId="{D992062F-FC1A-413E-8617-22A87C649BAF}" srcOrd="6" destOrd="0" presId="urn:microsoft.com/office/officeart/2005/8/layout/hProcess9"/>
    <dgm:cxn modelId="{62E82C36-D903-40D3-AAEC-D8AC0E87C76F}" type="presParOf" srcId="{7C6A85EC-C652-4D47-B060-5F48F2C8F470}" destId="{2BFE2AC2-9576-4726-BDF2-7E86F24BFA5F}" srcOrd="7" destOrd="0" presId="urn:microsoft.com/office/officeart/2005/8/layout/hProcess9"/>
    <dgm:cxn modelId="{956D82B5-6899-4B85-9C82-4E6A49352E8F}" type="presParOf" srcId="{7C6A85EC-C652-4D47-B060-5F48F2C8F470}" destId="{F2862C66-462D-4E76-A641-D85EB2BEBC27}" srcOrd="8" destOrd="0" presId="urn:microsoft.com/office/officeart/2005/8/layout/hProcess9"/>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0C7432D5-41F2-4D18-88C2-A47883722D4F}" type="doc">
      <dgm:prSet loTypeId="urn:microsoft.com/office/officeart/2005/8/layout/lProcess1" loCatId="process" qsTypeId="urn:microsoft.com/office/officeart/2005/8/quickstyle/simple5" qsCatId="simple" csTypeId="urn:microsoft.com/office/officeart/2005/8/colors/accent1_2" csCatId="accent1" phldr="1"/>
      <dgm:spPr/>
      <dgm:t>
        <a:bodyPr/>
        <a:lstStyle/>
        <a:p>
          <a:endParaRPr lang="en-US"/>
        </a:p>
      </dgm:t>
    </dgm:pt>
    <dgm:pt modelId="{A69FAD68-F62B-4303-A46A-328F4AD40892}">
      <dgm:prSet phldrT="[Text]"/>
      <dgm:spPr/>
      <dgm:t>
        <a:bodyPr/>
        <a:lstStyle/>
        <a:p>
          <a:r>
            <a:rPr lang="en-US" dirty="0"/>
            <a:t>Iteration 1</a:t>
          </a:r>
        </a:p>
      </dgm:t>
    </dgm:pt>
    <dgm:pt modelId="{FBDC8529-9447-477A-8E68-34EDBC1A9D6C}" type="parTrans" cxnId="{E35B1ECE-6297-4F3F-9A49-D0E794C414B0}">
      <dgm:prSet/>
      <dgm:spPr/>
      <dgm:t>
        <a:bodyPr/>
        <a:lstStyle/>
        <a:p>
          <a:endParaRPr lang="en-US"/>
        </a:p>
      </dgm:t>
    </dgm:pt>
    <dgm:pt modelId="{DD1FBCFF-666D-43FC-A0EA-2D767386F8E1}" type="sibTrans" cxnId="{E35B1ECE-6297-4F3F-9A49-D0E794C414B0}">
      <dgm:prSet/>
      <dgm:spPr/>
      <dgm:t>
        <a:bodyPr/>
        <a:lstStyle/>
        <a:p>
          <a:endParaRPr lang="en-US"/>
        </a:p>
      </dgm:t>
    </dgm:pt>
    <dgm:pt modelId="{1994E39C-FD26-4990-B2AE-944CE4F70255}">
      <dgm:prSet phldrT="[Text]"/>
      <dgm:spPr/>
      <dgm:t>
        <a:bodyPr/>
        <a:lstStyle/>
        <a:p>
          <a:r>
            <a:rPr lang="en-US" dirty="0"/>
            <a:t>Requirements</a:t>
          </a:r>
        </a:p>
      </dgm:t>
    </dgm:pt>
    <dgm:pt modelId="{AE8F9D80-185D-4CA5-A5BE-2D9055BEFEE7}" type="parTrans" cxnId="{C4583369-5C42-4DC4-9070-25D70065ADB3}">
      <dgm:prSet/>
      <dgm:spPr/>
      <dgm:t>
        <a:bodyPr/>
        <a:lstStyle/>
        <a:p>
          <a:endParaRPr lang="en-US" dirty="0"/>
        </a:p>
      </dgm:t>
    </dgm:pt>
    <dgm:pt modelId="{4B46DC21-367A-4A7F-81B7-91D6C66C04B2}" type="sibTrans" cxnId="{C4583369-5C42-4DC4-9070-25D70065ADB3}">
      <dgm:prSet/>
      <dgm:spPr/>
      <dgm:t>
        <a:bodyPr/>
        <a:lstStyle/>
        <a:p>
          <a:endParaRPr lang="en-US" dirty="0"/>
        </a:p>
      </dgm:t>
    </dgm:pt>
    <dgm:pt modelId="{1897E7CC-2D9D-4F13-94A7-821B5E98FFE0}">
      <dgm:prSet phldrT="[Text]"/>
      <dgm:spPr/>
      <dgm:t>
        <a:bodyPr/>
        <a:lstStyle/>
        <a:p>
          <a:r>
            <a:rPr lang="en-US" dirty="0"/>
            <a:t>Analysis &amp; Design</a:t>
          </a:r>
        </a:p>
      </dgm:t>
    </dgm:pt>
    <dgm:pt modelId="{0A91793A-8224-40B7-8655-4D60B7AE0F43}" type="parTrans" cxnId="{ECCC8D23-7E70-4833-8FAC-AD9981F9028A}">
      <dgm:prSet/>
      <dgm:spPr/>
      <dgm:t>
        <a:bodyPr/>
        <a:lstStyle/>
        <a:p>
          <a:endParaRPr lang="en-US"/>
        </a:p>
      </dgm:t>
    </dgm:pt>
    <dgm:pt modelId="{32006B6E-C3CB-4037-B5CE-3F6B4CB8D7AC}" type="sibTrans" cxnId="{ECCC8D23-7E70-4833-8FAC-AD9981F9028A}">
      <dgm:prSet/>
      <dgm:spPr/>
      <dgm:t>
        <a:bodyPr/>
        <a:lstStyle/>
        <a:p>
          <a:endParaRPr lang="en-US" dirty="0"/>
        </a:p>
      </dgm:t>
    </dgm:pt>
    <dgm:pt modelId="{48606DAF-0FDD-420B-B70D-E288E0C38563}">
      <dgm:prSet phldrT="[Text]"/>
      <dgm:spPr/>
      <dgm:t>
        <a:bodyPr/>
        <a:lstStyle/>
        <a:p>
          <a:r>
            <a:rPr lang="en-US" dirty="0"/>
            <a:t>Code</a:t>
          </a:r>
        </a:p>
      </dgm:t>
    </dgm:pt>
    <dgm:pt modelId="{632F33E5-0923-4449-9A43-F07FE69D516D}" type="parTrans" cxnId="{2C236EE0-6F5D-4434-AF7D-5953A88FA7A1}">
      <dgm:prSet/>
      <dgm:spPr/>
      <dgm:t>
        <a:bodyPr/>
        <a:lstStyle/>
        <a:p>
          <a:endParaRPr lang="en-US"/>
        </a:p>
      </dgm:t>
    </dgm:pt>
    <dgm:pt modelId="{1F92A5F0-12B6-4BBB-A8D9-2B6406C4FC2A}" type="sibTrans" cxnId="{2C236EE0-6F5D-4434-AF7D-5953A88FA7A1}">
      <dgm:prSet/>
      <dgm:spPr/>
      <dgm:t>
        <a:bodyPr/>
        <a:lstStyle/>
        <a:p>
          <a:endParaRPr lang="en-US" dirty="0"/>
        </a:p>
      </dgm:t>
    </dgm:pt>
    <dgm:pt modelId="{89301BB2-00C4-42D1-BAC3-F557C525724F}">
      <dgm:prSet phldrT="[Text]"/>
      <dgm:spPr/>
      <dgm:t>
        <a:bodyPr/>
        <a:lstStyle/>
        <a:p>
          <a:r>
            <a:rPr lang="en-US" dirty="0"/>
            <a:t>Test</a:t>
          </a:r>
        </a:p>
      </dgm:t>
    </dgm:pt>
    <dgm:pt modelId="{598CCE9B-0408-4B77-89BC-C7923B54FD6D}" type="parTrans" cxnId="{4E016A8F-327F-4EF1-B06B-8764B8DBAC62}">
      <dgm:prSet/>
      <dgm:spPr/>
      <dgm:t>
        <a:bodyPr/>
        <a:lstStyle/>
        <a:p>
          <a:endParaRPr lang="en-US"/>
        </a:p>
      </dgm:t>
    </dgm:pt>
    <dgm:pt modelId="{88134E21-5ED4-4946-88CC-AC15F42472FC}" type="sibTrans" cxnId="{4E016A8F-327F-4EF1-B06B-8764B8DBAC62}">
      <dgm:prSet/>
      <dgm:spPr/>
      <dgm:t>
        <a:bodyPr/>
        <a:lstStyle/>
        <a:p>
          <a:endParaRPr lang="en-US"/>
        </a:p>
      </dgm:t>
    </dgm:pt>
    <dgm:pt modelId="{17727982-1ADE-4B95-A1BC-0DDA490D1F68}">
      <dgm:prSet phldrT="[Text]"/>
      <dgm:spPr/>
      <dgm:t>
        <a:bodyPr/>
        <a:lstStyle/>
        <a:p>
          <a:r>
            <a:rPr lang="en-US" dirty="0"/>
            <a:t>Requirements</a:t>
          </a:r>
        </a:p>
      </dgm:t>
    </dgm:pt>
    <dgm:pt modelId="{CD2359EF-C2CD-4F4A-870E-F20FD30C5A3E}" type="parTrans" cxnId="{6F913DB5-79FE-4A24-9A03-1141BDA5E38E}">
      <dgm:prSet/>
      <dgm:spPr/>
      <dgm:t>
        <a:bodyPr/>
        <a:lstStyle/>
        <a:p>
          <a:endParaRPr lang="en-US" dirty="0"/>
        </a:p>
      </dgm:t>
    </dgm:pt>
    <dgm:pt modelId="{E8DA7924-22F4-466B-A408-B2895909A600}" type="sibTrans" cxnId="{6F913DB5-79FE-4A24-9A03-1141BDA5E38E}">
      <dgm:prSet/>
      <dgm:spPr/>
      <dgm:t>
        <a:bodyPr/>
        <a:lstStyle/>
        <a:p>
          <a:endParaRPr lang="en-US" dirty="0"/>
        </a:p>
      </dgm:t>
    </dgm:pt>
    <dgm:pt modelId="{7C7433E3-E655-41F0-B9FE-91703600A034}">
      <dgm:prSet phldrT="[Text]"/>
      <dgm:spPr/>
      <dgm:t>
        <a:bodyPr/>
        <a:lstStyle/>
        <a:p>
          <a:r>
            <a:rPr lang="en-US" dirty="0"/>
            <a:t>Analysis &amp; Design</a:t>
          </a:r>
        </a:p>
      </dgm:t>
    </dgm:pt>
    <dgm:pt modelId="{DE0928BA-49E2-4E29-B796-D39D6DC664D3}" type="parTrans" cxnId="{839E9AAD-9A10-4A86-89A6-B6D1666A3950}">
      <dgm:prSet/>
      <dgm:spPr/>
      <dgm:t>
        <a:bodyPr/>
        <a:lstStyle/>
        <a:p>
          <a:endParaRPr lang="en-US"/>
        </a:p>
      </dgm:t>
    </dgm:pt>
    <dgm:pt modelId="{E913B9E7-7051-4C3A-9373-BC76EBA20F69}" type="sibTrans" cxnId="{839E9AAD-9A10-4A86-89A6-B6D1666A3950}">
      <dgm:prSet/>
      <dgm:spPr/>
      <dgm:t>
        <a:bodyPr/>
        <a:lstStyle/>
        <a:p>
          <a:endParaRPr lang="en-US" dirty="0"/>
        </a:p>
      </dgm:t>
    </dgm:pt>
    <dgm:pt modelId="{534E6471-1708-41CF-9002-11B8CF203340}">
      <dgm:prSet phldrT="[Text]"/>
      <dgm:spPr/>
      <dgm:t>
        <a:bodyPr/>
        <a:lstStyle/>
        <a:p>
          <a:r>
            <a:rPr lang="en-US" dirty="0"/>
            <a:t>Code</a:t>
          </a:r>
        </a:p>
      </dgm:t>
    </dgm:pt>
    <dgm:pt modelId="{707D6A7F-6200-4DDB-8FE3-6829457182E9}" type="parTrans" cxnId="{FDF38005-C82C-49ED-AAF8-279E7141ACBC}">
      <dgm:prSet/>
      <dgm:spPr/>
      <dgm:t>
        <a:bodyPr/>
        <a:lstStyle/>
        <a:p>
          <a:endParaRPr lang="en-US"/>
        </a:p>
      </dgm:t>
    </dgm:pt>
    <dgm:pt modelId="{8717F9C6-8908-483E-A9B0-BF8B17E6A771}" type="sibTrans" cxnId="{FDF38005-C82C-49ED-AAF8-279E7141ACBC}">
      <dgm:prSet/>
      <dgm:spPr/>
      <dgm:t>
        <a:bodyPr/>
        <a:lstStyle/>
        <a:p>
          <a:endParaRPr lang="en-US" dirty="0"/>
        </a:p>
      </dgm:t>
    </dgm:pt>
    <dgm:pt modelId="{2961EDBB-3E47-461D-9056-8F67809233F7}">
      <dgm:prSet phldrT="[Text]"/>
      <dgm:spPr/>
      <dgm:t>
        <a:bodyPr/>
        <a:lstStyle/>
        <a:p>
          <a:r>
            <a:rPr lang="en-US" dirty="0"/>
            <a:t>Test</a:t>
          </a:r>
        </a:p>
      </dgm:t>
    </dgm:pt>
    <dgm:pt modelId="{B7CAECD7-F7E6-4872-9235-B757DF795197}" type="parTrans" cxnId="{45A6503F-D3F6-4906-8DEE-181034B8EDB2}">
      <dgm:prSet/>
      <dgm:spPr/>
      <dgm:t>
        <a:bodyPr/>
        <a:lstStyle/>
        <a:p>
          <a:endParaRPr lang="en-US"/>
        </a:p>
      </dgm:t>
    </dgm:pt>
    <dgm:pt modelId="{7E540051-86BB-4621-ADE9-A8373FF1AE63}" type="sibTrans" cxnId="{45A6503F-D3F6-4906-8DEE-181034B8EDB2}">
      <dgm:prSet/>
      <dgm:spPr/>
      <dgm:t>
        <a:bodyPr/>
        <a:lstStyle/>
        <a:p>
          <a:endParaRPr lang="en-US" dirty="0"/>
        </a:p>
      </dgm:t>
    </dgm:pt>
    <dgm:pt modelId="{4B092CB9-9B0D-4AA2-9C26-812E34D9CF13}">
      <dgm:prSet phldrT="[Text]"/>
      <dgm:spPr/>
      <dgm:t>
        <a:bodyPr/>
        <a:lstStyle/>
        <a:p>
          <a:r>
            <a:rPr lang="en-US" dirty="0"/>
            <a:t>Deploy</a:t>
          </a:r>
        </a:p>
      </dgm:t>
    </dgm:pt>
    <dgm:pt modelId="{B7523D36-5F5C-447F-8710-A3D8192E6E2C}" type="parTrans" cxnId="{AF309F2E-1AF0-4220-ACF0-3AF6CA06DE2D}">
      <dgm:prSet/>
      <dgm:spPr/>
      <dgm:t>
        <a:bodyPr/>
        <a:lstStyle/>
        <a:p>
          <a:endParaRPr lang="en-US"/>
        </a:p>
      </dgm:t>
    </dgm:pt>
    <dgm:pt modelId="{180BAAE0-A6CA-44B4-952B-3A9CFE768836}" type="sibTrans" cxnId="{AF309F2E-1AF0-4220-ACF0-3AF6CA06DE2D}">
      <dgm:prSet/>
      <dgm:spPr/>
      <dgm:t>
        <a:bodyPr/>
        <a:lstStyle/>
        <a:p>
          <a:endParaRPr lang="en-US"/>
        </a:p>
      </dgm:t>
    </dgm:pt>
    <dgm:pt modelId="{252FEA72-0EFE-4535-91A0-9D80B9D78C4B}">
      <dgm:prSet phldrT="[Text]"/>
      <dgm:spPr/>
      <dgm:t>
        <a:bodyPr/>
        <a:lstStyle/>
        <a:p>
          <a:r>
            <a:rPr lang="en-US" dirty="0"/>
            <a:t>Iteration 2</a:t>
          </a:r>
        </a:p>
      </dgm:t>
    </dgm:pt>
    <dgm:pt modelId="{31C6416B-ADF6-4646-AD54-37FE2289481B}" type="parTrans" cxnId="{3B188E1F-9C33-4BB7-9C26-4D3620FBA942}">
      <dgm:prSet/>
      <dgm:spPr/>
      <dgm:t>
        <a:bodyPr/>
        <a:lstStyle/>
        <a:p>
          <a:endParaRPr lang="en-US"/>
        </a:p>
      </dgm:t>
    </dgm:pt>
    <dgm:pt modelId="{E5980A67-85ED-433B-BAE6-DE14C33F7D07}" type="sibTrans" cxnId="{3B188E1F-9C33-4BB7-9C26-4D3620FBA942}">
      <dgm:prSet/>
      <dgm:spPr/>
      <dgm:t>
        <a:bodyPr/>
        <a:lstStyle/>
        <a:p>
          <a:endParaRPr lang="en-US"/>
        </a:p>
      </dgm:t>
    </dgm:pt>
    <dgm:pt modelId="{76E417FE-B6FD-4D2F-9C51-7607D793E77C}">
      <dgm:prSet phldrT="[Text]"/>
      <dgm:spPr/>
      <dgm:t>
        <a:bodyPr/>
        <a:lstStyle/>
        <a:p>
          <a:r>
            <a:rPr lang="en-US" dirty="0"/>
            <a:t>Requirements</a:t>
          </a:r>
        </a:p>
      </dgm:t>
    </dgm:pt>
    <dgm:pt modelId="{1BA45412-2F69-4958-A5E1-852717962AC5}" type="parTrans" cxnId="{AFC9B040-B71D-4BE8-8315-96E2B1E81C79}">
      <dgm:prSet/>
      <dgm:spPr/>
      <dgm:t>
        <a:bodyPr/>
        <a:lstStyle/>
        <a:p>
          <a:endParaRPr lang="en-US" dirty="0"/>
        </a:p>
      </dgm:t>
    </dgm:pt>
    <dgm:pt modelId="{A786F04A-A127-4007-BD2B-D15C1F411187}" type="sibTrans" cxnId="{AFC9B040-B71D-4BE8-8315-96E2B1E81C79}">
      <dgm:prSet/>
      <dgm:spPr/>
      <dgm:t>
        <a:bodyPr/>
        <a:lstStyle/>
        <a:p>
          <a:endParaRPr lang="en-US" dirty="0"/>
        </a:p>
      </dgm:t>
    </dgm:pt>
    <dgm:pt modelId="{41D75109-C779-4953-A085-8199C7CCEE29}">
      <dgm:prSet phldrT="[Text]"/>
      <dgm:spPr/>
      <dgm:t>
        <a:bodyPr/>
        <a:lstStyle/>
        <a:p>
          <a:r>
            <a:rPr lang="en-US" dirty="0"/>
            <a:t>Analysis &amp; Design</a:t>
          </a:r>
        </a:p>
      </dgm:t>
    </dgm:pt>
    <dgm:pt modelId="{90D81C7C-7512-41A3-99C3-F9008215FAC9}" type="parTrans" cxnId="{6E78BF6A-102A-4D72-903B-DDCEB1324D89}">
      <dgm:prSet/>
      <dgm:spPr/>
      <dgm:t>
        <a:bodyPr/>
        <a:lstStyle/>
        <a:p>
          <a:endParaRPr lang="en-US"/>
        </a:p>
      </dgm:t>
    </dgm:pt>
    <dgm:pt modelId="{D9CFE652-6F7F-4F37-8997-B8A8EDA85D6E}" type="sibTrans" cxnId="{6E78BF6A-102A-4D72-903B-DDCEB1324D89}">
      <dgm:prSet/>
      <dgm:spPr/>
      <dgm:t>
        <a:bodyPr/>
        <a:lstStyle/>
        <a:p>
          <a:endParaRPr lang="en-US" dirty="0"/>
        </a:p>
      </dgm:t>
    </dgm:pt>
    <dgm:pt modelId="{D8D1B8A6-B97C-4AFD-B21B-C616E120D3A8}">
      <dgm:prSet phldrT="[Text]"/>
      <dgm:spPr/>
      <dgm:t>
        <a:bodyPr/>
        <a:lstStyle/>
        <a:p>
          <a:r>
            <a:rPr lang="en-US" dirty="0"/>
            <a:t>Code</a:t>
          </a:r>
        </a:p>
      </dgm:t>
    </dgm:pt>
    <dgm:pt modelId="{5D2188D4-E8E7-4355-8B76-369EE82092BD}" type="parTrans" cxnId="{FCFD2AC6-8A7B-446E-A2E4-64924124E812}">
      <dgm:prSet/>
      <dgm:spPr/>
      <dgm:t>
        <a:bodyPr/>
        <a:lstStyle/>
        <a:p>
          <a:endParaRPr lang="en-US"/>
        </a:p>
      </dgm:t>
    </dgm:pt>
    <dgm:pt modelId="{16299A21-18F4-4893-A09B-FDB4A54166F3}" type="sibTrans" cxnId="{FCFD2AC6-8A7B-446E-A2E4-64924124E812}">
      <dgm:prSet/>
      <dgm:spPr/>
      <dgm:t>
        <a:bodyPr/>
        <a:lstStyle/>
        <a:p>
          <a:endParaRPr lang="en-US" dirty="0"/>
        </a:p>
      </dgm:t>
    </dgm:pt>
    <dgm:pt modelId="{2C48B5C5-729D-4701-BDC6-C0F77694D323}">
      <dgm:prSet phldrT="[Text]"/>
      <dgm:spPr/>
      <dgm:t>
        <a:bodyPr/>
        <a:lstStyle/>
        <a:p>
          <a:r>
            <a:rPr lang="en-US" dirty="0"/>
            <a:t>Test</a:t>
          </a:r>
        </a:p>
      </dgm:t>
    </dgm:pt>
    <dgm:pt modelId="{96C1BAD9-2A68-4FAB-9D7C-FD8D4FCEACE7}" type="parTrans" cxnId="{BC567F51-80E8-42C8-8A1F-1C68E0A0689F}">
      <dgm:prSet/>
      <dgm:spPr/>
      <dgm:t>
        <a:bodyPr/>
        <a:lstStyle/>
        <a:p>
          <a:endParaRPr lang="en-US"/>
        </a:p>
      </dgm:t>
    </dgm:pt>
    <dgm:pt modelId="{5448778A-A257-4414-8433-51567A0AF4AA}" type="sibTrans" cxnId="{BC567F51-80E8-42C8-8A1F-1C68E0A0689F}">
      <dgm:prSet/>
      <dgm:spPr/>
      <dgm:t>
        <a:bodyPr/>
        <a:lstStyle/>
        <a:p>
          <a:endParaRPr lang="en-US"/>
        </a:p>
      </dgm:t>
    </dgm:pt>
    <dgm:pt modelId="{4B8F08A0-31BA-433D-8535-9825E00ABBF3}">
      <dgm:prSet phldrT="[Text]"/>
      <dgm:spPr/>
      <dgm:t>
        <a:bodyPr/>
        <a:lstStyle/>
        <a:p>
          <a:r>
            <a:rPr lang="en-US" dirty="0"/>
            <a:t>Iteration 3</a:t>
          </a:r>
        </a:p>
      </dgm:t>
    </dgm:pt>
    <dgm:pt modelId="{12607A6C-4DF9-455C-BBDE-8B87F26D0482}" type="parTrans" cxnId="{27B63596-0F51-4A76-BE18-47C18405A6F5}">
      <dgm:prSet/>
      <dgm:spPr/>
      <dgm:t>
        <a:bodyPr/>
        <a:lstStyle/>
        <a:p>
          <a:endParaRPr lang="en-US"/>
        </a:p>
      </dgm:t>
    </dgm:pt>
    <dgm:pt modelId="{274AA4FF-DD62-4B73-ABBD-CFCEAAD6088D}" type="sibTrans" cxnId="{27B63596-0F51-4A76-BE18-47C18405A6F5}">
      <dgm:prSet/>
      <dgm:spPr/>
      <dgm:t>
        <a:bodyPr/>
        <a:lstStyle/>
        <a:p>
          <a:endParaRPr lang="en-US"/>
        </a:p>
      </dgm:t>
    </dgm:pt>
    <dgm:pt modelId="{EBEB544F-0810-4C93-A826-FB604BBC0484}">
      <dgm:prSet phldrT="[Text]"/>
      <dgm:spPr/>
      <dgm:t>
        <a:bodyPr/>
        <a:lstStyle/>
        <a:p>
          <a:r>
            <a:rPr lang="en-US" dirty="0"/>
            <a:t>Requirements</a:t>
          </a:r>
        </a:p>
      </dgm:t>
    </dgm:pt>
    <dgm:pt modelId="{5F7E7D17-C28D-4816-8B49-EFA3BBB4F5BB}" type="parTrans" cxnId="{66F2F988-B9DF-4342-A826-B76E499B4C60}">
      <dgm:prSet/>
      <dgm:spPr/>
      <dgm:t>
        <a:bodyPr/>
        <a:lstStyle/>
        <a:p>
          <a:endParaRPr lang="en-US" dirty="0"/>
        </a:p>
      </dgm:t>
    </dgm:pt>
    <dgm:pt modelId="{FE33912C-CC79-4DA9-9BF7-C9BB7FCFAD93}" type="sibTrans" cxnId="{66F2F988-B9DF-4342-A826-B76E499B4C60}">
      <dgm:prSet/>
      <dgm:spPr/>
      <dgm:t>
        <a:bodyPr/>
        <a:lstStyle/>
        <a:p>
          <a:endParaRPr lang="en-US" dirty="0"/>
        </a:p>
      </dgm:t>
    </dgm:pt>
    <dgm:pt modelId="{891ADF17-D46C-4C1E-9401-9D1150C9C497}">
      <dgm:prSet phldrT="[Text]"/>
      <dgm:spPr/>
      <dgm:t>
        <a:bodyPr/>
        <a:lstStyle/>
        <a:p>
          <a:r>
            <a:rPr lang="en-US" dirty="0"/>
            <a:t>Analysis &amp; Design</a:t>
          </a:r>
        </a:p>
      </dgm:t>
    </dgm:pt>
    <dgm:pt modelId="{10AB62F3-3EA1-49C2-B9AF-CDF99E7915B2}" type="parTrans" cxnId="{24C106F7-22E5-4570-87A1-8FA4ACE5AC2B}">
      <dgm:prSet/>
      <dgm:spPr/>
      <dgm:t>
        <a:bodyPr/>
        <a:lstStyle/>
        <a:p>
          <a:endParaRPr lang="en-US"/>
        </a:p>
      </dgm:t>
    </dgm:pt>
    <dgm:pt modelId="{541FAD2D-25C4-48F7-B091-8D93224B75E9}" type="sibTrans" cxnId="{24C106F7-22E5-4570-87A1-8FA4ACE5AC2B}">
      <dgm:prSet/>
      <dgm:spPr/>
      <dgm:t>
        <a:bodyPr/>
        <a:lstStyle/>
        <a:p>
          <a:endParaRPr lang="en-US" dirty="0"/>
        </a:p>
      </dgm:t>
    </dgm:pt>
    <dgm:pt modelId="{8A95967F-0E24-4C46-A365-91E99DE10C95}">
      <dgm:prSet phldrT="[Text]"/>
      <dgm:spPr/>
      <dgm:t>
        <a:bodyPr/>
        <a:lstStyle/>
        <a:p>
          <a:r>
            <a:rPr lang="en-US" dirty="0"/>
            <a:t>Code</a:t>
          </a:r>
        </a:p>
      </dgm:t>
    </dgm:pt>
    <dgm:pt modelId="{CC66EA1E-40A9-4E4E-AE86-C29F8F838D94}" type="parTrans" cxnId="{FB688718-8BAC-4B3B-BDF8-779E603B0357}">
      <dgm:prSet/>
      <dgm:spPr/>
      <dgm:t>
        <a:bodyPr/>
        <a:lstStyle/>
        <a:p>
          <a:endParaRPr lang="en-US"/>
        </a:p>
      </dgm:t>
    </dgm:pt>
    <dgm:pt modelId="{82E0778F-6347-45FE-B6E1-687BF016BE62}" type="sibTrans" cxnId="{FB688718-8BAC-4B3B-BDF8-779E603B0357}">
      <dgm:prSet/>
      <dgm:spPr/>
      <dgm:t>
        <a:bodyPr/>
        <a:lstStyle/>
        <a:p>
          <a:endParaRPr lang="en-US" dirty="0"/>
        </a:p>
      </dgm:t>
    </dgm:pt>
    <dgm:pt modelId="{BE139BAE-91C5-4671-AB78-B7B54C672C32}">
      <dgm:prSet phldrT="[Text]"/>
      <dgm:spPr/>
      <dgm:t>
        <a:bodyPr/>
        <a:lstStyle/>
        <a:p>
          <a:r>
            <a:rPr lang="en-US" dirty="0"/>
            <a:t>Test</a:t>
          </a:r>
        </a:p>
      </dgm:t>
    </dgm:pt>
    <dgm:pt modelId="{AA728EFE-19B6-46BF-8930-8B3E6F13CE48}" type="parTrans" cxnId="{66A3C6EE-FB1E-49C1-A562-B6DE623E2B12}">
      <dgm:prSet/>
      <dgm:spPr/>
      <dgm:t>
        <a:bodyPr/>
        <a:lstStyle/>
        <a:p>
          <a:endParaRPr lang="en-US"/>
        </a:p>
      </dgm:t>
    </dgm:pt>
    <dgm:pt modelId="{FAEF3479-7EF5-4353-9A56-1E3FCDEC8C2C}" type="sibTrans" cxnId="{66A3C6EE-FB1E-49C1-A562-B6DE623E2B12}">
      <dgm:prSet/>
      <dgm:spPr/>
      <dgm:t>
        <a:bodyPr/>
        <a:lstStyle/>
        <a:p>
          <a:endParaRPr lang="en-US"/>
        </a:p>
      </dgm:t>
    </dgm:pt>
    <dgm:pt modelId="{FD3FC866-569A-4766-B299-4401BC13C0B6}">
      <dgm:prSet phldrT="[Text]"/>
      <dgm:spPr/>
      <dgm:t>
        <a:bodyPr/>
        <a:lstStyle/>
        <a:p>
          <a:r>
            <a:rPr lang="en-US" dirty="0"/>
            <a:t>Iteration 4</a:t>
          </a:r>
        </a:p>
      </dgm:t>
    </dgm:pt>
    <dgm:pt modelId="{5A9EF264-3EB1-4EA2-B1E9-5EBF1823C141}" type="parTrans" cxnId="{139409DB-2452-4144-8A32-7AF205540F71}">
      <dgm:prSet/>
      <dgm:spPr/>
      <dgm:t>
        <a:bodyPr/>
        <a:lstStyle/>
        <a:p>
          <a:endParaRPr lang="en-US"/>
        </a:p>
      </dgm:t>
    </dgm:pt>
    <dgm:pt modelId="{9B100EE9-C4FA-412B-B822-69B07B98A59B}" type="sibTrans" cxnId="{139409DB-2452-4144-8A32-7AF205540F71}">
      <dgm:prSet/>
      <dgm:spPr/>
      <dgm:t>
        <a:bodyPr/>
        <a:lstStyle/>
        <a:p>
          <a:endParaRPr lang="en-US"/>
        </a:p>
      </dgm:t>
    </dgm:pt>
    <dgm:pt modelId="{2E295240-9DFD-41BB-AA52-8C8A1580AD68}" type="pres">
      <dgm:prSet presAssocID="{0C7432D5-41F2-4D18-88C2-A47883722D4F}" presName="Name0" presStyleCnt="0">
        <dgm:presLayoutVars>
          <dgm:dir/>
          <dgm:animLvl val="lvl"/>
          <dgm:resizeHandles val="exact"/>
        </dgm:presLayoutVars>
      </dgm:prSet>
      <dgm:spPr/>
    </dgm:pt>
    <dgm:pt modelId="{E1F4667C-CE2E-4FA7-80B7-FA9B980A4202}" type="pres">
      <dgm:prSet presAssocID="{A69FAD68-F62B-4303-A46A-328F4AD40892}" presName="vertFlow" presStyleCnt="0"/>
      <dgm:spPr/>
    </dgm:pt>
    <dgm:pt modelId="{1FE55BFE-053B-4FC5-ACEE-749A8DE06D55}" type="pres">
      <dgm:prSet presAssocID="{A69FAD68-F62B-4303-A46A-328F4AD40892}" presName="header" presStyleLbl="node1" presStyleIdx="0" presStyleCnt="4"/>
      <dgm:spPr/>
    </dgm:pt>
    <dgm:pt modelId="{7C83A923-E34E-4EC9-9EBD-B62C3CD45DA2}" type="pres">
      <dgm:prSet presAssocID="{AE8F9D80-185D-4CA5-A5BE-2D9055BEFEE7}" presName="parTrans" presStyleLbl="sibTrans2D1" presStyleIdx="0" presStyleCnt="17"/>
      <dgm:spPr/>
    </dgm:pt>
    <dgm:pt modelId="{2F9889D8-5373-4460-A46D-27FDBA6D6478}" type="pres">
      <dgm:prSet presAssocID="{1994E39C-FD26-4990-B2AE-944CE4F70255}" presName="child" presStyleLbl="alignAccFollowNode1" presStyleIdx="0" presStyleCnt="17">
        <dgm:presLayoutVars>
          <dgm:chMax val="0"/>
          <dgm:bulletEnabled val="1"/>
        </dgm:presLayoutVars>
      </dgm:prSet>
      <dgm:spPr/>
    </dgm:pt>
    <dgm:pt modelId="{81B26DF5-2AA0-4E1D-91E7-3BC0911D0816}" type="pres">
      <dgm:prSet presAssocID="{4B46DC21-367A-4A7F-81B7-91D6C66C04B2}" presName="sibTrans" presStyleLbl="sibTrans2D1" presStyleIdx="1" presStyleCnt="17"/>
      <dgm:spPr/>
    </dgm:pt>
    <dgm:pt modelId="{5B861B74-4242-44EE-AA89-E3E3567CD93E}" type="pres">
      <dgm:prSet presAssocID="{1897E7CC-2D9D-4F13-94A7-821B5E98FFE0}" presName="child" presStyleLbl="alignAccFollowNode1" presStyleIdx="1" presStyleCnt="17">
        <dgm:presLayoutVars>
          <dgm:chMax val="0"/>
          <dgm:bulletEnabled val="1"/>
        </dgm:presLayoutVars>
      </dgm:prSet>
      <dgm:spPr/>
    </dgm:pt>
    <dgm:pt modelId="{1EFB7766-F03E-494F-8713-7CBC7A2D5FE6}" type="pres">
      <dgm:prSet presAssocID="{32006B6E-C3CB-4037-B5CE-3F6B4CB8D7AC}" presName="sibTrans" presStyleLbl="sibTrans2D1" presStyleIdx="2" presStyleCnt="17"/>
      <dgm:spPr/>
    </dgm:pt>
    <dgm:pt modelId="{AB125660-EBBC-47B3-BF6F-BF5D457DDEF3}" type="pres">
      <dgm:prSet presAssocID="{48606DAF-0FDD-420B-B70D-E288E0C38563}" presName="child" presStyleLbl="alignAccFollowNode1" presStyleIdx="2" presStyleCnt="17">
        <dgm:presLayoutVars>
          <dgm:chMax val="0"/>
          <dgm:bulletEnabled val="1"/>
        </dgm:presLayoutVars>
      </dgm:prSet>
      <dgm:spPr/>
    </dgm:pt>
    <dgm:pt modelId="{B0A4CAB2-44C2-4CA8-88DB-1284ABFEAB48}" type="pres">
      <dgm:prSet presAssocID="{1F92A5F0-12B6-4BBB-A8D9-2B6406C4FC2A}" presName="sibTrans" presStyleLbl="sibTrans2D1" presStyleIdx="3" presStyleCnt="17"/>
      <dgm:spPr/>
    </dgm:pt>
    <dgm:pt modelId="{65634971-4BE9-4904-88F4-DB8E95B7E1D8}" type="pres">
      <dgm:prSet presAssocID="{89301BB2-00C4-42D1-BAC3-F557C525724F}" presName="child" presStyleLbl="alignAccFollowNode1" presStyleIdx="3" presStyleCnt="17">
        <dgm:presLayoutVars>
          <dgm:chMax val="0"/>
          <dgm:bulletEnabled val="1"/>
        </dgm:presLayoutVars>
      </dgm:prSet>
      <dgm:spPr/>
    </dgm:pt>
    <dgm:pt modelId="{B2A38E9F-80D8-40EE-95EC-9E7DA7DD6800}" type="pres">
      <dgm:prSet presAssocID="{A69FAD68-F62B-4303-A46A-328F4AD40892}" presName="hSp" presStyleCnt="0"/>
      <dgm:spPr/>
    </dgm:pt>
    <dgm:pt modelId="{F81B9E2E-1384-4BD5-8928-335C5121C652}" type="pres">
      <dgm:prSet presAssocID="{252FEA72-0EFE-4535-91A0-9D80B9D78C4B}" presName="vertFlow" presStyleCnt="0"/>
      <dgm:spPr/>
    </dgm:pt>
    <dgm:pt modelId="{62B5F1B3-722B-455E-BDF2-6DEF4C1EB0F8}" type="pres">
      <dgm:prSet presAssocID="{252FEA72-0EFE-4535-91A0-9D80B9D78C4B}" presName="header" presStyleLbl="node1" presStyleIdx="1" presStyleCnt="4"/>
      <dgm:spPr/>
    </dgm:pt>
    <dgm:pt modelId="{1DB120DB-2DD6-413D-B685-0AD3F113BA0A}" type="pres">
      <dgm:prSet presAssocID="{1BA45412-2F69-4958-A5E1-852717962AC5}" presName="parTrans" presStyleLbl="sibTrans2D1" presStyleIdx="4" presStyleCnt="17"/>
      <dgm:spPr/>
    </dgm:pt>
    <dgm:pt modelId="{7021357D-F7A4-41AE-B70E-CD9FC813B0EB}" type="pres">
      <dgm:prSet presAssocID="{76E417FE-B6FD-4D2F-9C51-7607D793E77C}" presName="child" presStyleLbl="alignAccFollowNode1" presStyleIdx="4" presStyleCnt="17">
        <dgm:presLayoutVars>
          <dgm:chMax val="0"/>
          <dgm:bulletEnabled val="1"/>
        </dgm:presLayoutVars>
      </dgm:prSet>
      <dgm:spPr/>
    </dgm:pt>
    <dgm:pt modelId="{24A72795-5CEA-4084-9C47-24DFCDC792E0}" type="pres">
      <dgm:prSet presAssocID="{A786F04A-A127-4007-BD2B-D15C1F411187}" presName="sibTrans" presStyleLbl="sibTrans2D1" presStyleIdx="5" presStyleCnt="17"/>
      <dgm:spPr/>
    </dgm:pt>
    <dgm:pt modelId="{7DEA6F50-83F3-4D9C-88CA-DAC6D07BC613}" type="pres">
      <dgm:prSet presAssocID="{41D75109-C779-4953-A085-8199C7CCEE29}" presName="child" presStyleLbl="alignAccFollowNode1" presStyleIdx="5" presStyleCnt="17">
        <dgm:presLayoutVars>
          <dgm:chMax val="0"/>
          <dgm:bulletEnabled val="1"/>
        </dgm:presLayoutVars>
      </dgm:prSet>
      <dgm:spPr/>
    </dgm:pt>
    <dgm:pt modelId="{28FFC4D8-7A56-4D4C-B9C9-139E4B9DA404}" type="pres">
      <dgm:prSet presAssocID="{D9CFE652-6F7F-4F37-8997-B8A8EDA85D6E}" presName="sibTrans" presStyleLbl="sibTrans2D1" presStyleIdx="6" presStyleCnt="17"/>
      <dgm:spPr/>
    </dgm:pt>
    <dgm:pt modelId="{093E462F-B609-414C-A78D-9458B9DE854B}" type="pres">
      <dgm:prSet presAssocID="{D8D1B8A6-B97C-4AFD-B21B-C616E120D3A8}" presName="child" presStyleLbl="alignAccFollowNode1" presStyleIdx="6" presStyleCnt="17">
        <dgm:presLayoutVars>
          <dgm:chMax val="0"/>
          <dgm:bulletEnabled val="1"/>
        </dgm:presLayoutVars>
      </dgm:prSet>
      <dgm:spPr/>
    </dgm:pt>
    <dgm:pt modelId="{48E64D28-7EA1-4BC9-8F14-5ABFD388E660}" type="pres">
      <dgm:prSet presAssocID="{16299A21-18F4-4893-A09B-FDB4A54166F3}" presName="sibTrans" presStyleLbl="sibTrans2D1" presStyleIdx="7" presStyleCnt="17"/>
      <dgm:spPr/>
    </dgm:pt>
    <dgm:pt modelId="{982F5870-5B13-47D9-B2A9-07A212F6B50D}" type="pres">
      <dgm:prSet presAssocID="{2C48B5C5-729D-4701-BDC6-C0F77694D323}" presName="child" presStyleLbl="alignAccFollowNode1" presStyleIdx="7" presStyleCnt="17">
        <dgm:presLayoutVars>
          <dgm:chMax val="0"/>
          <dgm:bulletEnabled val="1"/>
        </dgm:presLayoutVars>
      </dgm:prSet>
      <dgm:spPr/>
    </dgm:pt>
    <dgm:pt modelId="{D74BACD8-7757-487D-9C4E-6B60F5AD0DD4}" type="pres">
      <dgm:prSet presAssocID="{252FEA72-0EFE-4535-91A0-9D80B9D78C4B}" presName="hSp" presStyleCnt="0"/>
      <dgm:spPr/>
    </dgm:pt>
    <dgm:pt modelId="{02A31F6F-BB68-4CC3-9201-B06BA51BEE78}" type="pres">
      <dgm:prSet presAssocID="{4B8F08A0-31BA-433D-8535-9825E00ABBF3}" presName="vertFlow" presStyleCnt="0"/>
      <dgm:spPr/>
    </dgm:pt>
    <dgm:pt modelId="{C292C430-607F-45A5-A3F1-8F9641A0AEAF}" type="pres">
      <dgm:prSet presAssocID="{4B8F08A0-31BA-433D-8535-9825E00ABBF3}" presName="header" presStyleLbl="node1" presStyleIdx="2" presStyleCnt="4"/>
      <dgm:spPr/>
    </dgm:pt>
    <dgm:pt modelId="{E8433B54-9030-421A-9938-1B10568B2B40}" type="pres">
      <dgm:prSet presAssocID="{5F7E7D17-C28D-4816-8B49-EFA3BBB4F5BB}" presName="parTrans" presStyleLbl="sibTrans2D1" presStyleIdx="8" presStyleCnt="17"/>
      <dgm:spPr/>
    </dgm:pt>
    <dgm:pt modelId="{742849A2-4EFC-4517-911D-416B7F0F1C06}" type="pres">
      <dgm:prSet presAssocID="{EBEB544F-0810-4C93-A826-FB604BBC0484}" presName="child" presStyleLbl="alignAccFollowNode1" presStyleIdx="8" presStyleCnt="17">
        <dgm:presLayoutVars>
          <dgm:chMax val="0"/>
          <dgm:bulletEnabled val="1"/>
        </dgm:presLayoutVars>
      </dgm:prSet>
      <dgm:spPr/>
    </dgm:pt>
    <dgm:pt modelId="{283EA6FE-11FE-4110-9DC0-4543F0E7768E}" type="pres">
      <dgm:prSet presAssocID="{FE33912C-CC79-4DA9-9BF7-C9BB7FCFAD93}" presName="sibTrans" presStyleLbl="sibTrans2D1" presStyleIdx="9" presStyleCnt="17"/>
      <dgm:spPr/>
    </dgm:pt>
    <dgm:pt modelId="{718887B2-CFB7-4E2D-85D2-3E2DA3808DAC}" type="pres">
      <dgm:prSet presAssocID="{891ADF17-D46C-4C1E-9401-9D1150C9C497}" presName="child" presStyleLbl="alignAccFollowNode1" presStyleIdx="9" presStyleCnt="17">
        <dgm:presLayoutVars>
          <dgm:chMax val="0"/>
          <dgm:bulletEnabled val="1"/>
        </dgm:presLayoutVars>
      </dgm:prSet>
      <dgm:spPr/>
    </dgm:pt>
    <dgm:pt modelId="{2260D00C-37AF-4215-ABEA-7C68A7DEDF58}" type="pres">
      <dgm:prSet presAssocID="{541FAD2D-25C4-48F7-B091-8D93224B75E9}" presName="sibTrans" presStyleLbl="sibTrans2D1" presStyleIdx="10" presStyleCnt="17"/>
      <dgm:spPr/>
    </dgm:pt>
    <dgm:pt modelId="{055E86BC-0290-46BD-939E-440D1F038972}" type="pres">
      <dgm:prSet presAssocID="{8A95967F-0E24-4C46-A365-91E99DE10C95}" presName="child" presStyleLbl="alignAccFollowNode1" presStyleIdx="10" presStyleCnt="17">
        <dgm:presLayoutVars>
          <dgm:chMax val="0"/>
          <dgm:bulletEnabled val="1"/>
        </dgm:presLayoutVars>
      </dgm:prSet>
      <dgm:spPr/>
    </dgm:pt>
    <dgm:pt modelId="{F3E275E2-4601-45DF-ACF8-A47144A19534}" type="pres">
      <dgm:prSet presAssocID="{82E0778F-6347-45FE-B6E1-687BF016BE62}" presName="sibTrans" presStyleLbl="sibTrans2D1" presStyleIdx="11" presStyleCnt="17"/>
      <dgm:spPr/>
    </dgm:pt>
    <dgm:pt modelId="{F4FB6460-A648-421A-983E-193C674064BC}" type="pres">
      <dgm:prSet presAssocID="{BE139BAE-91C5-4671-AB78-B7B54C672C32}" presName="child" presStyleLbl="alignAccFollowNode1" presStyleIdx="11" presStyleCnt="17">
        <dgm:presLayoutVars>
          <dgm:chMax val="0"/>
          <dgm:bulletEnabled val="1"/>
        </dgm:presLayoutVars>
      </dgm:prSet>
      <dgm:spPr/>
    </dgm:pt>
    <dgm:pt modelId="{64BC5E89-DC97-41D9-BAF4-B7C6B67BD8D5}" type="pres">
      <dgm:prSet presAssocID="{4B8F08A0-31BA-433D-8535-9825E00ABBF3}" presName="hSp" presStyleCnt="0"/>
      <dgm:spPr/>
    </dgm:pt>
    <dgm:pt modelId="{C6281533-5176-435B-B983-5A1A65A531EF}" type="pres">
      <dgm:prSet presAssocID="{FD3FC866-569A-4766-B299-4401BC13C0B6}" presName="vertFlow" presStyleCnt="0"/>
      <dgm:spPr/>
    </dgm:pt>
    <dgm:pt modelId="{40A22BB9-7466-4D51-899E-42D3734CADE3}" type="pres">
      <dgm:prSet presAssocID="{FD3FC866-569A-4766-B299-4401BC13C0B6}" presName="header" presStyleLbl="node1" presStyleIdx="3" presStyleCnt="4"/>
      <dgm:spPr/>
    </dgm:pt>
    <dgm:pt modelId="{A1E3E243-89A8-4401-83DE-EB46737987AC}" type="pres">
      <dgm:prSet presAssocID="{CD2359EF-C2CD-4F4A-870E-F20FD30C5A3E}" presName="parTrans" presStyleLbl="sibTrans2D1" presStyleIdx="12" presStyleCnt="17"/>
      <dgm:spPr/>
    </dgm:pt>
    <dgm:pt modelId="{B439DC38-6811-407A-AA7A-F85E636B9218}" type="pres">
      <dgm:prSet presAssocID="{17727982-1ADE-4B95-A1BC-0DDA490D1F68}" presName="child" presStyleLbl="alignAccFollowNode1" presStyleIdx="12" presStyleCnt="17">
        <dgm:presLayoutVars>
          <dgm:chMax val="0"/>
          <dgm:bulletEnabled val="1"/>
        </dgm:presLayoutVars>
      </dgm:prSet>
      <dgm:spPr/>
    </dgm:pt>
    <dgm:pt modelId="{A5F8F1BD-13C1-4AE9-987F-852BDA92AADC}" type="pres">
      <dgm:prSet presAssocID="{E8DA7924-22F4-466B-A408-B2895909A600}" presName="sibTrans" presStyleLbl="sibTrans2D1" presStyleIdx="13" presStyleCnt="17"/>
      <dgm:spPr/>
    </dgm:pt>
    <dgm:pt modelId="{9721B923-B1F8-4AA7-AA1E-11EF1DCC336A}" type="pres">
      <dgm:prSet presAssocID="{7C7433E3-E655-41F0-B9FE-91703600A034}" presName="child" presStyleLbl="alignAccFollowNode1" presStyleIdx="13" presStyleCnt="17">
        <dgm:presLayoutVars>
          <dgm:chMax val="0"/>
          <dgm:bulletEnabled val="1"/>
        </dgm:presLayoutVars>
      </dgm:prSet>
      <dgm:spPr/>
    </dgm:pt>
    <dgm:pt modelId="{6AAC9A51-1DBB-4183-893D-DDF5A7B0AD32}" type="pres">
      <dgm:prSet presAssocID="{E913B9E7-7051-4C3A-9373-BC76EBA20F69}" presName="sibTrans" presStyleLbl="sibTrans2D1" presStyleIdx="14" presStyleCnt="17"/>
      <dgm:spPr/>
    </dgm:pt>
    <dgm:pt modelId="{BE663722-FB14-47AC-9B33-C55B58A2BB07}" type="pres">
      <dgm:prSet presAssocID="{534E6471-1708-41CF-9002-11B8CF203340}" presName="child" presStyleLbl="alignAccFollowNode1" presStyleIdx="14" presStyleCnt="17">
        <dgm:presLayoutVars>
          <dgm:chMax val="0"/>
          <dgm:bulletEnabled val="1"/>
        </dgm:presLayoutVars>
      </dgm:prSet>
      <dgm:spPr/>
    </dgm:pt>
    <dgm:pt modelId="{CCC092AB-F437-425A-932D-9C81B399B743}" type="pres">
      <dgm:prSet presAssocID="{8717F9C6-8908-483E-A9B0-BF8B17E6A771}" presName="sibTrans" presStyleLbl="sibTrans2D1" presStyleIdx="15" presStyleCnt="17"/>
      <dgm:spPr/>
    </dgm:pt>
    <dgm:pt modelId="{C27432F7-5F17-4BC9-99E8-BFD2B2494477}" type="pres">
      <dgm:prSet presAssocID="{2961EDBB-3E47-461D-9056-8F67809233F7}" presName="child" presStyleLbl="alignAccFollowNode1" presStyleIdx="15" presStyleCnt="17">
        <dgm:presLayoutVars>
          <dgm:chMax val="0"/>
          <dgm:bulletEnabled val="1"/>
        </dgm:presLayoutVars>
      </dgm:prSet>
      <dgm:spPr/>
    </dgm:pt>
    <dgm:pt modelId="{8EC170FE-B912-4CBE-94CE-E68A9D4709AB}" type="pres">
      <dgm:prSet presAssocID="{7E540051-86BB-4621-ADE9-A8373FF1AE63}" presName="sibTrans" presStyleLbl="sibTrans2D1" presStyleIdx="16" presStyleCnt="17"/>
      <dgm:spPr/>
    </dgm:pt>
    <dgm:pt modelId="{EF4EB7FA-E0CB-43FF-ACAD-F97E253F04FE}" type="pres">
      <dgm:prSet presAssocID="{4B092CB9-9B0D-4AA2-9C26-812E34D9CF13}" presName="child" presStyleLbl="alignAccFollowNode1" presStyleIdx="16" presStyleCnt="17">
        <dgm:presLayoutVars>
          <dgm:chMax val="0"/>
          <dgm:bulletEnabled val="1"/>
        </dgm:presLayoutVars>
      </dgm:prSet>
      <dgm:spPr/>
    </dgm:pt>
  </dgm:ptLst>
  <dgm:cxnLst>
    <dgm:cxn modelId="{FCE14265-2DB3-4A18-B271-C07DBF118336}" type="presOf" srcId="{534E6471-1708-41CF-9002-11B8CF203340}" destId="{BE663722-FB14-47AC-9B33-C55B58A2BB07}" srcOrd="0" destOrd="0" presId="urn:microsoft.com/office/officeart/2005/8/layout/lProcess1"/>
    <dgm:cxn modelId="{60307131-E8E4-4579-BB37-4C1AD61CDBC5}" type="presOf" srcId="{4B8F08A0-31BA-433D-8535-9825E00ABBF3}" destId="{C292C430-607F-45A5-A3F1-8F9641A0AEAF}" srcOrd="0" destOrd="0" presId="urn:microsoft.com/office/officeart/2005/8/layout/lProcess1"/>
    <dgm:cxn modelId="{B8CE8D3C-01F0-4427-8459-8E2A0BFFC019}" type="presOf" srcId="{AE8F9D80-185D-4CA5-A5BE-2D9055BEFEE7}" destId="{7C83A923-E34E-4EC9-9EBD-B62C3CD45DA2}" srcOrd="0" destOrd="0" presId="urn:microsoft.com/office/officeart/2005/8/layout/lProcess1"/>
    <dgm:cxn modelId="{F30C334D-BFB3-4103-96F7-15D8E06ED8A8}" type="presOf" srcId="{891ADF17-D46C-4C1E-9401-9D1150C9C497}" destId="{718887B2-CFB7-4E2D-85D2-3E2DA3808DAC}" srcOrd="0" destOrd="0" presId="urn:microsoft.com/office/officeart/2005/8/layout/lProcess1"/>
    <dgm:cxn modelId="{6E78BF6A-102A-4D72-903B-DDCEB1324D89}" srcId="{252FEA72-0EFE-4535-91A0-9D80B9D78C4B}" destId="{41D75109-C779-4953-A085-8199C7CCEE29}" srcOrd="1" destOrd="0" parTransId="{90D81C7C-7512-41A3-99C3-F9008215FAC9}" sibTransId="{D9CFE652-6F7F-4F37-8997-B8A8EDA85D6E}"/>
    <dgm:cxn modelId="{139409DB-2452-4144-8A32-7AF205540F71}" srcId="{0C7432D5-41F2-4D18-88C2-A47883722D4F}" destId="{FD3FC866-569A-4766-B299-4401BC13C0B6}" srcOrd="3" destOrd="0" parTransId="{5A9EF264-3EB1-4EA2-B1E9-5EBF1823C141}" sibTransId="{9B100EE9-C4FA-412B-B822-69B07B98A59B}"/>
    <dgm:cxn modelId="{66F2F988-B9DF-4342-A826-B76E499B4C60}" srcId="{4B8F08A0-31BA-433D-8535-9825E00ABBF3}" destId="{EBEB544F-0810-4C93-A826-FB604BBC0484}" srcOrd="0" destOrd="0" parTransId="{5F7E7D17-C28D-4816-8B49-EFA3BBB4F5BB}" sibTransId="{FE33912C-CC79-4DA9-9BF7-C9BB7FCFAD93}"/>
    <dgm:cxn modelId="{FDF38005-C82C-49ED-AAF8-279E7141ACBC}" srcId="{FD3FC866-569A-4766-B299-4401BC13C0B6}" destId="{534E6471-1708-41CF-9002-11B8CF203340}" srcOrd="2" destOrd="0" parTransId="{707D6A7F-6200-4DDB-8FE3-6829457182E9}" sibTransId="{8717F9C6-8908-483E-A9B0-BF8B17E6A771}"/>
    <dgm:cxn modelId="{E35B1ECE-6297-4F3F-9A49-D0E794C414B0}" srcId="{0C7432D5-41F2-4D18-88C2-A47883722D4F}" destId="{A69FAD68-F62B-4303-A46A-328F4AD40892}" srcOrd="0" destOrd="0" parTransId="{FBDC8529-9447-477A-8E68-34EDBC1A9D6C}" sibTransId="{DD1FBCFF-666D-43FC-A0EA-2D767386F8E1}"/>
    <dgm:cxn modelId="{526F3C89-00B5-457B-94E5-BF1B018CBB78}" type="presOf" srcId="{8717F9C6-8908-483E-A9B0-BF8B17E6A771}" destId="{CCC092AB-F437-425A-932D-9C81B399B743}" srcOrd="0" destOrd="0" presId="urn:microsoft.com/office/officeart/2005/8/layout/lProcess1"/>
    <dgm:cxn modelId="{4E016A8F-327F-4EF1-B06B-8764B8DBAC62}" srcId="{A69FAD68-F62B-4303-A46A-328F4AD40892}" destId="{89301BB2-00C4-42D1-BAC3-F557C525724F}" srcOrd="3" destOrd="0" parTransId="{598CCE9B-0408-4B77-89BC-C7923B54FD6D}" sibTransId="{88134E21-5ED4-4946-88CC-AC15F42472FC}"/>
    <dgm:cxn modelId="{D54F2E8B-FE97-4EBD-A84D-A1FECFB98B5B}" type="presOf" srcId="{D9CFE652-6F7F-4F37-8997-B8A8EDA85D6E}" destId="{28FFC4D8-7A56-4D4C-B9C9-139E4B9DA404}" srcOrd="0" destOrd="0" presId="urn:microsoft.com/office/officeart/2005/8/layout/lProcess1"/>
    <dgm:cxn modelId="{ECCC8D23-7E70-4833-8FAC-AD9981F9028A}" srcId="{A69FAD68-F62B-4303-A46A-328F4AD40892}" destId="{1897E7CC-2D9D-4F13-94A7-821B5E98FFE0}" srcOrd="1" destOrd="0" parTransId="{0A91793A-8224-40B7-8655-4D60B7AE0F43}" sibTransId="{32006B6E-C3CB-4037-B5CE-3F6B4CB8D7AC}"/>
    <dgm:cxn modelId="{45A6503F-D3F6-4906-8DEE-181034B8EDB2}" srcId="{FD3FC866-569A-4766-B299-4401BC13C0B6}" destId="{2961EDBB-3E47-461D-9056-8F67809233F7}" srcOrd="3" destOrd="0" parTransId="{B7CAECD7-F7E6-4872-9235-B757DF795197}" sibTransId="{7E540051-86BB-4621-ADE9-A8373FF1AE63}"/>
    <dgm:cxn modelId="{3AB3F15B-FAF5-4050-A17E-2A222C9D49CF}" type="presOf" srcId="{76E417FE-B6FD-4D2F-9C51-7607D793E77C}" destId="{7021357D-F7A4-41AE-B70E-CD9FC813B0EB}" srcOrd="0" destOrd="0" presId="urn:microsoft.com/office/officeart/2005/8/layout/lProcess1"/>
    <dgm:cxn modelId="{F2D24C09-79F9-4602-BCC9-CFCF1379992E}" type="presOf" srcId="{EBEB544F-0810-4C93-A826-FB604BBC0484}" destId="{742849A2-4EFC-4517-911D-416B7F0F1C06}" srcOrd="0" destOrd="0" presId="urn:microsoft.com/office/officeart/2005/8/layout/lProcess1"/>
    <dgm:cxn modelId="{66A3C6EE-FB1E-49C1-A562-B6DE623E2B12}" srcId="{4B8F08A0-31BA-433D-8535-9825E00ABBF3}" destId="{BE139BAE-91C5-4671-AB78-B7B54C672C32}" srcOrd="3" destOrd="0" parTransId="{AA728EFE-19B6-46BF-8930-8B3E6F13CE48}" sibTransId="{FAEF3479-7EF5-4353-9A56-1E3FCDEC8C2C}"/>
    <dgm:cxn modelId="{3B188E1F-9C33-4BB7-9C26-4D3620FBA942}" srcId="{0C7432D5-41F2-4D18-88C2-A47883722D4F}" destId="{252FEA72-0EFE-4535-91A0-9D80B9D78C4B}" srcOrd="1" destOrd="0" parTransId="{31C6416B-ADF6-4646-AD54-37FE2289481B}" sibTransId="{E5980A67-85ED-433B-BAE6-DE14C33F7D07}"/>
    <dgm:cxn modelId="{FCFD2AC6-8A7B-446E-A2E4-64924124E812}" srcId="{252FEA72-0EFE-4535-91A0-9D80B9D78C4B}" destId="{D8D1B8A6-B97C-4AFD-B21B-C616E120D3A8}" srcOrd="2" destOrd="0" parTransId="{5D2188D4-E8E7-4355-8B76-369EE82092BD}" sibTransId="{16299A21-18F4-4893-A09B-FDB4A54166F3}"/>
    <dgm:cxn modelId="{F614F2FE-97D2-417D-A1F5-990ACF25D808}" type="presOf" srcId="{D8D1B8A6-B97C-4AFD-B21B-C616E120D3A8}" destId="{093E462F-B609-414C-A78D-9458B9DE854B}" srcOrd="0" destOrd="0" presId="urn:microsoft.com/office/officeart/2005/8/layout/lProcess1"/>
    <dgm:cxn modelId="{2598BDDD-A1F6-45E2-87C5-7D7DEDC7F618}" type="presOf" srcId="{48606DAF-0FDD-420B-B70D-E288E0C38563}" destId="{AB125660-EBBC-47B3-BF6F-BF5D457DDEF3}" srcOrd="0" destOrd="0" presId="urn:microsoft.com/office/officeart/2005/8/layout/lProcess1"/>
    <dgm:cxn modelId="{B3DBE52B-B60D-47A5-B765-ACB19D0616E2}" type="presOf" srcId="{0C7432D5-41F2-4D18-88C2-A47883722D4F}" destId="{2E295240-9DFD-41BB-AA52-8C8A1580AD68}" srcOrd="0" destOrd="0" presId="urn:microsoft.com/office/officeart/2005/8/layout/lProcess1"/>
    <dgm:cxn modelId="{D0C923A8-32B4-4E73-8484-B5070A39D820}" type="presOf" srcId="{BE139BAE-91C5-4671-AB78-B7B54C672C32}" destId="{F4FB6460-A648-421A-983E-193C674064BC}" srcOrd="0" destOrd="0" presId="urn:microsoft.com/office/officeart/2005/8/layout/lProcess1"/>
    <dgm:cxn modelId="{B857647B-2733-4F86-A370-C9E2B38441B6}" type="presOf" srcId="{7E540051-86BB-4621-ADE9-A8373FF1AE63}" destId="{8EC170FE-B912-4CBE-94CE-E68A9D4709AB}" srcOrd="0" destOrd="0" presId="urn:microsoft.com/office/officeart/2005/8/layout/lProcess1"/>
    <dgm:cxn modelId="{0B1492CA-7B7A-48D1-B2FB-6562FA679E13}" type="presOf" srcId="{2961EDBB-3E47-461D-9056-8F67809233F7}" destId="{C27432F7-5F17-4BC9-99E8-BFD2B2494477}" srcOrd="0" destOrd="0" presId="urn:microsoft.com/office/officeart/2005/8/layout/lProcess1"/>
    <dgm:cxn modelId="{24C106F7-22E5-4570-87A1-8FA4ACE5AC2B}" srcId="{4B8F08A0-31BA-433D-8535-9825E00ABBF3}" destId="{891ADF17-D46C-4C1E-9401-9D1150C9C497}" srcOrd="1" destOrd="0" parTransId="{10AB62F3-3EA1-49C2-B9AF-CDF99E7915B2}" sibTransId="{541FAD2D-25C4-48F7-B091-8D93224B75E9}"/>
    <dgm:cxn modelId="{BC567F51-80E8-42C8-8A1F-1C68E0A0689F}" srcId="{252FEA72-0EFE-4535-91A0-9D80B9D78C4B}" destId="{2C48B5C5-729D-4701-BDC6-C0F77694D323}" srcOrd="3" destOrd="0" parTransId="{96C1BAD9-2A68-4FAB-9D7C-FD8D4FCEACE7}" sibTransId="{5448778A-A257-4414-8433-51567A0AF4AA}"/>
    <dgm:cxn modelId="{35906BD7-A95D-4E1E-9AEB-D64603F8C885}" type="presOf" srcId="{1994E39C-FD26-4990-B2AE-944CE4F70255}" destId="{2F9889D8-5373-4460-A46D-27FDBA6D6478}" srcOrd="0" destOrd="0" presId="urn:microsoft.com/office/officeart/2005/8/layout/lProcess1"/>
    <dgm:cxn modelId="{6908890A-6097-48C2-AE2E-8DE3BEEA7CB6}" type="presOf" srcId="{A69FAD68-F62B-4303-A46A-328F4AD40892}" destId="{1FE55BFE-053B-4FC5-ACEE-749A8DE06D55}" srcOrd="0" destOrd="0" presId="urn:microsoft.com/office/officeart/2005/8/layout/lProcess1"/>
    <dgm:cxn modelId="{CAAC4D6D-031B-491B-B52B-D23FC535CDCD}" type="presOf" srcId="{5F7E7D17-C28D-4816-8B49-EFA3BBB4F5BB}" destId="{E8433B54-9030-421A-9938-1B10568B2B40}" srcOrd="0" destOrd="0" presId="urn:microsoft.com/office/officeart/2005/8/layout/lProcess1"/>
    <dgm:cxn modelId="{72C659D8-39CB-4597-8422-AB6A2E6FFFA7}" type="presOf" srcId="{E913B9E7-7051-4C3A-9373-BC76EBA20F69}" destId="{6AAC9A51-1DBB-4183-893D-DDF5A7B0AD32}" srcOrd="0" destOrd="0" presId="urn:microsoft.com/office/officeart/2005/8/layout/lProcess1"/>
    <dgm:cxn modelId="{FB688718-8BAC-4B3B-BDF8-779E603B0357}" srcId="{4B8F08A0-31BA-433D-8535-9825E00ABBF3}" destId="{8A95967F-0E24-4C46-A365-91E99DE10C95}" srcOrd="2" destOrd="0" parTransId="{CC66EA1E-40A9-4E4E-AE86-C29F8F838D94}" sibTransId="{82E0778F-6347-45FE-B6E1-687BF016BE62}"/>
    <dgm:cxn modelId="{39AB2069-78A1-440A-8469-27D9521F3636}" type="presOf" srcId="{82E0778F-6347-45FE-B6E1-687BF016BE62}" destId="{F3E275E2-4601-45DF-ACF8-A47144A19534}" srcOrd="0" destOrd="0" presId="urn:microsoft.com/office/officeart/2005/8/layout/lProcess1"/>
    <dgm:cxn modelId="{27B63596-0F51-4A76-BE18-47C18405A6F5}" srcId="{0C7432D5-41F2-4D18-88C2-A47883722D4F}" destId="{4B8F08A0-31BA-433D-8535-9825E00ABBF3}" srcOrd="2" destOrd="0" parTransId="{12607A6C-4DF9-455C-BBDE-8B87F26D0482}" sibTransId="{274AA4FF-DD62-4B73-ABBD-CFCEAAD6088D}"/>
    <dgm:cxn modelId="{B34493DB-9CCD-42FD-99F6-AFB1648E5A82}" type="presOf" srcId="{E8DA7924-22F4-466B-A408-B2895909A600}" destId="{A5F8F1BD-13C1-4AE9-987F-852BDA92AADC}" srcOrd="0" destOrd="0" presId="urn:microsoft.com/office/officeart/2005/8/layout/lProcess1"/>
    <dgm:cxn modelId="{839E9AAD-9A10-4A86-89A6-B6D1666A3950}" srcId="{FD3FC866-569A-4766-B299-4401BC13C0B6}" destId="{7C7433E3-E655-41F0-B9FE-91703600A034}" srcOrd="1" destOrd="0" parTransId="{DE0928BA-49E2-4E29-B796-D39D6DC664D3}" sibTransId="{E913B9E7-7051-4C3A-9373-BC76EBA20F69}"/>
    <dgm:cxn modelId="{9DEB9A00-AA5D-4946-8E33-A5F4E8D299CE}" type="presOf" srcId="{16299A21-18F4-4893-A09B-FDB4A54166F3}" destId="{48E64D28-7EA1-4BC9-8F14-5ABFD388E660}" srcOrd="0" destOrd="0" presId="urn:microsoft.com/office/officeart/2005/8/layout/lProcess1"/>
    <dgm:cxn modelId="{B36F2E1F-EEBA-4192-AD89-58D7214CBB1C}" type="presOf" srcId="{541FAD2D-25C4-48F7-B091-8D93224B75E9}" destId="{2260D00C-37AF-4215-ABEA-7C68A7DEDF58}" srcOrd="0" destOrd="0" presId="urn:microsoft.com/office/officeart/2005/8/layout/lProcess1"/>
    <dgm:cxn modelId="{2C236EE0-6F5D-4434-AF7D-5953A88FA7A1}" srcId="{A69FAD68-F62B-4303-A46A-328F4AD40892}" destId="{48606DAF-0FDD-420B-B70D-E288E0C38563}" srcOrd="2" destOrd="0" parTransId="{632F33E5-0923-4449-9A43-F07FE69D516D}" sibTransId="{1F92A5F0-12B6-4BBB-A8D9-2B6406C4FC2A}"/>
    <dgm:cxn modelId="{52ACAF60-D665-4C44-B6B8-D3C62D0217FB}" type="presOf" srcId="{4B092CB9-9B0D-4AA2-9C26-812E34D9CF13}" destId="{EF4EB7FA-E0CB-43FF-ACAD-F97E253F04FE}" srcOrd="0" destOrd="0" presId="urn:microsoft.com/office/officeart/2005/8/layout/lProcess1"/>
    <dgm:cxn modelId="{774A0317-4D33-40A1-B255-94E3067BB5E3}" type="presOf" srcId="{2C48B5C5-729D-4701-BDC6-C0F77694D323}" destId="{982F5870-5B13-47D9-B2A9-07A212F6B50D}" srcOrd="0" destOrd="0" presId="urn:microsoft.com/office/officeart/2005/8/layout/lProcess1"/>
    <dgm:cxn modelId="{C2DE305C-B8B1-4298-850A-D9060F509039}" type="presOf" srcId="{1897E7CC-2D9D-4F13-94A7-821B5E98FFE0}" destId="{5B861B74-4242-44EE-AA89-E3E3567CD93E}" srcOrd="0" destOrd="0" presId="urn:microsoft.com/office/officeart/2005/8/layout/lProcess1"/>
    <dgm:cxn modelId="{FB012EFF-98B8-4284-A01A-6FF8F04E5CF9}" type="presOf" srcId="{FE33912C-CC79-4DA9-9BF7-C9BB7FCFAD93}" destId="{283EA6FE-11FE-4110-9DC0-4543F0E7768E}" srcOrd="0" destOrd="0" presId="urn:microsoft.com/office/officeart/2005/8/layout/lProcess1"/>
    <dgm:cxn modelId="{C1F1237C-BD02-41A5-A99B-45681551482D}" type="presOf" srcId="{7C7433E3-E655-41F0-B9FE-91703600A034}" destId="{9721B923-B1F8-4AA7-AA1E-11EF1DCC336A}" srcOrd="0" destOrd="0" presId="urn:microsoft.com/office/officeart/2005/8/layout/lProcess1"/>
    <dgm:cxn modelId="{78FD286D-B5E1-414E-9CC8-49F74221DE8F}" type="presOf" srcId="{4B46DC21-367A-4A7F-81B7-91D6C66C04B2}" destId="{81B26DF5-2AA0-4E1D-91E7-3BC0911D0816}" srcOrd="0" destOrd="0" presId="urn:microsoft.com/office/officeart/2005/8/layout/lProcess1"/>
    <dgm:cxn modelId="{AA98CEA5-D4FD-4BDD-8132-6D0A21CC3A69}" type="presOf" srcId="{A786F04A-A127-4007-BD2B-D15C1F411187}" destId="{24A72795-5CEA-4084-9C47-24DFCDC792E0}" srcOrd="0" destOrd="0" presId="urn:microsoft.com/office/officeart/2005/8/layout/lProcess1"/>
    <dgm:cxn modelId="{EDB59817-C9B7-481F-9C81-9ACAD501E036}" type="presOf" srcId="{252FEA72-0EFE-4535-91A0-9D80B9D78C4B}" destId="{62B5F1B3-722B-455E-BDF2-6DEF4C1EB0F8}" srcOrd="0" destOrd="0" presId="urn:microsoft.com/office/officeart/2005/8/layout/lProcess1"/>
    <dgm:cxn modelId="{AFC9B040-B71D-4BE8-8315-96E2B1E81C79}" srcId="{252FEA72-0EFE-4535-91A0-9D80B9D78C4B}" destId="{76E417FE-B6FD-4D2F-9C51-7607D793E77C}" srcOrd="0" destOrd="0" parTransId="{1BA45412-2F69-4958-A5E1-852717962AC5}" sibTransId="{A786F04A-A127-4007-BD2B-D15C1F411187}"/>
    <dgm:cxn modelId="{391C814E-6952-4DEB-B68B-288032CA3C69}" type="presOf" srcId="{41D75109-C779-4953-A085-8199C7CCEE29}" destId="{7DEA6F50-83F3-4D9C-88CA-DAC6D07BC613}" srcOrd="0" destOrd="0" presId="urn:microsoft.com/office/officeart/2005/8/layout/lProcess1"/>
    <dgm:cxn modelId="{3867D7AA-28AE-4314-804F-0EF966DDE7B2}" type="presOf" srcId="{32006B6E-C3CB-4037-B5CE-3F6B4CB8D7AC}" destId="{1EFB7766-F03E-494F-8713-7CBC7A2D5FE6}" srcOrd="0" destOrd="0" presId="urn:microsoft.com/office/officeart/2005/8/layout/lProcess1"/>
    <dgm:cxn modelId="{AF309F2E-1AF0-4220-ACF0-3AF6CA06DE2D}" srcId="{FD3FC866-569A-4766-B299-4401BC13C0B6}" destId="{4B092CB9-9B0D-4AA2-9C26-812E34D9CF13}" srcOrd="4" destOrd="0" parTransId="{B7523D36-5F5C-447F-8710-A3D8192E6E2C}" sibTransId="{180BAAE0-A6CA-44B4-952B-3A9CFE768836}"/>
    <dgm:cxn modelId="{C4583369-5C42-4DC4-9070-25D70065ADB3}" srcId="{A69FAD68-F62B-4303-A46A-328F4AD40892}" destId="{1994E39C-FD26-4990-B2AE-944CE4F70255}" srcOrd="0" destOrd="0" parTransId="{AE8F9D80-185D-4CA5-A5BE-2D9055BEFEE7}" sibTransId="{4B46DC21-367A-4A7F-81B7-91D6C66C04B2}"/>
    <dgm:cxn modelId="{6F913DB5-79FE-4A24-9A03-1141BDA5E38E}" srcId="{FD3FC866-569A-4766-B299-4401BC13C0B6}" destId="{17727982-1ADE-4B95-A1BC-0DDA490D1F68}" srcOrd="0" destOrd="0" parTransId="{CD2359EF-C2CD-4F4A-870E-F20FD30C5A3E}" sibTransId="{E8DA7924-22F4-466B-A408-B2895909A600}"/>
    <dgm:cxn modelId="{F48EA29E-C694-4905-9874-E7B8011B6D83}" type="presOf" srcId="{1BA45412-2F69-4958-A5E1-852717962AC5}" destId="{1DB120DB-2DD6-413D-B685-0AD3F113BA0A}" srcOrd="0" destOrd="0" presId="urn:microsoft.com/office/officeart/2005/8/layout/lProcess1"/>
    <dgm:cxn modelId="{B6E4C0C0-0468-4783-8400-8B645CC72D70}" type="presOf" srcId="{8A95967F-0E24-4C46-A365-91E99DE10C95}" destId="{055E86BC-0290-46BD-939E-440D1F038972}" srcOrd="0" destOrd="0" presId="urn:microsoft.com/office/officeart/2005/8/layout/lProcess1"/>
    <dgm:cxn modelId="{37C9FE1D-A9DA-4C6F-85FB-4DEDA460E9BF}" type="presOf" srcId="{1F92A5F0-12B6-4BBB-A8D9-2B6406C4FC2A}" destId="{B0A4CAB2-44C2-4CA8-88DB-1284ABFEAB48}" srcOrd="0" destOrd="0" presId="urn:microsoft.com/office/officeart/2005/8/layout/lProcess1"/>
    <dgm:cxn modelId="{E9F50F29-C63B-4FE6-9CA9-CBE93DE33824}" type="presOf" srcId="{89301BB2-00C4-42D1-BAC3-F557C525724F}" destId="{65634971-4BE9-4904-88F4-DB8E95B7E1D8}" srcOrd="0" destOrd="0" presId="urn:microsoft.com/office/officeart/2005/8/layout/lProcess1"/>
    <dgm:cxn modelId="{21E72D70-75EC-4F1E-B814-DB90575799D2}" type="presOf" srcId="{CD2359EF-C2CD-4F4A-870E-F20FD30C5A3E}" destId="{A1E3E243-89A8-4401-83DE-EB46737987AC}" srcOrd="0" destOrd="0" presId="urn:microsoft.com/office/officeart/2005/8/layout/lProcess1"/>
    <dgm:cxn modelId="{113E9A42-BCBF-4C97-B99D-718E43D8F443}" type="presOf" srcId="{17727982-1ADE-4B95-A1BC-0DDA490D1F68}" destId="{B439DC38-6811-407A-AA7A-F85E636B9218}" srcOrd="0" destOrd="0" presId="urn:microsoft.com/office/officeart/2005/8/layout/lProcess1"/>
    <dgm:cxn modelId="{6C10991D-6913-4EFA-95A2-0E1B1398246D}" type="presOf" srcId="{FD3FC866-569A-4766-B299-4401BC13C0B6}" destId="{40A22BB9-7466-4D51-899E-42D3734CADE3}" srcOrd="0" destOrd="0" presId="urn:microsoft.com/office/officeart/2005/8/layout/lProcess1"/>
    <dgm:cxn modelId="{53267D43-8B34-4965-A2E2-95DE24716ADD}" type="presParOf" srcId="{2E295240-9DFD-41BB-AA52-8C8A1580AD68}" destId="{E1F4667C-CE2E-4FA7-80B7-FA9B980A4202}" srcOrd="0" destOrd="0" presId="urn:microsoft.com/office/officeart/2005/8/layout/lProcess1"/>
    <dgm:cxn modelId="{A559C05E-35B1-41D2-8457-3B1E354A417B}" type="presParOf" srcId="{E1F4667C-CE2E-4FA7-80B7-FA9B980A4202}" destId="{1FE55BFE-053B-4FC5-ACEE-749A8DE06D55}" srcOrd="0" destOrd="0" presId="urn:microsoft.com/office/officeart/2005/8/layout/lProcess1"/>
    <dgm:cxn modelId="{FAA9F232-8FD4-474F-8950-DF8C8C33AC8A}" type="presParOf" srcId="{E1F4667C-CE2E-4FA7-80B7-FA9B980A4202}" destId="{7C83A923-E34E-4EC9-9EBD-B62C3CD45DA2}" srcOrd="1" destOrd="0" presId="urn:microsoft.com/office/officeart/2005/8/layout/lProcess1"/>
    <dgm:cxn modelId="{32999DBA-7836-4F99-B297-D34EF98B9836}" type="presParOf" srcId="{E1F4667C-CE2E-4FA7-80B7-FA9B980A4202}" destId="{2F9889D8-5373-4460-A46D-27FDBA6D6478}" srcOrd="2" destOrd="0" presId="urn:microsoft.com/office/officeart/2005/8/layout/lProcess1"/>
    <dgm:cxn modelId="{08F29484-A77A-4F71-A45C-12B086F3874F}" type="presParOf" srcId="{E1F4667C-CE2E-4FA7-80B7-FA9B980A4202}" destId="{81B26DF5-2AA0-4E1D-91E7-3BC0911D0816}" srcOrd="3" destOrd="0" presId="urn:microsoft.com/office/officeart/2005/8/layout/lProcess1"/>
    <dgm:cxn modelId="{542EF19B-C15E-4445-B662-AE50B44DF0CC}" type="presParOf" srcId="{E1F4667C-CE2E-4FA7-80B7-FA9B980A4202}" destId="{5B861B74-4242-44EE-AA89-E3E3567CD93E}" srcOrd="4" destOrd="0" presId="urn:microsoft.com/office/officeart/2005/8/layout/lProcess1"/>
    <dgm:cxn modelId="{04625E1C-DFC2-4851-B6E2-9D7DEB5A9B26}" type="presParOf" srcId="{E1F4667C-CE2E-4FA7-80B7-FA9B980A4202}" destId="{1EFB7766-F03E-494F-8713-7CBC7A2D5FE6}" srcOrd="5" destOrd="0" presId="urn:microsoft.com/office/officeart/2005/8/layout/lProcess1"/>
    <dgm:cxn modelId="{786E054A-D652-4DA9-8D8A-EF924F0B59E7}" type="presParOf" srcId="{E1F4667C-CE2E-4FA7-80B7-FA9B980A4202}" destId="{AB125660-EBBC-47B3-BF6F-BF5D457DDEF3}" srcOrd="6" destOrd="0" presId="urn:microsoft.com/office/officeart/2005/8/layout/lProcess1"/>
    <dgm:cxn modelId="{AAACE71B-BF78-410B-B97E-77980EDF3801}" type="presParOf" srcId="{E1F4667C-CE2E-4FA7-80B7-FA9B980A4202}" destId="{B0A4CAB2-44C2-4CA8-88DB-1284ABFEAB48}" srcOrd="7" destOrd="0" presId="urn:microsoft.com/office/officeart/2005/8/layout/lProcess1"/>
    <dgm:cxn modelId="{FA3FA11D-6750-4A02-8DA7-B1C486D59905}" type="presParOf" srcId="{E1F4667C-CE2E-4FA7-80B7-FA9B980A4202}" destId="{65634971-4BE9-4904-88F4-DB8E95B7E1D8}" srcOrd="8" destOrd="0" presId="urn:microsoft.com/office/officeart/2005/8/layout/lProcess1"/>
    <dgm:cxn modelId="{A8F6C264-AF4F-4C39-B24F-BB94A130C6F4}" type="presParOf" srcId="{2E295240-9DFD-41BB-AA52-8C8A1580AD68}" destId="{B2A38E9F-80D8-40EE-95EC-9E7DA7DD6800}" srcOrd="1" destOrd="0" presId="urn:microsoft.com/office/officeart/2005/8/layout/lProcess1"/>
    <dgm:cxn modelId="{393630F3-4B22-4A9F-81EC-97A00CE9ED63}" type="presParOf" srcId="{2E295240-9DFD-41BB-AA52-8C8A1580AD68}" destId="{F81B9E2E-1384-4BD5-8928-335C5121C652}" srcOrd="2" destOrd="0" presId="urn:microsoft.com/office/officeart/2005/8/layout/lProcess1"/>
    <dgm:cxn modelId="{9A8E285C-2111-403E-B5AC-5CDFFED41D39}" type="presParOf" srcId="{F81B9E2E-1384-4BD5-8928-335C5121C652}" destId="{62B5F1B3-722B-455E-BDF2-6DEF4C1EB0F8}" srcOrd="0" destOrd="0" presId="urn:microsoft.com/office/officeart/2005/8/layout/lProcess1"/>
    <dgm:cxn modelId="{3DD644DE-AD06-4394-8B5B-1B06A2E289E1}" type="presParOf" srcId="{F81B9E2E-1384-4BD5-8928-335C5121C652}" destId="{1DB120DB-2DD6-413D-B685-0AD3F113BA0A}" srcOrd="1" destOrd="0" presId="urn:microsoft.com/office/officeart/2005/8/layout/lProcess1"/>
    <dgm:cxn modelId="{76AC68EB-39DB-4A99-9A40-916B42CD48B6}" type="presParOf" srcId="{F81B9E2E-1384-4BD5-8928-335C5121C652}" destId="{7021357D-F7A4-41AE-B70E-CD9FC813B0EB}" srcOrd="2" destOrd="0" presId="urn:microsoft.com/office/officeart/2005/8/layout/lProcess1"/>
    <dgm:cxn modelId="{63DCFD8E-CA04-4D2A-8D07-62ADDF1CBD63}" type="presParOf" srcId="{F81B9E2E-1384-4BD5-8928-335C5121C652}" destId="{24A72795-5CEA-4084-9C47-24DFCDC792E0}" srcOrd="3" destOrd="0" presId="urn:microsoft.com/office/officeart/2005/8/layout/lProcess1"/>
    <dgm:cxn modelId="{F1533E0E-8DB1-4E58-BFD6-9D17FA91B278}" type="presParOf" srcId="{F81B9E2E-1384-4BD5-8928-335C5121C652}" destId="{7DEA6F50-83F3-4D9C-88CA-DAC6D07BC613}" srcOrd="4" destOrd="0" presId="urn:microsoft.com/office/officeart/2005/8/layout/lProcess1"/>
    <dgm:cxn modelId="{7F7162DB-07E2-4DF0-86D4-6B0C178084DD}" type="presParOf" srcId="{F81B9E2E-1384-4BD5-8928-335C5121C652}" destId="{28FFC4D8-7A56-4D4C-B9C9-139E4B9DA404}" srcOrd="5" destOrd="0" presId="urn:microsoft.com/office/officeart/2005/8/layout/lProcess1"/>
    <dgm:cxn modelId="{21C501F5-B0E9-4B4B-A70C-199BD67C9B56}" type="presParOf" srcId="{F81B9E2E-1384-4BD5-8928-335C5121C652}" destId="{093E462F-B609-414C-A78D-9458B9DE854B}" srcOrd="6" destOrd="0" presId="urn:microsoft.com/office/officeart/2005/8/layout/lProcess1"/>
    <dgm:cxn modelId="{A7284C1A-A3A7-4733-8CD6-2334610D348D}" type="presParOf" srcId="{F81B9E2E-1384-4BD5-8928-335C5121C652}" destId="{48E64D28-7EA1-4BC9-8F14-5ABFD388E660}" srcOrd="7" destOrd="0" presId="urn:microsoft.com/office/officeart/2005/8/layout/lProcess1"/>
    <dgm:cxn modelId="{67300A6C-C4AA-41B3-9ADE-E45311FF14E7}" type="presParOf" srcId="{F81B9E2E-1384-4BD5-8928-335C5121C652}" destId="{982F5870-5B13-47D9-B2A9-07A212F6B50D}" srcOrd="8" destOrd="0" presId="urn:microsoft.com/office/officeart/2005/8/layout/lProcess1"/>
    <dgm:cxn modelId="{76FD5A7E-6FBB-4109-A9A9-B824720FA590}" type="presParOf" srcId="{2E295240-9DFD-41BB-AA52-8C8A1580AD68}" destId="{D74BACD8-7757-487D-9C4E-6B60F5AD0DD4}" srcOrd="3" destOrd="0" presId="urn:microsoft.com/office/officeart/2005/8/layout/lProcess1"/>
    <dgm:cxn modelId="{BD4FD154-D518-4DBF-835A-418A5832D3C1}" type="presParOf" srcId="{2E295240-9DFD-41BB-AA52-8C8A1580AD68}" destId="{02A31F6F-BB68-4CC3-9201-B06BA51BEE78}" srcOrd="4" destOrd="0" presId="urn:microsoft.com/office/officeart/2005/8/layout/lProcess1"/>
    <dgm:cxn modelId="{7719D8D9-E744-4F39-954F-368D16623215}" type="presParOf" srcId="{02A31F6F-BB68-4CC3-9201-B06BA51BEE78}" destId="{C292C430-607F-45A5-A3F1-8F9641A0AEAF}" srcOrd="0" destOrd="0" presId="urn:microsoft.com/office/officeart/2005/8/layout/lProcess1"/>
    <dgm:cxn modelId="{7CA7EEB5-EF40-433B-8163-6BDEEA87C1AC}" type="presParOf" srcId="{02A31F6F-BB68-4CC3-9201-B06BA51BEE78}" destId="{E8433B54-9030-421A-9938-1B10568B2B40}" srcOrd="1" destOrd="0" presId="urn:microsoft.com/office/officeart/2005/8/layout/lProcess1"/>
    <dgm:cxn modelId="{21E8F8E1-CA2E-4DF1-9946-2B190E8295BC}" type="presParOf" srcId="{02A31F6F-BB68-4CC3-9201-B06BA51BEE78}" destId="{742849A2-4EFC-4517-911D-416B7F0F1C06}" srcOrd="2" destOrd="0" presId="urn:microsoft.com/office/officeart/2005/8/layout/lProcess1"/>
    <dgm:cxn modelId="{05DA8299-6F99-430F-B5AF-3A977ED00124}" type="presParOf" srcId="{02A31F6F-BB68-4CC3-9201-B06BA51BEE78}" destId="{283EA6FE-11FE-4110-9DC0-4543F0E7768E}" srcOrd="3" destOrd="0" presId="urn:microsoft.com/office/officeart/2005/8/layout/lProcess1"/>
    <dgm:cxn modelId="{D808F405-DDF8-466D-BA35-075703528B44}" type="presParOf" srcId="{02A31F6F-BB68-4CC3-9201-B06BA51BEE78}" destId="{718887B2-CFB7-4E2D-85D2-3E2DA3808DAC}" srcOrd="4" destOrd="0" presId="urn:microsoft.com/office/officeart/2005/8/layout/lProcess1"/>
    <dgm:cxn modelId="{54D46F8E-7A2C-4318-BD46-894B89F663D1}" type="presParOf" srcId="{02A31F6F-BB68-4CC3-9201-B06BA51BEE78}" destId="{2260D00C-37AF-4215-ABEA-7C68A7DEDF58}" srcOrd="5" destOrd="0" presId="urn:microsoft.com/office/officeart/2005/8/layout/lProcess1"/>
    <dgm:cxn modelId="{CCE6C44B-8A4C-43F9-82D4-9197BB1866E6}" type="presParOf" srcId="{02A31F6F-BB68-4CC3-9201-B06BA51BEE78}" destId="{055E86BC-0290-46BD-939E-440D1F038972}" srcOrd="6" destOrd="0" presId="urn:microsoft.com/office/officeart/2005/8/layout/lProcess1"/>
    <dgm:cxn modelId="{47E3F017-0D84-4BCF-9B9A-C096D0F3950E}" type="presParOf" srcId="{02A31F6F-BB68-4CC3-9201-B06BA51BEE78}" destId="{F3E275E2-4601-45DF-ACF8-A47144A19534}" srcOrd="7" destOrd="0" presId="urn:microsoft.com/office/officeart/2005/8/layout/lProcess1"/>
    <dgm:cxn modelId="{F9212470-A149-400A-9F72-2C09EAB25043}" type="presParOf" srcId="{02A31F6F-BB68-4CC3-9201-B06BA51BEE78}" destId="{F4FB6460-A648-421A-983E-193C674064BC}" srcOrd="8" destOrd="0" presId="urn:microsoft.com/office/officeart/2005/8/layout/lProcess1"/>
    <dgm:cxn modelId="{8343069F-2049-48B8-8EFA-3AC28779FDE9}" type="presParOf" srcId="{2E295240-9DFD-41BB-AA52-8C8A1580AD68}" destId="{64BC5E89-DC97-41D9-BAF4-B7C6B67BD8D5}" srcOrd="5" destOrd="0" presId="urn:microsoft.com/office/officeart/2005/8/layout/lProcess1"/>
    <dgm:cxn modelId="{DC12AFAD-36B4-4519-90C7-3A3EE5CF4CAC}" type="presParOf" srcId="{2E295240-9DFD-41BB-AA52-8C8A1580AD68}" destId="{C6281533-5176-435B-B983-5A1A65A531EF}" srcOrd="6" destOrd="0" presId="urn:microsoft.com/office/officeart/2005/8/layout/lProcess1"/>
    <dgm:cxn modelId="{8295A5FF-ED7B-44A1-A5C1-248555F1E080}" type="presParOf" srcId="{C6281533-5176-435B-B983-5A1A65A531EF}" destId="{40A22BB9-7466-4D51-899E-42D3734CADE3}" srcOrd="0" destOrd="0" presId="urn:microsoft.com/office/officeart/2005/8/layout/lProcess1"/>
    <dgm:cxn modelId="{12B0BBAE-1D92-4977-AC58-DAFAF3894E66}" type="presParOf" srcId="{C6281533-5176-435B-B983-5A1A65A531EF}" destId="{A1E3E243-89A8-4401-83DE-EB46737987AC}" srcOrd="1" destOrd="0" presId="urn:microsoft.com/office/officeart/2005/8/layout/lProcess1"/>
    <dgm:cxn modelId="{FEB73DDB-C1F6-4895-AE64-776907C3BCE9}" type="presParOf" srcId="{C6281533-5176-435B-B983-5A1A65A531EF}" destId="{B439DC38-6811-407A-AA7A-F85E636B9218}" srcOrd="2" destOrd="0" presId="urn:microsoft.com/office/officeart/2005/8/layout/lProcess1"/>
    <dgm:cxn modelId="{6191C0E4-74CE-4BCB-BE34-C0F0B1889751}" type="presParOf" srcId="{C6281533-5176-435B-B983-5A1A65A531EF}" destId="{A5F8F1BD-13C1-4AE9-987F-852BDA92AADC}" srcOrd="3" destOrd="0" presId="urn:microsoft.com/office/officeart/2005/8/layout/lProcess1"/>
    <dgm:cxn modelId="{527FA5DF-67DB-4635-8B65-3208712E438D}" type="presParOf" srcId="{C6281533-5176-435B-B983-5A1A65A531EF}" destId="{9721B923-B1F8-4AA7-AA1E-11EF1DCC336A}" srcOrd="4" destOrd="0" presId="urn:microsoft.com/office/officeart/2005/8/layout/lProcess1"/>
    <dgm:cxn modelId="{D1B0C595-31F8-4836-8EFB-EE907F2131DE}" type="presParOf" srcId="{C6281533-5176-435B-B983-5A1A65A531EF}" destId="{6AAC9A51-1DBB-4183-893D-DDF5A7B0AD32}" srcOrd="5" destOrd="0" presId="urn:microsoft.com/office/officeart/2005/8/layout/lProcess1"/>
    <dgm:cxn modelId="{DDA0D9A8-0FCB-4F01-B6F6-75DA218C12D1}" type="presParOf" srcId="{C6281533-5176-435B-B983-5A1A65A531EF}" destId="{BE663722-FB14-47AC-9B33-C55B58A2BB07}" srcOrd="6" destOrd="0" presId="urn:microsoft.com/office/officeart/2005/8/layout/lProcess1"/>
    <dgm:cxn modelId="{1EB3E3BD-0483-45B9-86BE-C3593720C649}" type="presParOf" srcId="{C6281533-5176-435B-B983-5A1A65A531EF}" destId="{CCC092AB-F437-425A-932D-9C81B399B743}" srcOrd="7" destOrd="0" presId="urn:microsoft.com/office/officeart/2005/8/layout/lProcess1"/>
    <dgm:cxn modelId="{6A509352-BC9A-4D79-A4E9-8B724019BE7A}" type="presParOf" srcId="{C6281533-5176-435B-B983-5A1A65A531EF}" destId="{C27432F7-5F17-4BC9-99E8-BFD2B2494477}" srcOrd="8" destOrd="0" presId="urn:microsoft.com/office/officeart/2005/8/layout/lProcess1"/>
    <dgm:cxn modelId="{5AD48022-8099-41BD-BF61-E1DFFD66E875}" type="presParOf" srcId="{C6281533-5176-435B-B983-5A1A65A531EF}" destId="{8EC170FE-B912-4CBE-94CE-E68A9D4709AB}" srcOrd="9" destOrd="0" presId="urn:microsoft.com/office/officeart/2005/8/layout/lProcess1"/>
    <dgm:cxn modelId="{C9900215-2769-486A-AA80-96A7926FA2A2}" type="presParOf" srcId="{C6281533-5176-435B-B983-5A1A65A531EF}" destId="{EF4EB7FA-E0CB-43FF-ACAD-F97E253F04FE}" srcOrd="10" destOrd="0" presId="urn:microsoft.com/office/officeart/2005/8/layout/lProcess1"/>
  </dgm:cxnLst>
  <dgm:bg>
    <a:effect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D5A0A8DD-DF3A-4CD0-9AC6-B3D104F4E89E}"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US"/>
        </a:p>
      </dgm:t>
    </dgm:pt>
    <dgm:pt modelId="{B6EF38C9-5D92-43EC-94B9-6C16E2DDE4EB}">
      <dgm:prSet phldrT="[Text]" custT="1"/>
      <dgm:spPr/>
      <dgm:t>
        <a:bodyPr/>
        <a:lstStyle/>
        <a:p>
          <a:endParaRPr lang="en-US" sz="1800" dirty="0"/>
        </a:p>
      </dgm:t>
    </dgm:pt>
    <dgm:pt modelId="{4CD5BEFE-B192-441F-B89A-478E28347E13}" type="parTrans" cxnId="{3E145369-4693-46D5-905D-74003E0B38A6}">
      <dgm:prSet/>
      <dgm:spPr/>
      <dgm:t>
        <a:bodyPr/>
        <a:lstStyle/>
        <a:p>
          <a:endParaRPr lang="en-US"/>
        </a:p>
      </dgm:t>
    </dgm:pt>
    <dgm:pt modelId="{EF768168-2378-4625-9970-786C9EE62187}" type="sibTrans" cxnId="{3E145369-4693-46D5-905D-74003E0B38A6}">
      <dgm:prSet/>
      <dgm:spPr/>
      <dgm:t>
        <a:bodyPr/>
        <a:lstStyle/>
        <a:p>
          <a:endParaRPr lang="en-US"/>
        </a:p>
      </dgm:t>
    </dgm:pt>
    <dgm:pt modelId="{FD7A3AEA-68BF-4D7C-B203-4DF8893DF1CE}">
      <dgm:prSet custT="1"/>
      <dgm:spPr/>
      <dgm:t>
        <a:bodyPr/>
        <a:lstStyle/>
        <a:p>
          <a:pPr algn="ctr"/>
          <a:br>
            <a:rPr lang="en-US" sz="1800" dirty="0"/>
          </a:br>
          <a:r>
            <a:rPr lang="en-US" sz="1800" dirty="0"/>
            <a:t>Functional Tests</a:t>
          </a:r>
        </a:p>
        <a:p>
          <a:pPr algn="ctr"/>
          <a:r>
            <a:rPr lang="en-US" sz="1800" dirty="0"/>
            <a:t>Customer Tests</a:t>
          </a:r>
        </a:p>
        <a:p>
          <a:pPr algn="ctr"/>
          <a:r>
            <a:rPr lang="en-US" sz="1800" dirty="0"/>
            <a:t>Story Tests/Examples</a:t>
          </a:r>
        </a:p>
      </dgm:t>
    </dgm:pt>
    <dgm:pt modelId="{45546BF6-F802-47BD-A86C-6964D6B279FF}" type="parTrans" cxnId="{E0EE5C35-C638-46BA-B356-7ED289DF06ED}">
      <dgm:prSet/>
      <dgm:spPr/>
      <dgm:t>
        <a:bodyPr/>
        <a:lstStyle/>
        <a:p>
          <a:endParaRPr lang="en-US"/>
        </a:p>
      </dgm:t>
    </dgm:pt>
    <dgm:pt modelId="{D912425F-2025-4165-9C4E-139F956AA1C7}" type="sibTrans" cxnId="{E0EE5C35-C638-46BA-B356-7ED289DF06ED}">
      <dgm:prSet/>
      <dgm:spPr/>
      <dgm:t>
        <a:bodyPr/>
        <a:lstStyle/>
        <a:p>
          <a:endParaRPr lang="en-US"/>
        </a:p>
      </dgm:t>
    </dgm:pt>
    <dgm:pt modelId="{09DC93C4-5714-44D4-8666-DC6A25229352}">
      <dgm:prSet custT="1"/>
      <dgm:spPr/>
      <dgm:t>
        <a:bodyPr/>
        <a:lstStyle/>
        <a:p>
          <a:br>
            <a:rPr lang="en-US" sz="1800" dirty="0"/>
          </a:br>
          <a:r>
            <a:rPr lang="en-US" sz="1800" dirty="0"/>
            <a:t>User Acceptance Tests</a:t>
          </a:r>
        </a:p>
        <a:p>
          <a:r>
            <a:rPr lang="en-US" sz="1800" dirty="0"/>
            <a:t>Exploratory Tests</a:t>
          </a:r>
        </a:p>
        <a:p>
          <a:r>
            <a:rPr lang="en-US" sz="1800" dirty="0"/>
            <a:t>Usability Tests</a:t>
          </a:r>
        </a:p>
      </dgm:t>
    </dgm:pt>
    <dgm:pt modelId="{78FA9B71-33AD-4833-94BF-1EACCA420BF5}" type="parTrans" cxnId="{7F558D02-6A01-4708-94FF-5673BF1DA0E3}">
      <dgm:prSet/>
      <dgm:spPr/>
      <dgm:t>
        <a:bodyPr/>
        <a:lstStyle/>
        <a:p>
          <a:endParaRPr lang="en-US"/>
        </a:p>
      </dgm:t>
    </dgm:pt>
    <dgm:pt modelId="{CE3A3237-8FEC-4F05-93C4-4A48F7A0607B}" type="sibTrans" cxnId="{7F558D02-6A01-4708-94FF-5673BF1DA0E3}">
      <dgm:prSet/>
      <dgm:spPr/>
      <dgm:t>
        <a:bodyPr/>
        <a:lstStyle/>
        <a:p>
          <a:endParaRPr lang="en-US"/>
        </a:p>
      </dgm:t>
    </dgm:pt>
    <dgm:pt modelId="{FB6D662B-3DF5-4B93-B4A5-1A172D779716}">
      <dgm:prSet custT="1"/>
      <dgm:spPr/>
      <dgm:t>
        <a:bodyPr/>
        <a:lstStyle/>
        <a:p>
          <a:r>
            <a:rPr lang="en-US" sz="1800" dirty="0"/>
            <a:t>Unit Tests</a:t>
          </a:r>
        </a:p>
        <a:p>
          <a:r>
            <a:rPr lang="en-US" sz="1800" dirty="0"/>
            <a:t>Integration Tests</a:t>
          </a:r>
        </a:p>
      </dgm:t>
    </dgm:pt>
    <dgm:pt modelId="{2CB06D7A-B627-4E5D-BC94-25B5BE50EB35}" type="parTrans" cxnId="{18EBD188-1427-436A-9283-C12E3FF280EA}">
      <dgm:prSet/>
      <dgm:spPr/>
      <dgm:t>
        <a:bodyPr/>
        <a:lstStyle/>
        <a:p>
          <a:endParaRPr lang="en-US"/>
        </a:p>
      </dgm:t>
    </dgm:pt>
    <dgm:pt modelId="{27F2433F-AC23-4859-9959-77C360C2D781}" type="sibTrans" cxnId="{18EBD188-1427-436A-9283-C12E3FF280EA}">
      <dgm:prSet/>
      <dgm:spPr/>
      <dgm:t>
        <a:bodyPr/>
        <a:lstStyle/>
        <a:p>
          <a:endParaRPr lang="en-US"/>
        </a:p>
      </dgm:t>
    </dgm:pt>
    <dgm:pt modelId="{63360F30-479E-4F68-81D6-4A4EF6A2FBA4}">
      <dgm:prSet custT="1"/>
      <dgm:spPr/>
      <dgm:t>
        <a:bodyPr/>
        <a:lstStyle/>
        <a:p>
          <a:r>
            <a:rPr lang="en-US" sz="1800" dirty="0"/>
            <a:t>Performance Tests</a:t>
          </a:r>
        </a:p>
        <a:p>
          <a:r>
            <a:rPr lang="en-US" sz="1800" dirty="0"/>
            <a:t>Load Tests</a:t>
          </a:r>
        </a:p>
      </dgm:t>
    </dgm:pt>
    <dgm:pt modelId="{525147DA-6EB4-476A-AC1C-A84184A4DC10}" type="parTrans" cxnId="{1BC1766B-8DEF-4D1C-BF0C-88144B45DBBA}">
      <dgm:prSet/>
      <dgm:spPr/>
      <dgm:t>
        <a:bodyPr/>
        <a:lstStyle/>
        <a:p>
          <a:endParaRPr lang="en-US"/>
        </a:p>
      </dgm:t>
    </dgm:pt>
    <dgm:pt modelId="{435AD031-C599-444F-B1A0-CC9873C8F970}" type="sibTrans" cxnId="{1BC1766B-8DEF-4D1C-BF0C-88144B45DBBA}">
      <dgm:prSet/>
      <dgm:spPr/>
      <dgm:t>
        <a:bodyPr/>
        <a:lstStyle/>
        <a:p>
          <a:endParaRPr lang="en-US"/>
        </a:p>
      </dgm:t>
    </dgm:pt>
    <dgm:pt modelId="{83A45DE9-95E1-4FC9-BF89-E8DA16D3F233}" type="pres">
      <dgm:prSet presAssocID="{D5A0A8DD-DF3A-4CD0-9AC6-B3D104F4E89E}" presName="diagram" presStyleCnt="0">
        <dgm:presLayoutVars>
          <dgm:chMax val="1"/>
          <dgm:dir/>
          <dgm:animLvl val="ctr"/>
          <dgm:resizeHandles val="exact"/>
        </dgm:presLayoutVars>
      </dgm:prSet>
      <dgm:spPr/>
    </dgm:pt>
    <dgm:pt modelId="{CB11E617-F91A-4DB9-B268-0049C65AFFE0}" type="pres">
      <dgm:prSet presAssocID="{D5A0A8DD-DF3A-4CD0-9AC6-B3D104F4E89E}" presName="matrix" presStyleCnt="0"/>
      <dgm:spPr/>
    </dgm:pt>
    <dgm:pt modelId="{68FB6152-D9CF-4C71-BEB7-5B0E035ED567}" type="pres">
      <dgm:prSet presAssocID="{D5A0A8DD-DF3A-4CD0-9AC6-B3D104F4E89E}" presName="tile1" presStyleLbl="node1" presStyleIdx="0" presStyleCnt="4" custLinFactNeighborX="-1852"/>
      <dgm:spPr/>
    </dgm:pt>
    <dgm:pt modelId="{A7141FD7-3F82-45BC-8462-9A7A22E7C498}" type="pres">
      <dgm:prSet presAssocID="{D5A0A8DD-DF3A-4CD0-9AC6-B3D104F4E89E}" presName="tile1text" presStyleLbl="node1" presStyleIdx="0" presStyleCnt="4">
        <dgm:presLayoutVars>
          <dgm:chMax val="0"/>
          <dgm:chPref val="0"/>
          <dgm:bulletEnabled val="1"/>
        </dgm:presLayoutVars>
      </dgm:prSet>
      <dgm:spPr/>
    </dgm:pt>
    <dgm:pt modelId="{59347C24-6C12-4789-904A-748B5192DE3A}" type="pres">
      <dgm:prSet presAssocID="{D5A0A8DD-DF3A-4CD0-9AC6-B3D104F4E89E}" presName="tile2" presStyleLbl="node1" presStyleIdx="1" presStyleCnt="4" custLinFactNeighborY="0"/>
      <dgm:spPr/>
    </dgm:pt>
    <dgm:pt modelId="{7CC63A0F-C5D1-4649-8B72-B2C6D3039D0A}" type="pres">
      <dgm:prSet presAssocID="{D5A0A8DD-DF3A-4CD0-9AC6-B3D104F4E89E}" presName="tile2text" presStyleLbl="node1" presStyleIdx="1" presStyleCnt="4">
        <dgm:presLayoutVars>
          <dgm:chMax val="0"/>
          <dgm:chPref val="0"/>
          <dgm:bulletEnabled val="1"/>
        </dgm:presLayoutVars>
      </dgm:prSet>
      <dgm:spPr/>
    </dgm:pt>
    <dgm:pt modelId="{6CD24A75-18CE-4EAF-8885-21D4109B4A7A}" type="pres">
      <dgm:prSet presAssocID="{D5A0A8DD-DF3A-4CD0-9AC6-B3D104F4E89E}" presName="tile3" presStyleLbl="node1" presStyleIdx="2" presStyleCnt="4"/>
      <dgm:spPr/>
    </dgm:pt>
    <dgm:pt modelId="{9F528E03-1973-4BB6-ADFB-EB330F8E6A0A}" type="pres">
      <dgm:prSet presAssocID="{D5A0A8DD-DF3A-4CD0-9AC6-B3D104F4E89E}" presName="tile3text" presStyleLbl="node1" presStyleIdx="2" presStyleCnt="4">
        <dgm:presLayoutVars>
          <dgm:chMax val="0"/>
          <dgm:chPref val="0"/>
          <dgm:bulletEnabled val="1"/>
        </dgm:presLayoutVars>
      </dgm:prSet>
      <dgm:spPr/>
    </dgm:pt>
    <dgm:pt modelId="{EE231894-1C54-4C71-B0B6-D1ED27620DFA}" type="pres">
      <dgm:prSet presAssocID="{D5A0A8DD-DF3A-4CD0-9AC6-B3D104F4E89E}" presName="tile4" presStyleLbl="node1" presStyleIdx="3" presStyleCnt="4"/>
      <dgm:spPr/>
    </dgm:pt>
    <dgm:pt modelId="{5E6CD971-A111-48E5-9BEE-4086150FD3A8}" type="pres">
      <dgm:prSet presAssocID="{D5A0A8DD-DF3A-4CD0-9AC6-B3D104F4E89E}" presName="tile4text" presStyleLbl="node1" presStyleIdx="3" presStyleCnt="4">
        <dgm:presLayoutVars>
          <dgm:chMax val="0"/>
          <dgm:chPref val="0"/>
          <dgm:bulletEnabled val="1"/>
        </dgm:presLayoutVars>
      </dgm:prSet>
      <dgm:spPr/>
    </dgm:pt>
    <dgm:pt modelId="{9282CE7C-0EEB-4712-BE9F-B22C0A0BA10B}" type="pres">
      <dgm:prSet presAssocID="{D5A0A8DD-DF3A-4CD0-9AC6-B3D104F4E89E}" presName="centerTile" presStyleLbl="fgShp" presStyleIdx="0" presStyleCnt="1" custFlipVert="1" custScaleX="166667" custScaleY="7843" custLinFactNeighborX="0" custLinFactNeighborY="0">
        <dgm:presLayoutVars>
          <dgm:chMax val="0"/>
          <dgm:chPref val="0"/>
        </dgm:presLayoutVars>
      </dgm:prSet>
      <dgm:spPr/>
    </dgm:pt>
  </dgm:ptLst>
  <dgm:cxnLst>
    <dgm:cxn modelId="{E0EE5C35-C638-46BA-B356-7ED289DF06ED}" srcId="{B6EF38C9-5D92-43EC-94B9-6C16E2DDE4EB}" destId="{FD7A3AEA-68BF-4D7C-B203-4DF8893DF1CE}" srcOrd="0" destOrd="0" parTransId="{45546BF6-F802-47BD-A86C-6964D6B279FF}" sibTransId="{D912425F-2025-4165-9C4E-139F956AA1C7}"/>
    <dgm:cxn modelId="{18EBD188-1427-436A-9283-C12E3FF280EA}" srcId="{B6EF38C9-5D92-43EC-94B9-6C16E2DDE4EB}" destId="{FB6D662B-3DF5-4B93-B4A5-1A172D779716}" srcOrd="2" destOrd="0" parTransId="{2CB06D7A-B627-4E5D-BC94-25B5BE50EB35}" sibTransId="{27F2433F-AC23-4859-9959-77C360C2D781}"/>
    <dgm:cxn modelId="{7F558D02-6A01-4708-94FF-5673BF1DA0E3}" srcId="{B6EF38C9-5D92-43EC-94B9-6C16E2DDE4EB}" destId="{09DC93C4-5714-44D4-8666-DC6A25229352}" srcOrd="1" destOrd="0" parTransId="{78FA9B71-33AD-4833-94BF-1EACCA420BF5}" sibTransId="{CE3A3237-8FEC-4F05-93C4-4A48F7A0607B}"/>
    <dgm:cxn modelId="{C10C149A-9BA9-47C3-8B2E-BF61F79C6867}" type="presOf" srcId="{63360F30-479E-4F68-81D6-4A4EF6A2FBA4}" destId="{5E6CD971-A111-48E5-9BEE-4086150FD3A8}" srcOrd="1" destOrd="0" presId="urn:microsoft.com/office/officeart/2005/8/layout/matrix1"/>
    <dgm:cxn modelId="{B77CC334-6081-41F1-BE66-381DE55DCC61}" type="presOf" srcId="{FD7A3AEA-68BF-4D7C-B203-4DF8893DF1CE}" destId="{A7141FD7-3F82-45BC-8462-9A7A22E7C498}" srcOrd="1" destOrd="0" presId="urn:microsoft.com/office/officeart/2005/8/layout/matrix1"/>
    <dgm:cxn modelId="{EDFA5E0B-2F42-4083-B9CD-4B931D7202D4}" type="presOf" srcId="{FD7A3AEA-68BF-4D7C-B203-4DF8893DF1CE}" destId="{68FB6152-D9CF-4C71-BEB7-5B0E035ED567}" srcOrd="0" destOrd="0" presId="urn:microsoft.com/office/officeart/2005/8/layout/matrix1"/>
    <dgm:cxn modelId="{1BC1766B-8DEF-4D1C-BF0C-88144B45DBBA}" srcId="{B6EF38C9-5D92-43EC-94B9-6C16E2DDE4EB}" destId="{63360F30-479E-4F68-81D6-4A4EF6A2FBA4}" srcOrd="3" destOrd="0" parTransId="{525147DA-6EB4-476A-AC1C-A84184A4DC10}" sibTransId="{435AD031-C599-444F-B1A0-CC9873C8F970}"/>
    <dgm:cxn modelId="{C30AED25-23F4-4AFA-841F-A2935E55B253}" type="presOf" srcId="{D5A0A8DD-DF3A-4CD0-9AC6-B3D104F4E89E}" destId="{83A45DE9-95E1-4FC9-BF89-E8DA16D3F233}" srcOrd="0" destOrd="0" presId="urn:microsoft.com/office/officeart/2005/8/layout/matrix1"/>
    <dgm:cxn modelId="{9ACBF997-325A-4351-ADEF-22D1303145F0}" type="presOf" srcId="{09DC93C4-5714-44D4-8666-DC6A25229352}" destId="{59347C24-6C12-4789-904A-748B5192DE3A}" srcOrd="0" destOrd="0" presId="urn:microsoft.com/office/officeart/2005/8/layout/matrix1"/>
    <dgm:cxn modelId="{3E145369-4693-46D5-905D-74003E0B38A6}" srcId="{D5A0A8DD-DF3A-4CD0-9AC6-B3D104F4E89E}" destId="{B6EF38C9-5D92-43EC-94B9-6C16E2DDE4EB}" srcOrd="0" destOrd="0" parTransId="{4CD5BEFE-B192-441F-B89A-478E28347E13}" sibTransId="{EF768168-2378-4625-9970-786C9EE62187}"/>
    <dgm:cxn modelId="{69BC6EB1-FACF-4D30-89AB-B2AA661D4568}" type="presOf" srcId="{FB6D662B-3DF5-4B93-B4A5-1A172D779716}" destId="{6CD24A75-18CE-4EAF-8885-21D4109B4A7A}" srcOrd="0" destOrd="0" presId="urn:microsoft.com/office/officeart/2005/8/layout/matrix1"/>
    <dgm:cxn modelId="{8A6F4924-1D6F-4445-9E51-8C08681A22AE}" type="presOf" srcId="{FB6D662B-3DF5-4B93-B4A5-1A172D779716}" destId="{9F528E03-1973-4BB6-ADFB-EB330F8E6A0A}" srcOrd="1" destOrd="0" presId="urn:microsoft.com/office/officeart/2005/8/layout/matrix1"/>
    <dgm:cxn modelId="{D8D2E591-B248-4147-B32E-CEBE18F179FE}" type="presOf" srcId="{B6EF38C9-5D92-43EC-94B9-6C16E2DDE4EB}" destId="{9282CE7C-0EEB-4712-BE9F-B22C0A0BA10B}" srcOrd="0" destOrd="0" presId="urn:microsoft.com/office/officeart/2005/8/layout/matrix1"/>
    <dgm:cxn modelId="{C9C0EBD4-342E-4975-A7D8-B6C6EA4CC5E7}" type="presOf" srcId="{63360F30-479E-4F68-81D6-4A4EF6A2FBA4}" destId="{EE231894-1C54-4C71-B0B6-D1ED27620DFA}" srcOrd="0" destOrd="0" presId="urn:microsoft.com/office/officeart/2005/8/layout/matrix1"/>
    <dgm:cxn modelId="{23ADAEED-282D-4A52-B487-18E1970957FC}" type="presOf" srcId="{09DC93C4-5714-44D4-8666-DC6A25229352}" destId="{7CC63A0F-C5D1-4649-8B72-B2C6D3039D0A}" srcOrd="1" destOrd="0" presId="urn:microsoft.com/office/officeart/2005/8/layout/matrix1"/>
    <dgm:cxn modelId="{166B88AE-7878-468C-9A5E-8F1B6DA9A9A8}" type="presParOf" srcId="{83A45DE9-95E1-4FC9-BF89-E8DA16D3F233}" destId="{CB11E617-F91A-4DB9-B268-0049C65AFFE0}" srcOrd="0" destOrd="0" presId="urn:microsoft.com/office/officeart/2005/8/layout/matrix1"/>
    <dgm:cxn modelId="{8865D1EA-C7EB-4CFF-9BB9-2D93DD68593B}" type="presParOf" srcId="{CB11E617-F91A-4DB9-B268-0049C65AFFE0}" destId="{68FB6152-D9CF-4C71-BEB7-5B0E035ED567}" srcOrd="0" destOrd="0" presId="urn:microsoft.com/office/officeart/2005/8/layout/matrix1"/>
    <dgm:cxn modelId="{6134E6F2-ABCB-4B91-9875-3C91AC0BFD60}" type="presParOf" srcId="{CB11E617-F91A-4DB9-B268-0049C65AFFE0}" destId="{A7141FD7-3F82-45BC-8462-9A7A22E7C498}" srcOrd="1" destOrd="0" presId="urn:microsoft.com/office/officeart/2005/8/layout/matrix1"/>
    <dgm:cxn modelId="{08E08AA7-9D76-4B69-BB4F-4379A31F2BDE}" type="presParOf" srcId="{CB11E617-F91A-4DB9-B268-0049C65AFFE0}" destId="{59347C24-6C12-4789-904A-748B5192DE3A}" srcOrd="2" destOrd="0" presId="urn:microsoft.com/office/officeart/2005/8/layout/matrix1"/>
    <dgm:cxn modelId="{43A396AE-2CE0-4D1E-AB1F-D2B3B4A4E238}" type="presParOf" srcId="{CB11E617-F91A-4DB9-B268-0049C65AFFE0}" destId="{7CC63A0F-C5D1-4649-8B72-B2C6D3039D0A}" srcOrd="3" destOrd="0" presId="urn:microsoft.com/office/officeart/2005/8/layout/matrix1"/>
    <dgm:cxn modelId="{911D55BB-7C42-4F1D-9A8D-FDBAE8678EF1}" type="presParOf" srcId="{CB11E617-F91A-4DB9-B268-0049C65AFFE0}" destId="{6CD24A75-18CE-4EAF-8885-21D4109B4A7A}" srcOrd="4" destOrd="0" presId="urn:microsoft.com/office/officeart/2005/8/layout/matrix1"/>
    <dgm:cxn modelId="{7DDC17D1-1D4B-4296-AD65-D2DFC6B97870}" type="presParOf" srcId="{CB11E617-F91A-4DB9-B268-0049C65AFFE0}" destId="{9F528E03-1973-4BB6-ADFB-EB330F8E6A0A}" srcOrd="5" destOrd="0" presId="urn:microsoft.com/office/officeart/2005/8/layout/matrix1"/>
    <dgm:cxn modelId="{303FB3F8-1FE8-4CE8-8A23-B2FD6345A05A}" type="presParOf" srcId="{CB11E617-F91A-4DB9-B268-0049C65AFFE0}" destId="{EE231894-1C54-4C71-B0B6-D1ED27620DFA}" srcOrd="6" destOrd="0" presId="urn:microsoft.com/office/officeart/2005/8/layout/matrix1"/>
    <dgm:cxn modelId="{88AB575D-0C84-4A6F-8C93-4417D6AB3E82}" type="presParOf" srcId="{CB11E617-F91A-4DB9-B268-0049C65AFFE0}" destId="{5E6CD971-A111-48E5-9BEE-4086150FD3A8}" srcOrd="7" destOrd="0" presId="urn:microsoft.com/office/officeart/2005/8/layout/matrix1"/>
    <dgm:cxn modelId="{79323E8F-F2B3-4BAD-81EA-1EE9BE9563C9}" type="presParOf" srcId="{83A45DE9-95E1-4FC9-BF89-E8DA16D3F233}" destId="{9282CE7C-0EEB-4712-BE9F-B22C0A0BA10B}"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D5A0A8DD-DF3A-4CD0-9AC6-B3D104F4E89E}"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US"/>
        </a:p>
      </dgm:t>
    </dgm:pt>
    <dgm:pt modelId="{B6EF38C9-5D92-43EC-94B9-6C16E2DDE4EB}">
      <dgm:prSet phldrT="[Text]" custT="1"/>
      <dgm:spPr/>
      <dgm:t>
        <a:bodyPr/>
        <a:lstStyle/>
        <a:p>
          <a:endParaRPr lang="en-US" sz="3200" dirty="0"/>
        </a:p>
      </dgm:t>
    </dgm:pt>
    <dgm:pt modelId="{4CD5BEFE-B192-441F-B89A-478E28347E13}" type="parTrans" cxnId="{3E145369-4693-46D5-905D-74003E0B38A6}">
      <dgm:prSet/>
      <dgm:spPr/>
      <dgm:t>
        <a:bodyPr/>
        <a:lstStyle/>
        <a:p>
          <a:endParaRPr lang="en-US"/>
        </a:p>
      </dgm:t>
    </dgm:pt>
    <dgm:pt modelId="{EF768168-2378-4625-9970-786C9EE62187}" type="sibTrans" cxnId="{3E145369-4693-46D5-905D-74003E0B38A6}">
      <dgm:prSet/>
      <dgm:spPr/>
      <dgm:t>
        <a:bodyPr/>
        <a:lstStyle/>
        <a:p>
          <a:endParaRPr lang="en-US"/>
        </a:p>
      </dgm:t>
    </dgm:pt>
    <dgm:pt modelId="{FD7A3AEA-68BF-4D7C-B203-4DF8893DF1CE}">
      <dgm:prSet custT="1"/>
      <dgm:spPr/>
      <dgm:t>
        <a:bodyPr/>
        <a:lstStyle/>
        <a:p>
          <a:pPr algn="ctr"/>
          <a:br>
            <a:rPr lang="en-US" sz="2400" dirty="0"/>
          </a:br>
          <a:br>
            <a:rPr lang="en-US" sz="2400" dirty="0"/>
          </a:br>
          <a:r>
            <a:rPr lang="en-US" sz="1600" dirty="0"/>
            <a:t>Product Specifications</a:t>
          </a:r>
        </a:p>
        <a:p>
          <a:pPr algn="ctr"/>
          <a:r>
            <a:rPr lang="en-US" sz="1600" dirty="0"/>
            <a:t>Test Ideas</a:t>
          </a:r>
        </a:p>
        <a:p>
          <a:pPr algn="ctr"/>
          <a:r>
            <a:rPr lang="en-US" sz="1600" dirty="0"/>
            <a:t>Testing</a:t>
          </a:r>
        </a:p>
      </dgm:t>
    </dgm:pt>
    <dgm:pt modelId="{45546BF6-F802-47BD-A86C-6964D6B279FF}" type="parTrans" cxnId="{E0EE5C35-C638-46BA-B356-7ED289DF06ED}">
      <dgm:prSet/>
      <dgm:spPr/>
      <dgm:t>
        <a:bodyPr/>
        <a:lstStyle/>
        <a:p>
          <a:endParaRPr lang="en-US"/>
        </a:p>
      </dgm:t>
    </dgm:pt>
    <dgm:pt modelId="{D912425F-2025-4165-9C4E-139F956AA1C7}" type="sibTrans" cxnId="{E0EE5C35-C638-46BA-B356-7ED289DF06ED}">
      <dgm:prSet/>
      <dgm:spPr/>
      <dgm:t>
        <a:bodyPr/>
        <a:lstStyle/>
        <a:p>
          <a:endParaRPr lang="en-US"/>
        </a:p>
      </dgm:t>
    </dgm:pt>
    <dgm:pt modelId="{09DC93C4-5714-44D4-8666-DC6A25229352}">
      <dgm:prSet custT="1"/>
      <dgm:spPr/>
      <dgm:t>
        <a:bodyPr/>
        <a:lstStyle/>
        <a:p>
          <a:br>
            <a:rPr lang="en-US" sz="2800" dirty="0"/>
          </a:br>
          <a:br>
            <a:rPr lang="en-US" sz="2800" dirty="0"/>
          </a:br>
          <a:r>
            <a:rPr lang="en-US" sz="1800" dirty="0"/>
            <a:t>UAT Design</a:t>
          </a:r>
        </a:p>
        <a:p>
          <a:r>
            <a:rPr lang="en-US" sz="1800" dirty="0"/>
            <a:t>Exploratory Testing</a:t>
          </a:r>
        </a:p>
        <a:p>
          <a:r>
            <a:rPr lang="en-US" sz="1800" dirty="0"/>
            <a:t>Usability Testing</a:t>
          </a:r>
        </a:p>
      </dgm:t>
    </dgm:pt>
    <dgm:pt modelId="{78FA9B71-33AD-4833-94BF-1EACCA420BF5}" type="parTrans" cxnId="{7F558D02-6A01-4708-94FF-5673BF1DA0E3}">
      <dgm:prSet/>
      <dgm:spPr/>
      <dgm:t>
        <a:bodyPr/>
        <a:lstStyle/>
        <a:p>
          <a:endParaRPr lang="en-US"/>
        </a:p>
      </dgm:t>
    </dgm:pt>
    <dgm:pt modelId="{CE3A3237-8FEC-4F05-93C4-4A48F7A0607B}" type="sibTrans" cxnId="{7F558D02-6A01-4708-94FF-5673BF1DA0E3}">
      <dgm:prSet/>
      <dgm:spPr/>
      <dgm:t>
        <a:bodyPr/>
        <a:lstStyle/>
        <a:p>
          <a:endParaRPr lang="en-US"/>
        </a:p>
      </dgm:t>
    </dgm:pt>
    <dgm:pt modelId="{FB6D662B-3DF5-4B93-B4A5-1A172D779716}">
      <dgm:prSet custT="1"/>
      <dgm:spPr/>
      <dgm:t>
        <a:bodyPr/>
        <a:lstStyle/>
        <a:p>
          <a:r>
            <a:rPr lang="en-US" sz="1600" dirty="0"/>
            <a:t>Test Ideas</a:t>
          </a:r>
        </a:p>
        <a:p>
          <a:r>
            <a:rPr lang="en-US" sz="1600" dirty="0"/>
            <a:t>Test Development</a:t>
          </a:r>
        </a:p>
        <a:p>
          <a:r>
            <a:rPr lang="en-US" sz="1600" dirty="0"/>
            <a:t>Testing</a:t>
          </a:r>
          <a:br>
            <a:rPr lang="en-US" sz="2800" dirty="0"/>
          </a:br>
          <a:br>
            <a:rPr lang="en-US" sz="2800" dirty="0"/>
          </a:br>
          <a:endParaRPr lang="en-US" sz="2800" dirty="0"/>
        </a:p>
      </dgm:t>
    </dgm:pt>
    <dgm:pt modelId="{2CB06D7A-B627-4E5D-BC94-25B5BE50EB35}" type="parTrans" cxnId="{18EBD188-1427-436A-9283-C12E3FF280EA}">
      <dgm:prSet/>
      <dgm:spPr/>
      <dgm:t>
        <a:bodyPr/>
        <a:lstStyle/>
        <a:p>
          <a:endParaRPr lang="en-US"/>
        </a:p>
      </dgm:t>
    </dgm:pt>
    <dgm:pt modelId="{27F2433F-AC23-4859-9959-77C360C2D781}" type="sibTrans" cxnId="{18EBD188-1427-436A-9283-C12E3FF280EA}">
      <dgm:prSet/>
      <dgm:spPr/>
      <dgm:t>
        <a:bodyPr/>
        <a:lstStyle/>
        <a:p>
          <a:endParaRPr lang="en-US"/>
        </a:p>
      </dgm:t>
    </dgm:pt>
    <dgm:pt modelId="{63360F30-479E-4F68-81D6-4A4EF6A2FBA4}">
      <dgm:prSet custT="1"/>
      <dgm:spPr/>
      <dgm:t>
        <a:bodyPr/>
        <a:lstStyle/>
        <a:p>
          <a:r>
            <a:rPr lang="en-US" sz="1800" dirty="0"/>
            <a:t>Test Scripts</a:t>
          </a:r>
        </a:p>
        <a:p>
          <a:r>
            <a:rPr lang="en-US" sz="1800" dirty="0"/>
            <a:t>Testing</a:t>
          </a:r>
        </a:p>
        <a:p>
          <a:r>
            <a:rPr lang="en-US" sz="1800" dirty="0"/>
            <a:t>Test Analysis</a:t>
          </a:r>
          <a:br>
            <a:rPr lang="en-US" sz="2800" dirty="0"/>
          </a:br>
          <a:endParaRPr lang="en-US" sz="2800" dirty="0"/>
        </a:p>
      </dgm:t>
    </dgm:pt>
    <dgm:pt modelId="{525147DA-6EB4-476A-AC1C-A84184A4DC10}" type="parTrans" cxnId="{1BC1766B-8DEF-4D1C-BF0C-88144B45DBBA}">
      <dgm:prSet/>
      <dgm:spPr/>
      <dgm:t>
        <a:bodyPr/>
        <a:lstStyle/>
        <a:p>
          <a:endParaRPr lang="en-US"/>
        </a:p>
      </dgm:t>
    </dgm:pt>
    <dgm:pt modelId="{435AD031-C599-444F-B1A0-CC9873C8F970}" type="sibTrans" cxnId="{1BC1766B-8DEF-4D1C-BF0C-88144B45DBBA}">
      <dgm:prSet/>
      <dgm:spPr/>
      <dgm:t>
        <a:bodyPr/>
        <a:lstStyle/>
        <a:p>
          <a:endParaRPr lang="en-US"/>
        </a:p>
      </dgm:t>
    </dgm:pt>
    <dgm:pt modelId="{83A45DE9-95E1-4FC9-BF89-E8DA16D3F233}" type="pres">
      <dgm:prSet presAssocID="{D5A0A8DD-DF3A-4CD0-9AC6-B3D104F4E89E}" presName="diagram" presStyleCnt="0">
        <dgm:presLayoutVars>
          <dgm:chMax val="1"/>
          <dgm:dir/>
          <dgm:animLvl val="ctr"/>
          <dgm:resizeHandles val="exact"/>
        </dgm:presLayoutVars>
      </dgm:prSet>
      <dgm:spPr/>
    </dgm:pt>
    <dgm:pt modelId="{CB11E617-F91A-4DB9-B268-0049C65AFFE0}" type="pres">
      <dgm:prSet presAssocID="{D5A0A8DD-DF3A-4CD0-9AC6-B3D104F4E89E}" presName="matrix" presStyleCnt="0"/>
      <dgm:spPr/>
    </dgm:pt>
    <dgm:pt modelId="{68FB6152-D9CF-4C71-BEB7-5B0E035ED567}" type="pres">
      <dgm:prSet presAssocID="{D5A0A8DD-DF3A-4CD0-9AC6-B3D104F4E89E}" presName="tile1" presStyleLbl="node1" presStyleIdx="0" presStyleCnt="4" custLinFactNeighborX="-1852"/>
      <dgm:spPr/>
    </dgm:pt>
    <dgm:pt modelId="{A7141FD7-3F82-45BC-8462-9A7A22E7C498}" type="pres">
      <dgm:prSet presAssocID="{D5A0A8DD-DF3A-4CD0-9AC6-B3D104F4E89E}" presName="tile1text" presStyleLbl="node1" presStyleIdx="0" presStyleCnt="4">
        <dgm:presLayoutVars>
          <dgm:chMax val="0"/>
          <dgm:chPref val="0"/>
          <dgm:bulletEnabled val="1"/>
        </dgm:presLayoutVars>
      </dgm:prSet>
      <dgm:spPr/>
    </dgm:pt>
    <dgm:pt modelId="{59347C24-6C12-4789-904A-748B5192DE3A}" type="pres">
      <dgm:prSet presAssocID="{D5A0A8DD-DF3A-4CD0-9AC6-B3D104F4E89E}" presName="tile2" presStyleLbl="node1" presStyleIdx="1" presStyleCnt="4" custLinFactNeighborY="0"/>
      <dgm:spPr/>
    </dgm:pt>
    <dgm:pt modelId="{7CC63A0F-C5D1-4649-8B72-B2C6D3039D0A}" type="pres">
      <dgm:prSet presAssocID="{D5A0A8DD-DF3A-4CD0-9AC6-B3D104F4E89E}" presName="tile2text" presStyleLbl="node1" presStyleIdx="1" presStyleCnt="4">
        <dgm:presLayoutVars>
          <dgm:chMax val="0"/>
          <dgm:chPref val="0"/>
          <dgm:bulletEnabled val="1"/>
        </dgm:presLayoutVars>
      </dgm:prSet>
      <dgm:spPr/>
    </dgm:pt>
    <dgm:pt modelId="{6CD24A75-18CE-4EAF-8885-21D4109B4A7A}" type="pres">
      <dgm:prSet presAssocID="{D5A0A8DD-DF3A-4CD0-9AC6-B3D104F4E89E}" presName="tile3" presStyleLbl="node1" presStyleIdx="2" presStyleCnt="4"/>
      <dgm:spPr/>
    </dgm:pt>
    <dgm:pt modelId="{9F528E03-1973-4BB6-ADFB-EB330F8E6A0A}" type="pres">
      <dgm:prSet presAssocID="{D5A0A8DD-DF3A-4CD0-9AC6-B3D104F4E89E}" presName="tile3text" presStyleLbl="node1" presStyleIdx="2" presStyleCnt="4">
        <dgm:presLayoutVars>
          <dgm:chMax val="0"/>
          <dgm:chPref val="0"/>
          <dgm:bulletEnabled val="1"/>
        </dgm:presLayoutVars>
      </dgm:prSet>
      <dgm:spPr/>
    </dgm:pt>
    <dgm:pt modelId="{EE231894-1C54-4C71-B0B6-D1ED27620DFA}" type="pres">
      <dgm:prSet presAssocID="{D5A0A8DD-DF3A-4CD0-9AC6-B3D104F4E89E}" presName="tile4" presStyleLbl="node1" presStyleIdx="3" presStyleCnt="4"/>
      <dgm:spPr/>
    </dgm:pt>
    <dgm:pt modelId="{5E6CD971-A111-48E5-9BEE-4086150FD3A8}" type="pres">
      <dgm:prSet presAssocID="{D5A0A8DD-DF3A-4CD0-9AC6-B3D104F4E89E}" presName="tile4text" presStyleLbl="node1" presStyleIdx="3" presStyleCnt="4">
        <dgm:presLayoutVars>
          <dgm:chMax val="0"/>
          <dgm:chPref val="0"/>
          <dgm:bulletEnabled val="1"/>
        </dgm:presLayoutVars>
      </dgm:prSet>
      <dgm:spPr/>
    </dgm:pt>
    <dgm:pt modelId="{9282CE7C-0EEB-4712-BE9F-B22C0A0BA10B}" type="pres">
      <dgm:prSet presAssocID="{D5A0A8DD-DF3A-4CD0-9AC6-B3D104F4E89E}" presName="centerTile" presStyleLbl="fgShp" presStyleIdx="0" presStyleCnt="1" custFlipVert="1" custScaleX="166667" custScaleY="7843" custLinFactNeighborX="0" custLinFactNeighborY="0">
        <dgm:presLayoutVars>
          <dgm:chMax val="0"/>
          <dgm:chPref val="0"/>
        </dgm:presLayoutVars>
      </dgm:prSet>
      <dgm:spPr/>
    </dgm:pt>
  </dgm:ptLst>
  <dgm:cxnLst>
    <dgm:cxn modelId="{E0EE5C35-C638-46BA-B356-7ED289DF06ED}" srcId="{B6EF38C9-5D92-43EC-94B9-6C16E2DDE4EB}" destId="{FD7A3AEA-68BF-4D7C-B203-4DF8893DF1CE}" srcOrd="0" destOrd="0" parTransId="{45546BF6-F802-47BD-A86C-6964D6B279FF}" sibTransId="{D912425F-2025-4165-9C4E-139F956AA1C7}"/>
    <dgm:cxn modelId="{65C07ABD-6876-470C-83AE-08DD95C9DD9C}" type="presOf" srcId="{B6EF38C9-5D92-43EC-94B9-6C16E2DDE4EB}" destId="{9282CE7C-0EEB-4712-BE9F-B22C0A0BA10B}" srcOrd="0" destOrd="0" presId="urn:microsoft.com/office/officeart/2005/8/layout/matrix1"/>
    <dgm:cxn modelId="{EA1E1AAE-B393-412B-BE29-CC3685BB2A1F}" type="presOf" srcId="{FB6D662B-3DF5-4B93-B4A5-1A172D779716}" destId="{9F528E03-1973-4BB6-ADFB-EB330F8E6A0A}" srcOrd="1" destOrd="0" presId="urn:microsoft.com/office/officeart/2005/8/layout/matrix1"/>
    <dgm:cxn modelId="{18EBD188-1427-436A-9283-C12E3FF280EA}" srcId="{B6EF38C9-5D92-43EC-94B9-6C16E2DDE4EB}" destId="{FB6D662B-3DF5-4B93-B4A5-1A172D779716}" srcOrd="2" destOrd="0" parTransId="{2CB06D7A-B627-4E5D-BC94-25B5BE50EB35}" sibTransId="{27F2433F-AC23-4859-9959-77C360C2D781}"/>
    <dgm:cxn modelId="{7F558D02-6A01-4708-94FF-5673BF1DA0E3}" srcId="{B6EF38C9-5D92-43EC-94B9-6C16E2DDE4EB}" destId="{09DC93C4-5714-44D4-8666-DC6A25229352}" srcOrd="1" destOrd="0" parTransId="{78FA9B71-33AD-4833-94BF-1EACCA420BF5}" sibTransId="{CE3A3237-8FEC-4F05-93C4-4A48F7A0607B}"/>
    <dgm:cxn modelId="{2AE4CE15-B500-4CAC-BCDE-69AD6A05D538}" type="presOf" srcId="{63360F30-479E-4F68-81D6-4A4EF6A2FBA4}" destId="{EE231894-1C54-4C71-B0B6-D1ED27620DFA}" srcOrd="0" destOrd="0" presId="urn:microsoft.com/office/officeart/2005/8/layout/matrix1"/>
    <dgm:cxn modelId="{4790C969-0718-455E-A1D5-307AB0B70954}" type="presOf" srcId="{FD7A3AEA-68BF-4D7C-B203-4DF8893DF1CE}" destId="{A7141FD7-3F82-45BC-8462-9A7A22E7C498}" srcOrd="1" destOrd="0" presId="urn:microsoft.com/office/officeart/2005/8/layout/matrix1"/>
    <dgm:cxn modelId="{1BC1766B-8DEF-4D1C-BF0C-88144B45DBBA}" srcId="{B6EF38C9-5D92-43EC-94B9-6C16E2DDE4EB}" destId="{63360F30-479E-4F68-81D6-4A4EF6A2FBA4}" srcOrd="3" destOrd="0" parTransId="{525147DA-6EB4-476A-AC1C-A84184A4DC10}" sibTransId="{435AD031-C599-444F-B1A0-CC9873C8F970}"/>
    <dgm:cxn modelId="{3E145369-4693-46D5-905D-74003E0B38A6}" srcId="{D5A0A8DD-DF3A-4CD0-9AC6-B3D104F4E89E}" destId="{B6EF38C9-5D92-43EC-94B9-6C16E2DDE4EB}" srcOrd="0" destOrd="0" parTransId="{4CD5BEFE-B192-441F-B89A-478E28347E13}" sibTransId="{EF768168-2378-4625-9970-786C9EE62187}"/>
    <dgm:cxn modelId="{1A955676-C142-4314-99EC-663EEC99E375}" type="presOf" srcId="{D5A0A8DD-DF3A-4CD0-9AC6-B3D104F4E89E}" destId="{83A45DE9-95E1-4FC9-BF89-E8DA16D3F233}" srcOrd="0" destOrd="0" presId="urn:microsoft.com/office/officeart/2005/8/layout/matrix1"/>
    <dgm:cxn modelId="{F81BDBCB-53F3-404E-8028-CBA235B057E0}" type="presOf" srcId="{FB6D662B-3DF5-4B93-B4A5-1A172D779716}" destId="{6CD24A75-18CE-4EAF-8885-21D4109B4A7A}" srcOrd="0" destOrd="0" presId="urn:microsoft.com/office/officeart/2005/8/layout/matrix1"/>
    <dgm:cxn modelId="{CE383B28-51C2-4B0A-9189-EA58169C3A58}" type="presOf" srcId="{09DC93C4-5714-44D4-8666-DC6A25229352}" destId="{7CC63A0F-C5D1-4649-8B72-B2C6D3039D0A}" srcOrd="1" destOrd="0" presId="urn:microsoft.com/office/officeart/2005/8/layout/matrix1"/>
    <dgm:cxn modelId="{5B3F12E5-CDC0-43ED-BBE4-5ED76E61F78C}" type="presOf" srcId="{09DC93C4-5714-44D4-8666-DC6A25229352}" destId="{59347C24-6C12-4789-904A-748B5192DE3A}" srcOrd="0" destOrd="0" presId="urn:microsoft.com/office/officeart/2005/8/layout/matrix1"/>
    <dgm:cxn modelId="{5F50B0A9-6B68-48C5-9D10-F56B4DA000C7}" type="presOf" srcId="{63360F30-479E-4F68-81D6-4A4EF6A2FBA4}" destId="{5E6CD971-A111-48E5-9BEE-4086150FD3A8}" srcOrd="1" destOrd="0" presId="urn:microsoft.com/office/officeart/2005/8/layout/matrix1"/>
    <dgm:cxn modelId="{11A2F27A-6030-4923-9C41-2F05D52A288E}" type="presOf" srcId="{FD7A3AEA-68BF-4D7C-B203-4DF8893DF1CE}" destId="{68FB6152-D9CF-4C71-BEB7-5B0E035ED567}" srcOrd="0" destOrd="0" presId="urn:microsoft.com/office/officeart/2005/8/layout/matrix1"/>
    <dgm:cxn modelId="{6A655AC0-6002-431B-8C07-B9B087803932}" type="presParOf" srcId="{83A45DE9-95E1-4FC9-BF89-E8DA16D3F233}" destId="{CB11E617-F91A-4DB9-B268-0049C65AFFE0}" srcOrd="0" destOrd="0" presId="urn:microsoft.com/office/officeart/2005/8/layout/matrix1"/>
    <dgm:cxn modelId="{8D420906-0085-4485-A240-91C56BE5D09C}" type="presParOf" srcId="{CB11E617-F91A-4DB9-B268-0049C65AFFE0}" destId="{68FB6152-D9CF-4C71-BEB7-5B0E035ED567}" srcOrd="0" destOrd="0" presId="urn:microsoft.com/office/officeart/2005/8/layout/matrix1"/>
    <dgm:cxn modelId="{CEE39262-80EE-4DFF-96DC-DB77C9A8C8C7}" type="presParOf" srcId="{CB11E617-F91A-4DB9-B268-0049C65AFFE0}" destId="{A7141FD7-3F82-45BC-8462-9A7A22E7C498}" srcOrd="1" destOrd="0" presId="urn:microsoft.com/office/officeart/2005/8/layout/matrix1"/>
    <dgm:cxn modelId="{74E18B05-37DB-42EE-BA67-4A6269C80923}" type="presParOf" srcId="{CB11E617-F91A-4DB9-B268-0049C65AFFE0}" destId="{59347C24-6C12-4789-904A-748B5192DE3A}" srcOrd="2" destOrd="0" presId="urn:microsoft.com/office/officeart/2005/8/layout/matrix1"/>
    <dgm:cxn modelId="{851A2E25-FE6A-4D08-8859-727F2D618561}" type="presParOf" srcId="{CB11E617-F91A-4DB9-B268-0049C65AFFE0}" destId="{7CC63A0F-C5D1-4649-8B72-B2C6D3039D0A}" srcOrd="3" destOrd="0" presId="urn:microsoft.com/office/officeart/2005/8/layout/matrix1"/>
    <dgm:cxn modelId="{58888989-6732-4BB5-B748-E889C7B4774C}" type="presParOf" srcId="{CB11E617-F91A-4DB9-B268-0049C65AFFE0}" destId="{6CD24A75-18CE-4EAF-8885-21D4109B4A7A}" srcOrd="4" destOrd="0" presId="urn:microsoft.com/office/officeart/2005/8/layout/matrix1"/>
    <dgm:cxn modelId="{44DDEFB2-04EC-43F1-9E3B-F961F42F9838}" type="presParOf" srcId="{CB11E617-F91A-4DB9-B268-0049C65AFFE0}" destId="{9F528E03-1973-4BB6-ADFB-EB330F8E6A0A}" srcOrd="5" destOrd="0" presId="urn:microsoft.com/office/officeart/2005/8/layout/matrix1"/>
    <dgm:cxn modelId="{CEC9D0BB-242E-4F44-9A22-1FEDCC1235BF}" type="presParOf" srcId="{CB11E617-F91A-4DB9-B268-0049C65AFFE0}" destId="{EE231894-1C54-4C71-B0B6-D1ED27620DFA}" srcOrd="6" destOrd="0" presId="urn:microsoft.com/office/officeart/2005/8/layout/matrix1"/>
    <dgm:cxn modelId="{97C8DBFF-8113-41D7-BBB0-1D11689B1D1B}" type="presParOf" srcId="{CB11E617-F91A-4DB9-B268-0049C65AFFE0}" destId="{5E6CD971-A111-48E5-9BEE-4086150FD3A8}" srcOrd="7" destOrd="0" presId="urn:microsoft.com/office/officeart/2005/8/layout/matrix1"/>
    <dgm:cxn modelId="{2358EB64-7E75-41D6-A232-A084FB18F2C5}" type="presParOf" srcId="{83A45DE9-95E1-4FC9-BF89-E8DA16D3F233}" destId="{9282CE7C-0EEB-4712-BE9F-B22C0A0BA10B}"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C7ABB0E5-740E-4B4A-AF63-F671A5899A9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76D4775-C3B1-41AD-81C1-E6242423EF29}">
      <dgm:prSet/>
      <dgm:spPr/>
      <dgm:t>
        <a:bodyPr/>
        <a:lstStyle/>
        <a:p>
          <a:pPr rtl="0"/>
          <a:r>
            <a:rPr lang="en-US" dirty="0"/>
            <a:t>Find bugs fast</a:t>
          </a:r>
        </a:p>
      </dgm:t>
    </dgm:pt>
    <dgm:pt modelId="{ECAE22E8-DFED-4B93-B425-767851EDD0DF}" type="parTrans" cxnId="{F47D6977-F181-4C72-9623-D48E9D970CA7}">
      <dgm:prSet/>
      <dgm:spPr/>
      <dgm:t>
        <a:bodyPr/>
        <a:lstStyle/>
        <a:p>
          <a:endParaRPr lang="en-US"/>
        </a:p>
      </dgm:t>
    </dgm:pt>
    <dgm:pt modelId="{6130777B-8F07-459A-9C6F-C77EE2915486}" type="sibTrans" cxnId="{F47D6977-F181-4C72-9623-D48E9D970CA7}">
      <dgm:prSet/>
      <dgm:spPr/>
      <dgm:t>
        <a:bodyPr/>
        <a:lstStyle/>
        <a:p>
          <a:endParaRPr lang="en-US"/>
        </a:p>
      </dgm:t>
    </dgm:pt>
    <dgm:pt modelId="{A8F7051E-FC74-41FB-B892-5B8B06A08306}">
      <dgm:prSet/>
      <dgm:spPr/>
      <dgm:t>
        <a:bodyPr/>
        <a:lstStyle/>
        <a:p>
          <a:pPr rtl="0"/>
          <a:r>
            <a:rPr lang="en-US" dirty="0"/>
            <a:t>Fix bugs fast – through rapid testing feedback</a:t>
          </a:r>
        </a:p>
      </dgm:t>
    </dgm:pt>
    <dgm:pt modelId="{524F9CCC-D7D7-41E8-82B8-011C459696EE}" type="parTrans" cxnId="{25114338-9F0C-4FBA-8670-BEE20975EA6B}">
      <dgm:prSet/>
      <dgm:spPr/>
      <dgm:t>
        <a:bodyPr/>
        <a:lstStyle/>
        <a:p>
          <a:endParaRPr lang="en-US"/>
        </a:p>
      </dgm:t>
    </dgm:pt>
    <dgm:pt modelId="{E632D21E-FBED-4725-A213-D80DCCEDC0E6}" type="sibTrans" cxnId="{25114338-9F0C-4FBA-8670-BEE20975EA6B}">
      <dgm:prSet/>
      <dgm:spPr/>
      <dgm:t>
        <a:bodyPr/>
        <a:lstStyle/>
        <a:p>
          <a:endParaRPr lang="en-US"/>
        </a:p>
      </dgm:t>
    </dgm:pt>
    <dgm:pt modelId="{D327E4C9-5C90-4180-8A2B-AB042006D8D6}">
      <dgm:prSet/>
      <dgm:spPr/>
      <dgm:t>
        <a:bodyPr/>
        <a:lstStyle/>
        <a:p>
          <a:pPr rtl="0"/>
          <a:r>
            <a:rPr lang="en-US" dirty="0"/>
            <a:t>Visibility</a:t>
          </a:r>
        </a:p>
      </dgm:t>
    </dgm:pt>
    <dgm:pt modelId="{79D13A9E-686E-41CC-A818-4C22FAF9316A}" type="parTrans" cxnId="{CEC901E0-3D4B-4260-A5B7-D0D54732D1C4}">
      <dgm:prSet/>
      <dgm:spPr/>
      <dgm:t>
        <a:bodyPr/>
        <a:lstStyle/>
        <a:p>
          <a:endParaRPr lang="en-US"/>
        </a:p>
      </dgm:t>
    </dgm:pt>
    <dgm:pt modelId="{E0E7E2B3-343A-4830-BB4B-6CAD95BA0EBF}" type="sibTrans" cxnId="{CEC901E0-3D4B-4260-A5B7-D0D54732D1C4}">
      <dgm:prSet/>
      <dgm:spPr/>
      <dgm:t>
        <a:bodyPr/>
        <a:lstStyle/>
        <a:p>
          <a:endParaRPr lang="en-US"/>
        </a:p>
      </dgm:t>
    </dgm:pt>
    <dgm:pt modelId="{BB815C70-B513-4141-A3CC-AC49E597B87D}">
      <dgm:prSet/>
      <dgm:spPr/>
      <dgm:t>
        <a:bodyPr/>
        <a:lstStyle/>
        <a:p>
          <a:pPr rtl="0"/>
          <a:r>
            <a:rPr lang="en-US" dirty="0"/>
            <a:t>Transparency</a:t>
          </a:r>
        </a:p>
      </dgm:t>
    </dgm:pt>
    <dgm:pt modelId="{6B77CEA4-08FE-4202-BFC6-33399C233380}" type="parTrans" cxnId="{1069F80C-E823-4AFB-9657-F06A61C869B9}">
      <dgm:prSet/>
      <dgm:spPr/>
      <dgm:t>
        <a:bodyPr/>
        <a:lstStyle/>
        <a:p>
          <a:endParaRPr lang="en-US"/>
        </a:p>
      </dgm:t>
    </dgm:pt>
    <dgm:pt modelId="{472A0A9D-7925-4871-B282-DD471E8D1AA9}" type="sibTrans" cxnId="{1069F80C-E823-4AFB-9657-F06A61C869B9}">
      <dgm:prSet/>
      <dgm:spPr/>
      <dgm:t>
        <a:bodyPr/>
        <a:lstStyle/>
        <a:p>
          <a:endParaRPr lang="en-US"/>
        </a:p>
      </dgm:t>
    </dgm:pt>
    <dgm:pt modelId="{115B4B3F-9482-4D4F-9217-183EF441A8ED}">
      <dgm:prSet/>
      <dgm:spPr/>
      <dgm:t>
        <a:bodyPr/>
        <a:lstStyle/>
        <a:p>
          <a:pPr rtl="0"/>
          <a:r>
            <a:rPr lang="en-US" dirty="0"/>
            <a:t>Auditability</a:t>
          </a:r>
        </a:p>
      </dgm:t>
    </dgm:pt>
    <dgm:pt modelId="{784EBF05-77EB-4BF4-8805-F8F2EC76A452}" type="parTrans" cxnId="{EC279266-5D1B-4D1D-95D0-34AA9B29A9B7}">
      <dgm:prSet/>
      <dgm:spPr/>
      <dgm:t>
        <a:bodyPr/>
        <a:lstStyle/>
        <a:p>
          <a:endParaRPr lang="en-US"/>
        </a:p>
      </dgm:t>
    </dgm:pt>
    <dgm:pt modelId="{4CF0B368-4C46-47D9-98F3-27985948D26F}" type="sibTrans" cxnId="{EC279266-5D1B-4D1D-95D0-34AA9B29A9B7}">
      <dgm:prSet/>
      <dgm:spPr/>
      <dgm:t>
        <a:bodyPr/>
        <a:lstStyle/>
        <a:p>
          <a:endParaRPr lang="en-US"/>
        </a:p>
      </dgm:t>
    </dgm:pt>
    <dgm:pt modelId="{68E4C4E9-4A76-4AA4-9C63-E8766A1D8160}">
      <dgm:prSet/>
      <dgm:spPr/>
      <dgm:t>
        <a:bodyPr/>
        <a:lstStyle/>
        <a:p>
          <a:pPr rtl="0"/>
          <a:r>
            <a:rPr lang="en-US" dirty="0"/>
            <a:t>Maximize testing value</a:t>
          </a:r>
        </a:p>
      </dgm:t>
    </dgm:pt>
    <dgm:pt modelId="{C8E2ACF8-8230-461C-ABF9-C421CD7C960E}" type="parTrans" cxnId="{9FF4A498-F022-45BC-BAC1-8A04EFD68234}">
      <dgm:prSet/>
      <dgm:spPr/>
      <dgm:t>
        <a:bodyPr/>
        <a:lstStyle/>
        <a:p>
          <a:endParaRPr lang="en-US"/>
        </a:p>
      </dgm:t>
    </dgm:pt>
    <dgm:pt modelId="{3B0305B3-E120-4BCF-B891-CBD44DD6F72A}" type="sibTrans" cxnId="{9FF4A498-F022-45BC-BAC1-8A04EFD68234}">
      <dgm:prSet/>
      <dgm:spPr/>
      <dgm:t>
        <a:bodyPr/>
        <a:lstStyle/>
        <a:p>
          <a:endParaRPr lang="en-US"/>
        </a:p>
      </dgm:t>
    </dgm:pt>
    <dgm:pt modelId="{0DAB50B3-36F2-418E-9C70-54E0066098F8}" type="pres">
      <dgm:prSet presAssocID="{C7ABB0E5-740E-4B4A-AF63-F671A5899A97}" presName="linear" presStyleCnt="0">
        <dgm:presLayoutVars>
          <dgm:animLvl val="lvl"/>
          <dgm:resizeHandles val="exact"/>
        </dgm:presLayoutVars>
      </dgm:prSet>
      <dgm:spPr/>
    </dgm:pt>
    <dgm:pt modelId="{5F90ED1D-3FF0-4417-8193-9190BC7F0E21}" type="pres">
      <dgm:prSet presAssocID="{676D4775-C3B1-41AD-81C1-E6242423EF29}" presName="parentText" presStyleLbl="node1" presStyleIdx="0" presStyleCnt="6" custLinFactY="-6284" custLinFactNeighborY="-100000">
        <dgm:presLayoutVars>
          <dgm:chMax val="0"/>
          <dgm:bulletEnabled val="1"/>
        </dgm:presLayoutVars>
      </dgm:prSet>
      <dgm:spPr/>
    </dgm:pt>
    <dgm:pt modelId="{279B0611-9311-4058-A21F-049CB7B99176}" type="pres">
      <dgm:prSet presAssocID="{6130777B-8F07-459A-9C6F-C77EE2915486}" presName="spacer" presStyleCnt="0"/>
      <dgm:spPr/>
    </dgm:pt>
    <dgm:pt modelId="{07665729-5B3A-4D5E-B5E9-DB7B2C5BA8C6}" type="pres">
      <dgm:prSet presAssocID="{A8F7051E-FC74-41FB-B892-5B8B06A08306}" presName="parentText" presStyleLbl="node1" presStyleIdx="1" presStyleCnt="6">
        <dgm:presLayoutVars>
          <dgm:chMax val="0"/>
          <dgm:bulletEnabled val="1"/>
        </dgm:presLayoutVars>
      </dgm:prSet>
      <dgm:spPr/>
    </dgm:pt>
    <dgm:pt modelId="{8768F864-9C29-4CDF-9B80-9245DF99F627}" type="pres">
      <dgm:prSet presAssocID="{E632D21E-FBED-4725-A213-D80DCCEDC0E6}" presName="spacer" presStyleCnt="0"/>
      <dgm:spPr/>
    </dgm:pt>
    <dgm:pt modelId="{AF8EA56A-7273-4F24-8822-1BB78CC902BB}" type="pres">
      <dgm:prSet presAssocID="{D327E4C9-5C90-4180-8A2B-AB042006D8D6}" presName="parentText" presStyleLbl="node1" presStyleIdx="2" presStyleCnt="6">
        <dgm:presLayoutVars>
          <dgm:chMax val="0"/>
          <dgm:bulletEnabled val="1"/>
        </dgm:presLayoutVars>
      </dgm:prSet>
      <dgm:spPr/>
    </dgm:pt>
    <dgm:pt modelId="{EBE355F9-73E0-48DD-8C9D-05CC3836BBD9}" type="pres">
      <dgm:prSet presAssocID="{E0E7E2B3-343A-4830-BB4B-6CAD95BA0EBF}" presName="spacer" presStyleCnt="0"/>
      <dgm:spPr/>
    </dgm:pt>
    <dgm:pt modelId="{90BA9304-BA07-489E-8727-2FE22D241796}" type="pres">
      <dgm:prSet presAssocID="{BB815C70-B513-4141-A3CC-AC49E597B87D}" presName="parentText" presStyleLbl="node1" presStyleIdx="3" presStyleCnt="6">
        <dgm:presLayoutVars>
          <dgm:chMax val="0"/>
          <dgm:bulletEnabled val="1"/>
        </dgm:presLayoutVars>
      </dgm:prSet>
      <dgm:spPr/>
    </dgm:pt>
    <dgm:pt modelId="{48A2C1C0-E9B5-469F-A358-EF6D25CFC50E}" type="pres">
      <dgm:prSet presAssocID="{472A0A9D-7925-4871-B282-DD471E8D1AA9}" presName="spacer" presStyleCnt="0"/>
      <dgm:spPr/>
    </dgm:pt>
    <dgm:pt modelId="{1217868A-E140-43DC-A07D-5EB7D7935997}" type="pres">
      <dgm:prSet presAssocID="{115B4B3F-9482-4D4F-9217-183EF441A8ED}" presName="parentText" presStyleLbl="node1" presStyleIdx="4" presStyleCnt="6">
        <dgm:presLayoutVars>
          <dgm:chMax val="0"/>
          <dgm:bulletEnabled val="1"/>
        </dgm:presLayoutVars>
      </dgm:prSet>
      <dgm:spPr/>
    </dgm:pt>
    <dgm:pt modelId="{A6BCB776-0C8F-4FBC-B020-406BD36EC1F6}" type="pres">
      <dgm:prSet presAssocID="{4CF0B368-4C46-47D9-98F3-27985948D26F}" presName="spacer" presStyleCnt="0"/>
      <dgm:spPr/>
    </dgm:pt>
    <dgm:pt modelId="{AEC16343-DC92-4B6D-A549-6C0CA71E980D}" type="pres">
      <dgm:prSet presAssocID="{68E4C4E9-4A76-4AA4-9C63-E8766A1D8160}" presName="parentText" presStyleLbl="node1" presStyleIdx="5" presStyleCnt="6">
        <dgm:presLayoutVars>
          <dgm:chMax val="0"/>
          <dgm:bulletEnabled val="1"/>
        </dgm:presLayoutVars>
      </dgm:prSet>
      <dgm:spPr/>
    </dgm:pt>
  </dgm:ptLst>
  <dgm:cxnLst>
    <dgm:cxn modelId="{9FF4A498-F022-45BC-BAC1-8A04EFD68234}" srcId="{C7ABB0E5-740E-4B4A-AF63-F671A5899A97}" destId="{68E4C4E9-4A76-4AA4-9C63-E8766A1D8160}" srcOrd="5" destOrd="0" parTransId="{C8E2ACF8-8230-461C-ABF9-C421CD7C960E}" sibTransId="{3B0305B3-E120-4BCF-B891-CBD44DD6F72A}"/>
    <dgm:cxn modelId="{090D37B1-6A03-464B-9C0F-42035075D17B}" type="presOf" srcId="{68E4C4E9-4A76-4AA4-9C63-E8766A1D8160}" destId="{AEC16343-DC92-4B6D-A549-6C0CA71E980D}" srcOrd="0" destOrd="0" presId="urn:microsoft.com/office/officeart/2005/8/layout/vList2"/>
    <dgm:cxn modelId="{F47D6977-F181-4C72-9623-D48E9D970CA7}" srcId="{C7ABB0E5-740E-4B4A-AF63-F671A5899A97}" destId="{676D4775-C3B1-41AD-81C1-E6242423EF29}" srcOrd="0" destOrd="0" parTransId="{ECAE22E8-DFED-4B93-B425-767851EDD0DF}" sibTransId="{6130777B-8F07-459A-9C6F-C77EE2915486}"/>
    <dgm:cxn modelId="{2DEFA428-6B48-4D10-BE44-A08E8C212C71}" type="presOf" srcId="{BB815C70-B513-4141-A3CC-AC49E597B87D}" destId="{90BA9304-BA07-489E-8727-2FE22D241796}" srcOrd="0" destOrd="0" presId="urn:microsoft.com/office/officeart/2005/8/layout/vList2"/>
    <dgm:cxn modelId="{EC279266-5D1B-4D1D-95D0-34AA9B29A9B7}" srcId="{C7ABB0E5-740E-4B4A-AF63-F671A5899A97}" destId="{115B4B3F-9482-4D4F-9217-183EF441A8ED}" srcOrd="4" destOrd="0" parTransId="{784EBF05-77EB-4BF4-8805-F8F2EC76A452}" sibTransId="{4CF0B368-4C46-47D9-98F3-27985948D26F}"/>
    <dgm:cxn modelId="{F8993950-511D-4362-8936-152D0B88B295}" type="presOf" srcId="{A8F7051E-FC74-41FB-B892-5B8B06A08306}" destId="{07665729-5B3A-4D5E-B5E9-DB7B2C5BA8C6}" srcOrd="0" destOrd="0" presId="urn:microsoft.com/office/officeart/2005/8/layout/vList2"/>
    <dgm:cxn modelId="{1069F80C-E823-4AFB-9657-F06A61C869B9}" srcId="{C7ABB0E5-740E-4B4A-AF63-F671A5899A97}" destId="{BB815C70-B513-4141-A3CC-AC49E597B87D}" srcOrd="3" destOrd="0" parTransId="{6B77CEA4-08FE-4202-BFC6-33399C233380}" sibTransId="{472A0A9D-7925-4871-B282-DD471E8D1AA9}"/>
    <dgm:cxn modelId="{CEC901E0-3D4B-4260-A5B7-D0D54732D1C4}" srcId="{C7ABB0E5-740E-4B4A-AF63-F671A5899A97}" destId="{D327E4C9-5C90-4180-8A2B-AB042006D8D6}" srcOrd="2" destOrd="0" parTransId="{79D13A9E-686E-41CC-A818-4C22FAF9316A}" sibTransId="{E0E7E2B3-343A-4830-BB4B-6CAD95BA0EBF}"/>
    <dgm:cxn modelId="{CEA4C3C9-B8AC-4C14-903B-40181561C1AB}" type="presOf" srcId="{D327E4C9-5C90-4180-8A2B-AB042006D8D6}" destId="{AF8EA56A-7273-4F24-8822-1BB78CC902BB}" srcOrd="0" destOrd="0" presId="urn:microsoft.com/office/officeart/2005/8/layout/vList2"/>
    <dgm:cxn modelId="{4E0C7ED2-37C9-411F-979D-76DF4AC76FEF}" type="presOf" srcId="{C7ABB0E5-740E-4B4A-AF63-F671A5899A97}" destId="{0DAB50B3-36F2-418E-9C70-54E0066098F8}" srcOrd="0" destOrd="0" presId="urn:microsoft.com/office/officeart/2005/8/layout/vList2"/>
    <dgm:cxn modelId="{B8BD20FB-B77F-49F7-9C07-2DD25D82ED42}" type="presOf" srcId="{676D4775-C3B1-41AD-81C1-E6242423EF29}" destId="{5F90ED1D-3FF0-4417-8193-9190BC7F0E21}" srcOrd="0" destOrd="0" presId="urn:microsoft.com/office/officeart/2005/8/layout/vList2"/>
    <dgm:cxn modelId="{4B1CE6FD-ECD0-471B-9C2A-51EE3A60429B}" type="presOf" srcId="{115B4B3F-9482-4D4F-9217-183EF441A8ED}" destId="{1217868A-E140-43DC-A07D-5EB7D7935997}" srcOrd="0" destOrd="0" presId="urn:microsoft.com/office/officeart/2005/8/layout/vList2"/>
    <dgm:cxn modelId="{25114338-9F0C-4FBA-8670-BEE20975EA6B}" srcId="{C7ABB0E5-740E-4B4A-AF63-F671A5899A97}" destId="{A8F7051E-FC74-41FB-B892-5B8B06A08306}" srcOrd="1" destOrd="0" parTransId="{524F9CCC-D7D7-41E8-82B8-011C459696EE}" sibTransId="{E632D21E-FBED-4725-A213-D80DCCEDC0E6}"/>
    <dgm:cxn modelId="{1E69925B-3CAC-4B83-89DC-07D3AB84F564}" type="presParOf" srcId="{0DAB50B3-36F2-418E-9C70-54E0066098F8}" destId="{5F90ED1D-3FF0-4417-8193-9190BC7F0E21}" srcOrd="0" destOrd="0" presId="urn:microsoft.com/office/officeart/2005/8/layout/vList2"/>
    <dgm:cxn modelId="{A77EF165-4E63-4018-AB31-F596D6F932E4}" type="presParOf" srcId="{0DAB50B3-36F2-418E-9C70-54E0066098F8}" destId="{279B0611-9311-4058-A21F-049CB7B99176}" srcOrd="1" destOrd="0" presId="urn:microsoft.com/office/officeart/2005/8/layout/vList2"/>
    <dgm:cxn modelId="{5AF7440F-75C8-4BF2-B9D5-336B030F7689}" type="presParOf" srcId="{0DAB50B3-36F2-418E-9C70-54E0066098F8}" destId="{07665729-5B3A-4D5E-B5E9-DB7B2C5BA8C6}" srcOrd="2" destOrd="0" presId="urn:microsoft.com/office/officeart/2005/8/layout/vList2"/>
    <dgm:cxn modelId="{7D61E566-550A-47B2-90FC-F8BB048AB52B}" type="presParOf" srcId="{0DAB50B3-36F2-418E-9C70-54E0066098F8}" destId="{8768F864-9C29-4CDF-9B80-9245DF99F627}" srcOrd="3" destOrd="0" presId="urn:microsoft.com/office/officeart/2005/8/layout/vList2"/>
    <dgm:cxn modelId="{FAB7189B-2E73-4C78-81DD-3585894E7325}" type="presParOf" srcId="{0DAB50B3-36F2-418E-9C70-54E0066098F8}" destId="{AF8EA56A-7273-4F24-8822-1BB78CC902BB}" srcOrd="4" destOrd="0" presId="urn:microsoft.com/office/officeart/2005/8/layout/vList2"/>
    <dgm:cxn modelId="{DCB4BDC9-FBD4-432A-A6C7-20320075B84F}" type="presParOf" srcId="{0DAB50B3-36F2-418E-9C70-54E0066098F8}" destId="{EBE355F9-73E0-48DD-8C9D-05CC3836BBD9}" srcOrd="5" destOrd="0" presId="urn:microsoft.com/office/officeart/2005/8/layout/vList2"/>
    <dgm:cxn modelId="{520505F3-5A4E-4064-A107-A4E38F77C472}" type="presParOf" srcId="{0DAB50B3-36F2-418E-9C70-54E0066098F8}" destId="{90BA9304-BA07-489E-8727-2FE22D241796}" srcOrd="6" destOrd="0" presId="urn:microsoft.com/office/officeart/2005/8/layout/vList2"/>
    <dgm:cxn modelId="{683E2CEB-5760-46C8-91E2-0BF3BB74999C}" type="presParOf" srcId="{0DAB50B3-36F2-418E-9C70-54E0066098F8}" destId="{48A2C1C0-E9B5-469F-A358-EF6D25CFC50E}" srcOrd="7" destOrd="0" presId="urn:microsoft.com/office/officeart/2005/8/layout/vList2"/>
    <dgm:cxn modelId="{2A21F4E7-4433-4CD8-B688-A5C2CF4198A1}" type="presParOf" srcId="{0DAB50B3-36F2-418E-9C70-54E0066098F8}" destId="{1217868A-E140-43DC-A07D-5EB7D7935997}" srcOrd="8" destOrd="0" presId="urn:microsoft.com/office/officeart/2005/8/layout/vList2"/>
    <dgm:cxn modelId="{F0607394-C4C6-4E3E-8B6F-41D04728307A}" type="presParOf" srcId="{0DAB50B3-36F2-418E-9C70-54E0066098F8}" destId="{A6BCB776-0C8F-4FBC-B020-406BD36EC1F6}" srcOrd="9" destOrd="0" presId="urn:microsoft.com/office/officeart/2005/8/layout/vList2"/>
    <dgm:cxn modelId="{C99455BB-66CC-47DC-A25C-F7888B295C70}" type="presParOf" srcId="{0DAB50B3-36F2-418E-9C70-54E0066098F8}" destId="{AEC16343-DC92-4B6D-A549-6C0CA71E980D}"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9D4931AC-1EBF-4131-BE5E-029F9D28089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308CC33F-B29D-4E86-BD57-D25F4BCC77B2}">
      <dgm:prSet phldrT="[Text]"/>
      <dgm:spPr/>
      <dgm:t>
        <a:bodyPr/>
        <a:lstStyle/>
        <a:p>
          <a:r>
            <a:rPr lang="en-US" dirty="0"/>
            <a:t>“What’s the status of testing?”</a:t>
          </a:r>
        </a:p>
      </dgm:t>
    </dgm:pt>
    <dgm:pt modelId="{A1617E39-26B4-45D7-9634-E17D1BBA7357}" type="parTrans" cxnId="{2A7480F0-3D73-43EF-ACCC-C16588881AD8}">
      <dgm:prSet/>
      <dgm:spPr/>
      <dgm:t>
        <a:bodyPr/>
        <a:lstStyle/>
        <a:p>
          <a:endParaRPr lang="en-US"/>
        </a:p>
      </dgm:t>
    </dgm:pt>
    <dgm:pt modelId="{340248AB-34F1-4191-98E8-6D30E8C82C3E}" type="sibTrans" cxnId="{2A7480F0-3D73-43EF-ACCC-C16588881AD8}">
      <dgm:prSet/>
      <dgm:spPr/>
      <dgm:t>
        <a:bodyPr/>
        <a:lstStyle/>
        <a:p>
          <a:endParaRPr lang="en-US"/>
        </a:p>
      </dgm:t>
    </dgm:pt>
    <dgm:pt modelId="{6B59A868-0909-4CB9-85EB-BD9A34E8E7A3}">
      <dgm:prSet/>
      <dgm:spPr/>
      <dgm:t>
        <a:bodyPr/>
        <a:lstStyle/>
        <a:p>
          <a:r>
            <a:rPr lang="en-US" dirty="0"/>
            <a:t>“What are you doing today?”</a:t>
          </a:r>
        </a:p>
      </dgm:t>
    </dgm:pt>
    <dgm:pt modelId="{EBFF6F5A-8440-49B4-90FD-B3CD0838D6C1}" type="parTrans" cxnId="{67CEE9F3-6A67-42D6-A7DB-42ECC9124E8E}">
      <dgm:prSet/>
      <dgm:spPr/>
      <dgm:t>
        <a:bodyPr/>
        <a:lstStyle/>
        <a:p>
          <a:endParaRPr lang="en-US"/>
        </a:p>
      </dgm:t>
    </dgm:pt>
    <dgm:pt modelId="{0E5A86E8-F695-432B-A9D7-95E29F522EF2}" type="sibTrans" cxnId="{67CEE9F3-6A67-42D6-A7DB-42ECC9124E8E}">
      <dgm:prSet/>
      <dgm:spPr/>
      <dgm:t>
        <a:bodyPr/>
        <a:lstStyle/>
        <a:p>
          <a:endParaRPr lang="en-US"/>
        </a:p>
      </dgm:t>
    </dgm:pt>
    <dgm:pt modelId="{A894ADD8-5AD0-4374-8EDC-F6EC490EAE97}">
      <dgm:prSet/>
      <dgm:spPr/>
      <dgm:t>
        <a:bodyPr/>
        <a:lstStyle/>
        <a:p>
          <a:r>
            <a:rPr lang="en-US" dirty="0"/>
            <a:t>“When will you be finished?”</a:t>
          </a:r>
        </a:p>
      </dgm:t>
    </dgm:pt>
    <dgm:pt modelId="{36CEA519-876E-46F4-84F4-9985CC1BB700}" type="parTrans" cxnId="{FA3AB670-C178-43CB-904E-F1529A996539}">
      <dgm:prSet/>
      <dgm:spPr/>
      <dgm:t>
        <a:bodyPr/>
        <a:lstStyle/>
        <a:p>
          <a:endParaRPr lang="en-US"/>
        </a:p>
      </dgm:t>
    </dgm:pt>
    <dgm:pt modelId="{57428561-392C-4842-9E00-EDB1CCDA5178}" type="sibTrans" cxnId="{FA3AB670-C178-43CB-904E-F1529A996539}">
      <dgm:prSet/>
      <dgm:spPr/>
      <dgm:t>
        <a:bodyPr/>
        <a:lstStyle/>
        <a:p>
          <a:endParaRPr lang="en-US"/>
        </a:p>
      </dgm:t>
    </dgm:pt>
    <dgm:pt modelId="{989454C1-97EF-47B3-8D66-AB47ED2C56DF}">
      <dgm:prSet/>
      <dgm:spPr/>
      <dgm:t>
        <a:bodyPr/>
        <a:lstStyle/>
        <a:p>
          <a:r>
            <a:rPr lang="en-US" dirty="0"/>
            <a:t>“Why is it taking so long?”</a:t>
          </a:r>
        </a:p>
      </dgm:t>
    </dgm:pt>
    <dgm:pt modelId="{820B1A15-E81C-427D-9214-FB2C72281278}" type="parTrans" cxnId="{114F9D52-DD39-42DB-9A64-768891B03CC0}">
      <dgm:prSet/>
      <dgm:spPr/>
      <dgm:t>
        <a:bodyPr/>
        <a:lstStyle/>
        <a:p>
          <a:endParaRPr lang="en-US"/>
        </a:p>
      </dgm:t>
    </dgm:pt>
    <dgm:pt modelId="{BABE62F4-8DA4-456B-AB9D-BD0CEA1AF7AA}" type="sibTrans" cxnId="{114F9D52-DD39-42DB-9A64-768891B03CC0}">
      <dgm:prSet/>
      <dgm:spPr/>
      <dgm:t>
        <a:bodyPr/>
        <a:lstStyle/>
        <a:p>
          <a:endParaRPr lang="en-US"/>
        </a:p>
      </dgm:t>
    </dgm:pt>
    <dgm:pt modelId="{DEF67A85-CD45-4522-88AF-8CE2F915F058}">
      <dgm:prSet/>
      <dgm:spPr/>
      <dgm:t>
        <a:bodyPr/>
        <a:lstStyle/>
        <a:p>
          <a:r>
            <a:rPr lang="en-US" dirty="0"/>
            <a:t>“Have you tested _______, yet?”</a:t>
          </a:r>
        </a:p>
      </dgm:t>
    </dgm:pt>
    <dgm:pt modelId="{7F8A5208-35EA-4DEE-9839-6DCBB474EE0B}" type="parTrans" cxnId="{E09C3501-FEFF-4D1D-89CF-280285F1791C}">
      <dgm:prSet/>
      <dgm:spPr/>
      <dgm:t>
        <a:bodyPr/>
        <a:lstStyle/>
        <a:p>
          <a:endParaRPr lang="en-US"/>
        </a:p>
      </dgm:t>
    </dgm:pt>
    <dgm:pt modelId="{66CF185B-ED8E-4133-B885-492FA5318CED}" type="sibTrans" cxnId="{E09C3501-FEFF-4D1D-89CF-280285F1791C}">
      <dgm:prSet/>
      <dgm:spPr/>
      <dgm:t>
        <a:bodyPr/>
        <a:lstStyle/>
        <a:p>
          <a:endParaRPr lang="en-US"/>
        </a:p>
      </dgm:t>
    </dgm:pt>
    <dgm:pt modelId="{C59E6BA7-E46D-4103-BE88-F424541BED47}" type="pres">
      <dgm:prSet presAssocID="{9D4931AC-1EBF-4131-BE5E-029F9D280894}" presName="Name0" presStyleCnt="0">
        <dgm:presLayoutVars>
          <dgm:dir/>
          <dgm:animLvl val="lvl"/>
          <dgm:resizeHandles val="exact"/>
        </dgm:presLayoutVars>
      </dgm:prSet>
      <dgm:spPr/>
    </dgm:pt>
    <dgm:pt modelId="{47B59638-0905-43D7-91E7-BAA0A3147F75}" type="pres">
      <dgm:prSet presAssocID="{308CC33F-B29D-4E86-BD57-D25F4BCC77B2}" presName="linNode" presStyleCnt="0"/>
      <dgm:spPr/>
    </dgm:pt>
    <dgm:pt modelId="{E1BCD665-680E-4807-947B-18DD955052D9}" type="pres">
      <dgm:prSet presAssocID="{308CC33F-B29D-4E86-BD57-D25F4BCC77B2}" presName="parentText" presStyleLbl="node1" presStyleIdx="0" presStyleCnt="5" custScaleX="185185">
        <dgm:presLayoutVars>
          <dgm:chMax val="1"/>
          <dgm:bulletEnabled val="1"/>
        </dgm:presLayoutVars>
      </dgm:prSet>
      <dgm:spPr/>
    </dgm:pt>
    <dgm:pt modelId="{D9951888-6CB1-486E-BEB1-9C8F086F0EF3}" type="pres">
      <dgm:prSet presAssocID="{340248AB-34F1-4191-98E8-6D30E8C82C3E}" presName="sp" presStyleCnt="0"/>
      <dgm:spPr/>
    </dgm:pt>
    <dgm:pt modelId="{46887A94-FC64-4D77-A22B-3CE470AFEBB9}" type="pres">
      <dgm:prSet presAssocID="{6B59A868-0909-4CB9-85EB-BD9A34E8E7A3}" presName="linNode" presStyleCnt="0"/>
      <dgm:spPr/>
    </dgm:pt>
    <dgm:pt modelId="{150A9BB8-C5AA-4BB1-AE82-C05A75848CB2}" type="pres">
      <dgm:prSet presAssocID="{6B59A868-0909-4CB9-85EB-BD9A34E8E7A3}" presName="parentText" presStyleLbl="node1" presStyleIdx="1" presStyleCnt="5" custScaleX="185185">
        <dgm:presLayoutVars>
          <dgm:chMax val="1"/>
          <dgm:bulletEnabled val="1"/>
        </dgm:presLayoutVars>
      </dgm:prSet>
      <dgm:spPr/>
    </dgm:pt>
    <dgm:pt modelId="{9118E270-1CA8-445F-A5C2-590D0712F000}" type="pres">
      <dgm:prSet presAssocID="{0E5A86E8-F695-432B-A9D7-95E29F522EF2}" presName="sp" presStyleCnt="0"/>
      <dgm:spPr/>
    </dgm:pt>
    <dgm:pt modelId="{424B3465-E741-4422-857C-8DA9EE49F0B3}" type="pres">
      <dgm:prSet presAssocID="{A894ADD8-5AD0-4374-8EDC-F6EC490EAE97}" presName="linNode" presStyleCnt="0"/>
      <dgm:spPr/>
    </dgm:pt>
    <dgm:pt modelId="{39BED9C5-1A1D-4EB3-B564-E10F4CBA997D}" type="pres">
      <dgm:prSet presAssocID="{A894ADD8-5AD0-4374-8EDC-F6EC490EAE97}" presName="parentText" presStyleLbl="node1" presStyleIdx="2" presStyleCnt="5" custScaleX="185185">
        <dgm:presLayoutVars>
          <dgm:chMax val="1"/>
          <dgm:bulletEnabled val="1"/>
        </dgm:presLayoutVars>
      </dgm:prSet>
      <dgm:spPr/>
    </dgm:pt>
    <dgm:pt modelId="{26F74931-B827-47EA-BBCE-D8531907650E}" type="pres">
      <dgm:prSet presAssocID="{57428561-392C-4842-9E00-EDB1CCDA5178}" presName="sp" presStyleCnt="0"/>
      <dgm:spPr/>
    </dgm:pt>
    <dgm:pt modelId="{7ED1FA1D-70E1-4BC6-A66A-8D8B3B78A923}" type="pres">
      <dgm:prSet presAssocID="{989454C1-97EF-47B3-8D66-AB47ED2C56DF}" presName="linNode" presStyleCnt="0"/>
      <dgm:spPr/>
    </dgm:pt>
    <dgm:pt modelId="{8E814065-F02E-4CB7-8FF0-47902D01FC00}" type="pres">
      <dgm:prSet presAssocID="{989454C1-97EF-47B3-8D66-AB47ED2C56DF}" presName="parentText" presStyleLbl="node1" presStyleIdx="3" presStyleCnt="5" custScaleX="185185">
        <dgm:presLayoutVars>
          <dgm:chMax val="1"/>
          <dgm:bulletEnabled val="1"/>
        </dgm:presLayoutVars>
      </dgm:prSet>
      <dgm:spPr/>
    </dgm:pt>
    <dgm:pt modelId="{333D38A6-C18E-412F-BA43-38C1A366783C}" type="pres">
      <dgm:prSet presAssocID="{BABE62F4-8DA4-456B-AB9D-BD0CEA1AF7AA}" presName="sp" presStyleCnt="0"/>
      <dgm:spPr/>
    </dgm:pt>
    <dgm:pt modelId="{52A76F7B-5DBA-4321-802C-E3BDD1551C97}" type="pres">
      <dgm:prSet presAssocID="{DEF67A85-CD45-4522-88AF-8CE2F915F058}" presName="linNode" presStyleCnt="0"/>
      <dgm:spPr/>
    </dgm:pt>
    <dgm:pt modelId="{BE2A4B8A-215A-43B5-94F3-598B7A8955A3}" type="pres">
      <dgm:prSet presAssocID="{DEF67A85-CD45-4522-88AF-8CE2F915F058}" presName="parentText" presStyleLbl="node1" presStyleIdx="4" presStyleCnt="5" custScaleX="185185">
        <dgm:presLayoutVars>
          <dgm:chMax val="1"/>
          <dgm:bulletEnabled val="1"/>
        </dgm:presLayoutVars>
      </dgm:prSet>
      <dgm:spPr/>
    </dgm:pt>
  </dgm:ptLst>
  <dgm:cxnLst>
    <dgm:cxn modelId="{FA3AB670-C178-43CB-904E-F1529A996539}" srcId="{9D4931AC-1EBF-4131-BE5E-029F9D280894}" destId="{A894ADD8-5AD0-4374-8EDC-F6EC490EAE97}" srcOrd="2" destOrd="0" parTransId="{36CEA519-876E-46F4-84F4-9985CC1BB700}" sibTransId="{57428561-392C-4842-9E00-EDB1CCDA5178}"/>
    <dgm:cxn modelId="{0CEEC940-86B5-444B-9EFB-4836BB3ADB7F}" type="presOf" srcId="{989454C1-97EF-47B3-8D66-AB47ED2C56DF}" destId="{8E814065-F02E-4CB7-8FF0-47902D01FC00}" srcOrd="0" destOrd="0" presId="urn:microsoft.com/office/officeart/2005/8/layout/vList5"/>
    <dgm:cxn modelId="{D69BE52F-CA7E-4AB1-8BA3-095567BA1C5C}" type="presOf" srcId="{DEF67A85-CD45-4522-88AF-8CE2F915F058}" destId="{BE2A4B8A-215A-43B5-94F3-598B7A8955A3}" srcOrd="0" destOrd="0" presId="urn:microsoft.com/office/officeart/2005/8/layout/vList5"/>
    <dgm:cxn modelId="{EA14C1FD-8EA5-4367-81E7-0CEA1C221ABD}" type="presOf" srcId="{308CC33F-B29D-4E86-BD57-D25F4BCC77B2}" destId="{E1BCD665-680E-4807-947B-18DD955052D9}" srcOrd="0" destOrd="0" presId="urn:microsoft.com/office/officeart/2005/8/layout/vList5"/>
    <dgm:cxn modelId="{5F8F4CB7-E6A5-40E0-AEC4-C324E67C98D1}" type="presOf" srcId="{6B59A868-0909-4CB9-85EB-BD9A34E8E7A3}" destId="{150A9BB8-C5AA-4BB1-AE82-C05A75848CB2}" srcOrd="0" destOrd="0" presId="urn:microsoft.com/office/officeart/2005/8/layout/vList5"/>
    <dgm:cxn modelId="{E09C3501-FEFF-4D1D-89CF-280285F1791C}" srcId="{9D4931AC-1EBF-4131-BE5E-029F9D280894}" destId="{DEF67A85-CD45-4522-88AF-8CE2F915F058}" srcOrd="4" destOrd="0" parTransId="{7F8A5208-35EA-4DEE-9839-6DCBB474EE0B}" sibTransId="{66CF185B-ED8E-4133-B885-492FA5318CED}"/>
    <dgm:cxn modelId="{533EFBF8-4E97-4D01-A59F-DE93494E9EEA}" type="presOf" srcId="{9D4931AC-1EBF-4131-BE5E-029F9D280894}" destId="{C59E6BA7-E46D-4103-BE88-F424541BED47}" srcOrd="0" destOrd="0" presId="urn:microsoft.com/office/officeart/2005/8/layout/vList5"/>
    <dgm:cxn modelId="{F91C95DC-9802-4241-B745-B6FC9D9CB32E}" type="presOf" srcId="{A894ADD8-5AD0-4374-8EDC-F6EC490EAE97}" destId="{39BED9C5-1A1D-4EB3-B564-E10F4CBA997D}" srcOrd="0" destOrd="0" presId="urn:microsoft.com/office/officeart/2005/8/layout/vList5"/>
    <dgm:cxn modelId="{2A7480F0-3D73-43EF-ACCC-C16588881AD8}" srcId="{9D4931AC-1EBF-4131-BE5E-029F9D280894}" destId="{308CC33F-B29D-4E86-BD57-D25F4BCC77B2}" srcOrd="0" destOrd="0" parTransId="{A1617E39-26B4-45D7-9634-E17D1BBA7357}" sibTransId="{340248AB-34F1-4191-98E8-6D30E8C82C3E}"/>
    <dgm:cxn modelId="{114F9D52-DD39-42DB-9A64-768891B03CC0}" srcId="{9D4931AC-1EBF-4131-BE5E-029F9D280894}" destId="{989454C1-97EF-47B3-8D66-AB47ED2C56DF}" srcOrd="3" destOrd="0" parTransId="{820B1A15-E81C-427D-9214-FB2C72281278}" sibTransId="{BABE62F4-8DA4-456B-AB9D-BD0CEA1AF7AA}"/>
    <dgm:cxn modelId="{67CEE9F3-6A67-42D6-A7DB-42ECC9124E8E}" srcId="{9D4931AC-1EBF-4131-BE5E-029F9D280894}" destId="{6B59A868-0909-4CB9-85EB-BD9A34E8E7A3}" srcOrd="1" destOrd="0" parTransId="{EBFF6F5A-8440-49B4-90FD-B3CD0838D6C1}" sibTransId="{0E5A86E8-F695-432B-A9D7-95E29F522EF2}"/>
    <dgm:cxn modelId="{6D907ACB-E4BD-4079-ABE1-9F39A97EF040}" type="presParOf" srcId="{C59E6BA7-E46D-4103-BE88-F424541BED47}" destId="{47B59638-0905-43D7-91E7-BAA0A3147F75}" srcOrd="0" destOrd="0" presId="urn:microsoft.com/office/officeart/2005/8/layout/vList5"/>
    <dgm:cxn modelId="{656F8546-8390-4322-AAE3-4E49575DE40E}" type="presParOf" srcId="{47B59638-0905-43D7-91E7-BAA0A3147F75}" destId="{E1BCD665-680E-4807-947B-18DD955052D9}" srcOrd="0" destOrd="0" presId="urn:microsoft.com/office/officeart/2005/8/layout/vList5"/>
    <dgm:cxn modelId="{A1DC6BF4-2B9C-4CCC-9F4B-3C00232AC1DE}" type="presParOf" srcId="{C59E6BA7-E46D-4103-BE88-F424541BED47}" destId="{D9951888-6CB1-486E-BEB1-9C8F086F0EF3}" srcOrd="1" destOrd="0" presId="urn:microsoft.com/office/officeart/2005/8/layout/vList5"/>
    <dgm:cxn modelId="{5387A3D0-0257-4627-A2D5-EDAE34118A5A}" type="presParOf" srcId="{C59E6BA7-E46D-4103-BE88-F424541BED47}" destId="{46887A94-FC64-4D77-A22B-3CE470AFEBB9}" srcOrd="2" destOrd="0" presId="urn:microsoft.com/office/officeart/2005/8/layout/vList5"/>
    <dgm:cxn modelId="{12D40B37-5563-4C7D-BDC8-6D0A9996B38A}" type="presParOf" srcId="{46887A94-FC64-4D77-A22B-3CE470AFEBB9}" destId="{150A9BB8-C5AA-4BB1-AE82-C05A75848CB2}" srcOrd="0" destOrd="0" presId="urn:microsoft.com/office/officeart/2005/8/layout/vList5"/>
    <dgm:cxn modelId="{3B9557EA-CDF8-4354-B254-9D1094BC8997}" type="presParOf" srcId="{C59E6BA7-E46D-4103-BE88-F424541BED47}" destId="{9118E270-1CA8-445F-A5C2-590D0712F000}" srcOrd="3" destOrd="0" presId="urn:microsoft.com/office/officeart/2005/8/layout/vList5"/>
    <dgm:cxn modelId="{14AA3201-13C3-410A-AD39-7C722FFB9515}" type="presParOf" srcId="{C59E6BA7-E46D-4103-BE88-F424541BED47}" destId="{424B3465-E741-4422-857C-8DA9EE49F0B3}" srcOrd="4" destOrd="0" presId="urn:microsoft.com/office/officeart/2005/8/layout/vList5"/>
    <dgm:cxn modelId="{B040936A-975B-4898-90B2-66406FD1485E}" type="presParOf" srcId="{424B3465-E741-4422-857C-8DA9EE49F0B3}" destId="{39BED9C5-1A1D-4EB3-B564-E10F4CBA997D}" srcOrd="0" destOrd="0" presId="urn:microsoft.com/office/officeart/2005/8/layout/vList5"/>
    <dgm:cxn modelId="{97A99D01-CC3A-42BE-A666-312C547C901E}" type="presParOf" srcId="{C59E6BA7-E46D-4103-BE88-F424541BED47}" destId="{26F74931-B827-47EA-BBCE-D8531907650E}" srcOrd="5" destOrd="0" presId="urn:microsoft.com/office/officeart/2005/8/layout/vList5"/>
    <dgm:cxn modelId="{773DBE24-92D1-46FC-BB2F-096ECC30F7C1}" type="presParOf" srcId="{C59E6BA7-E46D-4103-BE88-F424541BED47}" destId="{7ED1FA1D-70E1-4BC6-A66A-8D8B3B78A923}" srcOrd="6" destOrd="0" presId="urn:microsoft.com/office/officeart/2005/8/layout/vList5"/>
    <dgm:cxn modelId="{05DB45E6-476E-4E25-A4F0-416B6A3E4308}" type="presParOf" srcId="{7ED1FA1D-70E1-4BC6-A66A-8D8B3B78A923}" destId="{8E814065-F02E-4CB7-8FF0-47902D01FC00}" srcOrd="0" destOrd="0" presId="urn:microsoft.com/office/officeart/2005/8/layout/vList5"/>
    <dgm:cxn modelId="{A135FE77-70F9-41ED-BFCE-75692A28512F}" type="presParOf" srcId="{C59E6BA7-E46D-4103-BE88-F424541BED47}" destId="{333D38A6-C18E-412F-BA43-38C1A366783C}" srcOrd="7" destOrd="0" presId="urn:microsoft.com/office/officeart/2005/8/layout/vList5"/>
    <dgm:cxn modelId="{9AE91556-958C-4C3C-890B-30326190415B}" type="presParOf" srcId="{C59E6BA7-E46D-4103-BE88-F424541BED47}" destId="{52A76F7B-5DBA-4321-802C-E3BDD1551C97}" srcOrd="8" destOrd="0" presId="urn:microsoft.com/office/officeart/2005/8/layout/vList5"/>
    <dgm:cxn modelId="{A16F725E-3A30-4D0F-87B2-8CE575CD58BC}" type="presParOf" srcId="{52A76F7B-5DBA-4321-802C-E3BDD1551C97}" destId="{BE2A4B8A-215A-43B5-94F3-598B7A8955A3}" srcOrd="0"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4BB3AB59-C844-470A-9315-3C2E4650B54F}"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14EF5397-B009-4843-AE11-5E81EF8B6794}">
      <dgm:prSet phldrT="[Text]"/>
      <dgm:spPr/>
      <dgm:t>
        <a:bodyPr/>
        <a:lstStyle/>
        <a:p>
          <a:r>
            <a:rPr lang="en-US" dirty="0"/>
            <a:t>Report test cycle progress in a simple, structured way...</a:t>
          </a:r>
        </a:p>
      </dgm:t>
    </dgm:pt>
    <dgm:pt modelId="{C7A29917-15E8-49E0-8E73-47EA00BA0450}" type="parTrans" cxnId="{5BC540EC-C92A-4092-9CDF-EA29163F29E8}">
      <dgm:prSet/>
      <dgm:spPr/>
      <dgm:t>
        <a:bodyPr/>
        <a:lstStyle/>
        <a:p>
          <a:endParaRPr lang="en-US"/>
        </a:p>
      </dgm:t>
    </dgm:pt>
    <dgm:pt modelId="{64B088C2-3C34-42C0-A052-D2FE07FF2BD3}" type="sibTrans" cxnId="{5BC540EC-C92A-4092-9CDF-EA29163F29E8}">
      <dgm:prSet/>
      <dgm:spPr/>
      <dgm:t>
        <a:bodyPr/>
        <a:lstStyle/>
        <a:p>
          <a:endParaRPr lang="en-US"/>
        </a:p>
      </dgm:t>
    </dgm:pt>
    <dgm:pt modelId="{0B5EB2CE-9B4E-48A5-BBB7-8977ED590DED}">
      <dgm:prSet/>
      <dgm:spPr/>
      <dgm:t>
        <a:bodyPr/>
        <a:lstStyle/>
        <a:p>
          <a:r>
            <a:rPr lang="en-US" dirty="0"/>
            <a:t>...that shows progress toward a goal...</a:t>
          </a:r>
        </a:p>
      </dgm:t>
    </dgm:pt>
    <dgm:pt modelId="{4370A3EB-DCBB-45AA-B669-593CDE401210}" type="parTrans" cxnId="{8E8B55EE-F59C-4A69-83F7-FE35E0D6CF3F}">
      <dgm:prSet/>
      <dgm:spPr/>
      <dgm:t>
        <a:bodyPr/>
        <a:lstStyle/>
        <a:p>
          <a:endParaRPr lang="en-US"/>
        </a:p>
      </dgm:t>
    </dgm:pt>
    <dgm:pt modelId="{C708E2EE-11F1-4E5F-8783-2CDE41FEF4AE}" type="sibTrans" cxnId="{8E8B55EE-F59C-4A69-83F7-FE35E0D6CF3F}">
      <dgm:prSet/>
      <dgm:spPr/>
      <dgm:t>
        <a:bodyPr/>
        <a:lstStyle/>
        <a:p>
          <a:endParaRPr lang="en-US"/>
        </a:p>
      </dgm:t>
    </dgm:pt>
    <dgm:pt modelId="{B6B230D8-A5AB-484D-BBF5-2C39DDB1C96D}">
      <dgm:prSet/>
      <dgm:spPr/>
      <dgm:t>
        <a:bodyPr/>
        <a:lstStyle/>
        <a:p>
          <a:r>
            <a:rPr lang="en-US" dirty="0"/>
            <a:t>... manages expectations...</a:t>
          </a:r>
        </a:p>
      </dgm:t>
    </dgm:pt>
    <dgm:pt modelId="{9B0BE88A-E094-41D2-8008-08CA72ADDBEE}" type="parTrans" cxnId="{3FBBF9BC-A214-4F25-8AE1-45E072D32FA5}">
      <dgm:prSet/>
      <dgm:spPr/>
      <dgm:t>
        <a:bodyPr/>
        <a:lstStyle/>
        <a:p>
          <a:endParaRPr lang="en-US"/>
        </a:p>
      </dgm:t>
    </dgm:pt>
    <dgm:pt modelId="{EDD2C348-F4D1-4BA1-98FC-3C559B1BA0B4}" type="sibTrans" cxnId="{3FBBF9BC-A214-4F25-8AE1-45E072D32FA5}">
      <dgm:prSet/>
      <dgm:spPr/>
      <dgm:t>
        <a:bodyPr/>
        <a:lstStyle/>
        <a:p>
          <a:endParaRPr lang="en-US"/>
        </a:p>
      </dgm:t>
    </dgm:pt>
    <dgm:pt modelId="{95753AEA-623E-4D5B-AF4E-D0EE77B15DF5}">
      <dgm:prSet/>
      <dgm:spPr/>
      <dgm:t>
        <a:bodyPr/>
        <a:lstStyle/>
        <a:p>
          <a:r>
            <a:rPr lang="en-US" dirty="0"/>
            <a:t>...and inspires support...</a:t>
          </a:r>
        </a:p>
      </dgm:t>
    </dgm:pt>
    <dgm:pt modelId="{58BF7A03-E724-4811-906C-FEC3F19048FC}" type="parTrans" cxnId="{9AB1E4B7-5F96-4317-BAEE-F52798F19DA7}">
      <dgm:prSet/>
      <dgm:spPr/>
      <dgm:t>
        <a:bodyPr/>
        <a:lstStyle/>
        <a:p>
          <a:endParaRPr lang="en-US"/>
        </a:p>
      </dgm:t>
    </dgm:pt>
    <dgm:pt modelId="{09EBCBA2-1E93-4B5A-B505-C9151F2B12A9}" type="sibTrans" cxnId="{9AB1E4B7-5F96-4317-BAEE-F52798F19DA7}">
      <dgm:prSet/>
      <dgm:spPr/>
      <dgm:t>
        <a:bodyPr/>
        <a:lstStyle/>
        <a:p>
          <a:endParaRPr lang="en-US"/>
        </a:p>
      </dgm:t>
    </dgm:pt>
    <dgm:pt modelId="{1699EA33-A00D-4B1D-A32E-75D8F2726ED0}">
      <dgm:prSet/>
      <dgm:spPr/>
      <dgm:t>
        <a:bodyPr/>
        <a:lstStyle/>
        <a:p>
          <a:r>
            <a:rPr lang="en-US" dirty="0"/>
            <a:t>...for an effective test process.</a:t>
          </a:r>
        </a:p>
      </dgm:t>
    </dgm:pt>
    <dgm:pt modelId="{37EAB53A-69FF-4976-B7CE-A9D46FC53E0D}" type="parTrans" cxnId="{17B87D8C-5A9E-4E48-B705-4FC12E5EBE3A}">
      <dgm:prSet/>
      <dgm:spPr/>
      <dgm:t>
        <a:bodyPr/>
        <a:lstStyle/>
        <a:p>
          <a:endParaRPr lang="en-US"/>
        </a:p>
      </dgm:t>
    </dgm:pt>
    <dgm:pt modelId="{1E7CE41A-B5FD-4AC7-B824-FF54B83C06B6}" type="sibTrans" cxnId="{17B87D8C-5A9E-4E48-B705-4FC12E5EBE3A}">
      <dgm:prSet/>
      <dgm:spPr/>
      <dgm:t>
        <a:bodyPr/>
        <a:lstStyle/>
        <a:p>
          <a:endParaRPr lang="en-US"/>
        </a:p>
      </dgm:t>
    </dgm:pt>
    <dgm:pt modelId="{CCC50E8F-947B-4873-AD6F-B44331EBAADA}" type="pres">
      <dgm:prSet presAssocID="{4BB3AB59-C844-470A-9315-3C2E4650B54F}" presName="Name0" presStyleCnt="0">
        <dgm:presLayoutVars>
          <dgm:dir/>
          <dgm:animLvl val="lvl"/>
          <dgm:resizeHandles val="exact"/>
        </dgm:presLayoutVars>
      </dgm:prSet>
      <dgm:spPr/>
    </dgm:pt>
    <dgm:pt modelId="{CB56AEDB-CDB1-4BBE-A95B-49D62CAD773C}" type="pres">
      <dgm:prSet presAssocID="{14EF5397-B009-4843-AE11-5E81EF8B6794}" presName="linNode" presStyleCnt="0"/>
      <dgm:spPr/>
    </dgm:pt>
    <dgm:pt modelId="{313B9348-173B-440C-9C0E-54926ADFDC44}" type="pres">
      <dgm:prSet presAssocID="{14EF5397-B009-4843-AE11-5E81EF8B6794}" presName="parentText" presStyleLbl="node1" presStyleIdx="0" presStyleCnt="5" custScaleX="246914">
        <dgm:presLayoutVars>
          <dgm:chMax val="1"/>
          <dgm:bulletEnabled val="1"/>
        </dgm:presLayoutVars>
      </dgm:prSet>
      <dgm:spPr/>
    </dgm:pt>
    <dgm:pt modelId="{7824E11C-B59F-448F-B605-B9749FD7DBD5}" type="pres">
      <dgm:prSet presAssocID="{64B088C2-3C34-42C0-A052-D2FE07FF2BD3}" presName="sp" presStyleCnt="0"/>
      <dgm:spPr/>
    </dgm:pt>
    <dgm:pt modelId="{9A5FFD67-552C-472F-8E6A-6B809E591F71}" type="pres">
      <dgm:prSet presAssocID="{0B5EB2CE-9B4E-48A5-BBB7-8977ED590DED}" presName="linNode" presStyleCnt="0"/>
      <dgm:spPr/>
    </dgm:pt>
    <dgm:pt modelId="{60045A20-B30E-4293-8357-3948BA756DD3}" type="pres">
      <dgm:prSet presAssocID="{0B5EB2CE-9B4E-48A5-BBB7-8977ED590DED}" presName="parentText" presStyleLbl="node1" presStyleIdx="1" presStyleCnt="5" custScaleX="246914">
        <dgm:presLayoutVars>
          <dgm:chMax val="1"/>
          <dgm:bulletEnabled val="1"/>
        </dgm:presLayoutVars>
      </dgm:prSet>
      <dgm:spPr/>
    </dgm:pt>
    <dgm:pt modelId="{291B3495-30E9-4C89-A84D-12380F9072E6}" type="pres">
      <dgm:prSet presAssocID="{C708E2EE-11F1-4E5F-8783-2CDE41FEF4AE}" presName="sp" presStyleCnt="0"/>
      <dgm:spPr/>
    </dgm:pt>
    <dgm:pt modelId="{2C6F6453-07AA-485E-9556-3189C71FA9CC}" type="pres">
      <dgm:prSet presAssocID="{B6B230D8-A5AB-484D-BBF5-2C39DDB1C96D}" presName="linNode" presStyleCnt="0"/>
      <dgm:spPr/>
    </dgm:pt>
    <dgm:pt modelId="{4CFF1790-CD7F-4C4C-8092-6BD2690B70C1}" type="pres">
      <dgm:prSet presAssocID="{B6B230D8-A5AB-484D-BBF5-2C39DDB1C96D}" presName="parentText" presStyleLbl="node1" presStyleIdx="2" presStyleCnt="5" custScaleX="246914">
        <dgm:presLayoutVars>
          <dgm:chMax val="1"/>
          <dgm:bulletEnabled val="1"/>
        </dgm:presLayoutVars>
      </dgm:prSet>
      <dgm:spPr/>
    </dgm:pt>
    <dgm:pt modelId="{945C5B61-9EA7-4464-AFF6-F82A9A4DF8DB}" type="pres">
      <dgm:prSet presAssocID="{EDD2C348-F4D1-4BA1-98FC-3C559B1BA0B4}" presName="sp" presStyleCnt="0"/>
      <dgm:spPr/>
    </dgm:pt>
    <dgm:pt modelId="{323A0614-296F-46E7-902A-0C361DA0AC9C}" type="pres">
      <dgm:prSet presAssocID="{95753AEA-623E-4D5B-AF4E-D0EE77B15DF5}" presName="linNode" presStyleCnt="0"/>
      <dgm:spPr/>
    </dgm:pt>
    <dgm:pt modelId="{A7868B05-7457-4AF6-B4DD-15779F4869FB}" type="pres">
      <dgm:prSet presAssocID="{95753AEA-623E-4D5B-AF4E-D0EE77B15DF5}" presName="parentText" presStyleLbl="node1" presStyleIdx="3" presStyleCnt="5" custScaleX="246914">
        <dgm:presLayoutVars>
          <dgm:chMax val="1"/>
          <dgm:bulletEnabled val="1"/>
        </dgm:presLayoutVars>
      </dgm:prSet>
      <dgm:spPr/>
    </dgm:pt>
    <dgm:pt modelId="{C6EB4506-458E-40C1-A161-9C3920567182}" type="pres">
      <dgm:prSet presAssocID="{09EBCBA2-1E93-4B5A-B505-C9151F2B12A9}" presName="sp" presStyleCnt="0"/>
      <dgm:spPr/>
    </dgm:pt>
    <dgm:pt modelId="{0B2AC544-062A-4526-9FB0-4B76CE6C96B3}" type="pres">
      <dgm:prSet presAssocID="{1699EA33-A00D-4B1D-A32E-75D8F2726ED0}" presName="linNode" presStyleCnt="0"/>
      <dgm:spPr/>
    </dgm:pt>
    <dgm:pt modelId="{390D8AA9-5CE3-413F-B803-526096633BC2}" type="pres">
      <dgm:prSet presAssocID="{1699EA33-A00D-4B1D-A32E-75D8F2726ED0}" presName="parentText" presStyleLbl="node1" presStyleIdx="4" presStyleCnt="5" custScaleX="246914">
        <dgm:presLayoutVars>
          <dgm:chMax val="1"/>
          <dgm:bulletEnabled val="1"/>
        </dgm:presLayoutVars>
      </dgm:prSet>
      <dgm:spPr/>
    </dgm:pt>
  </dgm:ptLst>
  <dgm:cxnLst>
    <dgm:cxn modelId="{00D26B6A-AFD7-4065-949D-CFDABF0CB570}" type="presOf" srcId="{14EF5397-B009-4843-AE11-5E81EF8B6794}" destId="{313B9348-173B-440C-9C0E-54926ADFDC44}" srcOrd="0" destOrd="0" presId="urn:microsoft.com/office/officeart/2005/8/layout/vList5"/>
    <dgm:cxn modelId="{8E8B55EE-F59C-4A69-83F7-FE35E0D6CF3F}" srcId="{4BB3AB59-C844-470A-9315-3C2E4650B54F}" destId="{0B5EB2CE-9B4E-48A5-BBB7-8977ED590DED}" srcOrd="1" destOrd="0" parTransId="{4370A3EB-DCBB-45AA-B669-593CDE401210}" sibTransId="{C708E2EE-11F1-4E5F-8783-2CDE41FEF4AE}"/>
    <dgm:cxn modelId="{6B3FC030-F370-4E8B-9B21-4E500628EA3B}" type="presOf" srcId="{1699EA33-A00D-4B1D-A32E-75D8F2726ED0}" destId="{390D8AA9-5CE3-413F-B803-526096633BC2}" srcOrd="0" destOrd="0" presId="urn:microsoft.com/office/officeart/2005/8/layout/vList5"/>
    <dgm:cxn modelId="{F5956A7B-B220-457E-BD84-B553DFC84851}" type="presOf" srcId="{B6B230D8-A5AB-484D-BBF5-2C39DDB1C96D}" destId="{4CFF1790-CD7F-4C4C-8092-6BD2690B70C1}" srcOrd="0" destOrd="0" presId="urn:microsoft.com/office/officeart/2005/8/layout/vList5"/>
    <dgm:cxn modelId="{D947BE50-1CD2-43E7-9474-1766065FD295}" type="presOf" srcId="{95753AEA-623E-4D5B-AF4E-D0EE77B15DF5}" destId="{A7868B05-7457-4AF6-B4DD-15779F4869FB}" srcOrd="0" destOrd="0" presId="urn:microsoft.com/office/officeart/2005/8/layout/vList5"/>
    <dgm:cxn modelId="{17B87D8C-5A9E-4E48-B705-4FC12E5EBE3A}" srcId="{4BB3AB59-C844-470A-9315-3C2E4650B54F}" destId="{1699EA33-A00D-4B1D-A32E-75D8F2726ED0}" srcOrd="4" destOrd="0" parTransId="{37EAB53A-69FF-4976-B7CE-A9D46FC53E0D}" sibTransId="{1E7CE41A-B5FD-4AC7-B824-FF54B83C06B6}"/>
    <dgm:cxn modelId="{BE09F029-9AEA-4F63-BD81-040F63271868}" type="presOf" srcId="{0B5EB2CE-9B4E-48A5-BBB7-8977ED590DED}" destId="{60045A20-B30E-4293-8357-3948BA756DD3}" srcOrd="0" destOrd="0" presId="urn:microsoft.com/office/officeart/2005/8/layout/vList5"/>
    <dgm:cxn modelId="{3FBBF9BC-A214-4F25-8AE1-45E072D32FA5}" srcId="{4BB3AB59-C844-470A-9315-3C2E4650B54F}" destId="{B6B230D8-A5AB-484D-BBF5-2C39DDB1C96D}" srcOrd="2" destOrd="0" parTransId="{9B0BE88A-E094-41D2-8008-08CA72ADDBEE}" sibTransId="{EDD2C348-F4D1-4BA1-98FC-3C559B1BA0B4}"/>
    <dgm:cxn modelId="{9AB1E4B7-5F96-4317-BAEE-F52798F19DA7}" srcId="{4BB3AB59-C844-470A-9315-3C2E4650B54F}" destId="{95753AEA-623E-4D5B-AF4E-D0EE77B15DF5}" srcOrd="3" destOrd="0" parTransId="{58BF7A03-E724-4811-906C-FEC3F19048FC}" sibTransId="{09EBCBA2-1E93-4B5A-B505-C9151F2B12A9}"/>
    <dgm:cxn modelId="{F72C7A2B-E05A-46F8-A48C-0DBD704A7EBC}" type="presOf" srcId="{4BB3AB59-C844-470A-9315-3C2E4650B54F}" destId="{CCC50E8F-947B-4873-AD6F-B44331EBAADA}" srcOrd="0" destOrd="0" presId="urn:microsoft.com/office/officeart/2005/8/layout/vList5"/>
    <dgm:cxn modelId="{5BC540EC-C92A-4092-9CDF-EA29163F29E8}" srcId="{4BB3AB59-C844-470A-9315-3C2E4650B54F}" destId="{14EF5397-B009-4843-AE11-5E81EF8B6794}" srcOrd="0" destOrd="0" parTransId="{C7A29917-15E8-49E0-8E73-47EA00BA0450}" sibTransId="{64B088C2-3C34-42C0-A052-D2FE07FF2BD3}"/>
    <dgm:cxn modelId="{649C4B4C-2556-4619-BE30-CB9BDD29836C}" type="presParOf" srcId="{CCC50E8F-947B-4873-AD6F-B44331EBAADA}" destId="{CB56AEDB-CDB1-4BBE-A95B-49D62CAD773C}" srcOrd="0" destOrd="0" presId="urn:microsoft.com/office/officeart/2005/8/layout/vList5"/>
    <dgm:cxn modelId="{EAC7C451-D772-40CE-9EDA-50083F745BC5}" type="presParOf" srcId="{CB56AEDB-CDB1-4BBE-A95B-49D62CAD773C}" destId="{313B9348-173B-440C-9C0E-54926ADFDC44}" srcOrd="0" destOrd="0" presId="urn:microsoft.com/office/officeart/2005/8/layout/vList5"/>
    <dgm:cxn modelId="{540D14C4-F91A-4615-8304-F74A99DF5C1D}" type="presParOf" srcId="{CCC50E8F-947B-4873-AD6F-B44331EBAADA}" destId="{7824E11C-B59F-448F-B605-B9749FD7DBD5}" srcOrd="1" destOrd="0" presId="urn:microsoft.com/office/officeart/2005/8/layout/vList5"/>
    <dgm:cxn modelId="{AE2A3A12-DF1D-48F4-8024-1EDD93674A01}" type="presParOf" srcId="{CCC50E8F-947B-4873-AD6F-B44331EBAADA}" destId="{9A5FFD67-552C-472F-8E6A-6B809E591F71}" srcOrd="2" destOrd="0" presId="urn:microsoft.com/office/officeart/2005/8/layout/vList5"/>
    <dgm:cxn modelId="{B80D7691-0558-4445-B871-68523C7ECD7A}" type="presParOf" srcId="{9A5FFD67-552C-472F-8E6A-6B809E591F71}" destId="{60045A20-B30E-4293-8357-3948BA756DD3}" srcOrd="0" destOrd="0" presId="urn:microsoft.com/office/officeart/2005/8/layout/vList5"/>
    <dgm:cxn modelId="{39388CD7-B8D8-49F2-B8CB-B40AAF2E8A37}" type="presParOf" srcId="{CCC50E8F-947B-4873-AD6F-B44331EBAADA}" destId="{291B3495-30E9-4C89-A84D-12380F9072E6}" srcOrd="3" destOrd="0" presId="urn:microsoft.com/office/officeart/2005/8/layout/vList5"/>
    <dgm:cxn modelId="{98D63135-1A24-4A13-BF52-053229140BBB}" type="presParOf" srcId="{CCC50E8F-947B-4873-AD6F-B44331EBAADA}" destId="{2C6F6453-07AA-485E-9556-3189C71FA9CC}" srcOrd="4" destOrd="0" presId="urn:microsoft.com/office/officeart/2005/8/layout/vList5"/>
    <dgm:cxn modelId="{DB7A015B-0549-4BF9-A4CE-7F2F1B617FEA}" type="presParOf" srcId="{2C6F6453-07AA-485E-9556-3189C71FA9CC}" destId="{4CFF1790-CD7F-4C4C-8092-6BD2690B70C1}" srcOrd="0" destOrd="0" presId="urn:microsoft.com/office/officeart/2005/8/layout/vList5"/>
    <dgm:cxn modelId="{4F0CF7C2-61E6-45E2-B87C-24380F07EA08}" type="presParOf" srcId="{CCC50E8F-947B-4873-AD6F-B44331EBAADA}" destId="{945C5B61-9EA7-4464-AFF6-F82A9A4DF8DB}" srcOrd="5" destOrd="0" presId="urn:microsoft.com/office/officeart/2005/8/layout/vList5"/>
    <dgm:cxn modelId="{4492CA9C-F55B-4951-8852-D65F1AE2C9CC}" type="presParOf" srcId="{CCC50E8F-947B-4873-AD6F-B44331EBAADA}" destId="{323A0614-296F-46E7-902A-0C361DA0AC9C}" srcOrd="6" destOrd="0" presId="urn:microsoft.com/office/officeart/2005/8/layout/vList5"/>
    <dgm:cxn modelId="{FD825AC4-9EFF-401E-94A2-7811D6820BDB}" type="presParOf" srcId="{323A0614-296F-46E7-902A-0C361DA0AC9C}" destId="{A7868B05-7457-4AF6-B4DD-15779F4869FB}" srcOrd="0" destOrd="0" presId="urn:microsoft.com/office/officeart/2005/8/layout/vList5"/>
    <dgm:cxn modelId="{05EC860C-53BF-40A5-BFCB-C42307F53ACB}" type="presParOf" srcId="{CCC50E8F-947B-4873-AD6F-B44331EBAADA}" destId="{C6EB4506-458E-40C1-A161-9C3920567182}" srcOrd="7" destOrd="0" presId="urn:microsoft.com/office/officeart/2005/8/layout/vList5"/>
    <dgm:cxn modelId="{1AA7DD3B-94F8-4BA7-98A8-5A03FD8F129C}" type="presParOf" srcId="{CCC50E8F-947B-4873-AD6F-B44331EBAADA}" destId="{0B2AC544-062A-4526-9FB0-4B76CE6C96B3}" srcOrd="8" destOrd="0" presId="urn:microsoft.com/office/officeart/2005/8/layout/vList5"/>
    <dgm:cxn modelId="{CAEFD99D-BA2D-4873-A788-21F6A3A720C5}" type="presParOf" srcId="{0B2AC544-062A-4526-9FB0-4B76CE6C96B3}" destId="{390D8AA9-5CE3-413F-B803-526096633BC2}" srcOrd="0" destOrd="0" presId="urn:microsoft.com/office/officeart/2005/8/layout/vList5"/>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85E8164C-7CE5-4EF0-BFF9-D965ED409F55}"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D101152D-63A4-4B35-ADEB-4F33F50BC9CD}">
      <dgm:prSet phldrT="[Text]"/>
      <dgm:spPr/>
      <dgm:t>
        <a:bodyPr/>
        <a:lstStyle/>
        <a:p>
          <a:r>
            <a:rPr lang="en-US" dirty="0"/>
            <a:t>UI Tests</a:t>
          </a:r>
        </a:p>
      </dgm:t>
    </dgm:pt>
    <dgm:pt modelId="{08E543ED-CCBE-4CEF-AC27-F9DFACADCABC}" type="parTrans" cxnId="{94FAA801-9C06-4769-8BCB-35AB69E43AF2}">
      <dgm:prSet/>
      <dgm:spPr/>
      <dgm:t>
        <a:bodyPr/>
        <a:lstStyle/>
        <a:p>
          <a:endParaRPr lang="en-US"/>
        </a:p>
      </dgm:t>
    </dgm:pt>
    <dgm:pt modelId="{B03AA466-607F-4327-A71E-3AA39D818C17}" type="sibTrans" cxnId="{94FAA801-9C06-4769-8BCB-35AB69E43AF2}">
      <dgm:prSet/>
      <dgm:spPr/>
      <dgm:t>
        <a:bodyPr/>
        <a:lstStyle/>
        <a:p>
          <a:endParaRPr lang="en-US"/>
        </a:p>
      </dgm:t>
    </dgm:pt>
    <dgm:pt modelId="{108B50C9-37A8-44E6-9809-0C160678C4A9}">
      <dgm:prSet phldrT="[Text]"/>
      <dgm:spPr/>
      <dgm:t>
        <a:bodyPr/>
        <a:lstStyle/>
        <a:p>
          <a:r>
            <a:rPr lang="en-US" dirty="0"/>
            <a:t>In same language as system</a:t>
          </a:r>
        </a:p>
      </dgm:t>
    </dgm:pt>
    <dgm:pt modelId="{ABC33577-8BA2-4276-80F7-83E41E3B8016}" type="parTrans" cxnId="{D17F43DF-D4CB-49C0-B14F-7B731ECE6FAF}">
      <dgm:prSet/>
      <dgm:spPr/>
      <dgm:t>
        <a:bodyPr/>
        <a:lstStyle/>
        <a:p>
          <a:endParaRPr lang="en-US"/>
        </a:p>
      </dgm:t>
    </dgm:pt>
    <dgm:pt modelId="{4938B2A1-A6AA-49D1-9C2E-93845244E5CB}" type="sibTrans" cxnId="{D17F43DF-D4CB-49C0-B14F-7B731ECE6FAF}">
      <dgm:prSet/>
      <dgm:spPr/>
      <dgm:t>
        <a:bodyPr/>
        <a:lstStyle/>
        <a:p>
          <a:endParaRPr lang="en-US"/>
        </a:p>
      </dgm:t>
    </dgm:pt>
    <dgm:pt modelId="{D0E37F91-F0C7-4071-8B85-4A77B6E83CC6}">
      <dgm:prSet phldrT="[Text]"/>
      <dgm:spPr/>
      <dgm:t>
        <a:bodyPr/>
        <a:lstStyle/>
        <a:p>
          <a:r>
            <a:rPr lang="en-US" dirty="0"/>
            <a:t>xUnit</a:t>
          </a:r>
        </a:p>
      </dgm:t>
    </dgm:pt>
    <dgm:pt modelId="{F65E8E6B-FEC2-44D6-905D-FAF32B8E7983}" type="parTrans" cxnId="{D7553C17-FE4A-4CD5-BF84-882F3E8483DA}">
      <dgm:prSet/>
      <dgm:spPr/>
      <dgm:t>
        <a:bodyPr/>
        <a:lstStyle/>
        <a:p>
          <a:endParaRPr lang="en-US"/>
        </a:p>
      </dgm:t>
    </dgm:pt>
    <dgm:pt modelId="{F90CB686-7D92-4454-B7D1-39E9318A4E99}" type="sibTrans" cxnId="{D7553C17-FE4A-4CD5-BF84-882F3E8483DA}">
      <dgm:prSet/>
      <dgm:spPr/>
      <dgm:t>
        <a:bodyPr/>
        <a:lstStyle/>
        <a:p>
          <a:endParaRPr lang="en-US"/>
        </a:p>
      </dgm:t>
    </dgm:pt>
    <dgm:pt modelId="{568E7242-3B77-42B0-9F07-A745460A9D17}">
      <dgm:prSet phldrT="[Text]"/>
      <dgm:spPr/>
      <dgm:t>
        <a:bodyPr/>
        <a:lstStyle/>
        <a:p>
          <a:r>
            <a:rPr lang="en-US" dirty="0"/>
            <a:t>Through UI</a:t>
          </a:r>
        </a:p>
      </dgm:t>
    </dgm:pt>
    <dgm:pt modelId="{512278E6-1F54-4CDE-B10F-95BA5FAEBE31}" type="parTrans" cxnId="{C77F4C89-4C25-49E6-9894-2101365704D0}">
      <dgm:prSet/>
      <dgm:spPr/>
      <dgm:t>
        <a:bodyPr/>
        <a:lstStyle/>
        <a:p>
          <a:endParaRPr lang="en-US"/>
        </a:p>
      </dgm:t>
    </dgm:pt>
    <dgm:pt modelId="{B3DCDE0D-9529-4909-86BF-6E0F2945C4E0}" type="sibTrans" cxnId="{C77F4C89-4C25-49E6-9894-2101365704D0}">
      <dgm:prSet/>
      <dgm:spPr/>
      <dgm:t>
        <a:bodyPr/>
        <a:lstStyle/>
        <a:p>
          <a:endParaRPr lang="en-US"/>
        </a:p>
      </dgm:t>
    </dgm:pt>
    <dgm:pt modelId="{7F0801B3-70AD-4738-BE29-073C3032D0CB}">
      <dgm:prSet phldrT="[Text]"/>
      <dgm:spPr/>
      <dgm:t>
        <a:bodyPr/>
        <a:lstStyle/>
        <a:p>
          <a:r>
            <a:rPr lang="en-US" dirty="0"/>
            <a:t>TestComplete</a:t>
          </a:r>
        </a:p>
        <a:p>
          <a:r>
            <a:rPr lang="en-US" dirty="0"/>
            <a:t>SilkTest</a:t>
          </a:r>
        </a:p>
        <a:p>
          <a:r>
            <a:rPr lang="en-US" dirty="0"/>
            <a:t>TestDirector</a:t>
          </a:r>
        </a:p>
      </dgm:t>
    </dgm:pt>
    <dgm:pt modelId="{D57D797C-71D7-4B17-94D1-4ECCCFC938B5}" type="parTrans" cxnId="{D3E64652-419C-48E4-A3E3-C4448A7B7FF1}">
      <dgm:prSet/>
      <dgm:spPr/>
      <dgm:t>
        <a:bodyPr/>
        <a:lstStyle/>
        <a:p>
          <a:endParaRPr lang="en-US"/>
        </a:p>
      </dgm:t>
    </dgm:pt>
    <dgm:pt modelId="{E8726A26-2DEC-46DD-93CF-288961CC6383}" type="sibTrans" cxnId="{D3E64652-419C-48E4-A3E3-C4448A7B7FF1}">
      <dgm:prSet/>
      <dgm:spPr/>
      <dgm:t>
        <a:bodyPr/>
        <a:lstStyle/>
        <a:p>
          <a:endParaRPr lang="en-US"/>
        </a:p>
      </dgm:t>
    </dgm:pt>
    <dgm:pt modelId="{FC5265FA-7AA0-4DAF-AA67-1CE8E2E382AE}">
      <dgm:prSet phldrT="[Text]"/>
      <dgm:spPr/>
      <dgm:t>
        <a:bodyPr/>
        <a:lstStyle/>
        <a:p>
          <a:r>
            <a:rPr lang="en-US" dirty="0"/>
            <a:t>Functional Tests</a:t>
          </a:r>
        </a:p>
      </dgm:t>
    </dgm:pt>
    <dgm:pt modelId="{6C3220BA-BD67-47E2-B74D-39AAFD65C47A}" type="parTrans" cxnId="{D27BA65B-9EE7-41E3-93F3-E76CFDFA48BB}">
      <dgm:prSet/>
      <dgm:spPr/>
      <dgm:t>
        <a:bodyPr/>
        <a:lstStyle/>
        <a:p>
          <a:endParaRPr lang="en-US"/>
        </a:p>
      </dgm:t>
    </dgm:pt>
    <dgm:pt modelId="{249DE6EB-84C7-4864-B111-8C402A88C299}" type="sibTrans" cxnId="{D27BA65B-9EE7-41E3-93F3-E76CFDFA48BB}">
      <dgm:prSet/>
      <dgm:spPr/>
      <dgm:t>
        <a:bodyPr/>
        <a:lstStyle/>
        <a:p>
          <a:endParaRPr lang="en-US"/>
        </a:p>
      </dgm:t>
    </dgm:pt>
    <dgm:pt modelId="{160003B8-77CE-4FFB-96C3-1E19F1FEB6AA}">
      <dgm:prSet phldrT="[Text]"/>
      <dgm:spPr/>
      <dgm:t>
        <a:bodyPr/>
        <a:lstStyle/>
        <a:p>
          <a:r>
            <a:rPr lang="en-US" dirty="0"/>
            <a:t>In business language</a:t>
          </a:r>
        </a:p>
      </dgm:t>
    </dgm:pt>
    <dgm:pt modelId="{70B743A3-A783-4D50-867D-04B76488CA07}" type="parTrans" cxnId="{3F282994-C832-4293-8603-8E54310F9724}">
      <dgm:prSet/>
      <dgm:spPr/>
      <dgm:t>
        <a:bodyPr/>
        <a:lstStyle/>
        <a:p>
          <a:endParaRPr lang="en-US"/>
        </a:p>
      </dgm:t>
    </dgm:pt>
    <dgm:pt modelId="{D8B76E7C-6682-498E-897E-92A6A5B7F366}" type="sibTrans" cxnId="{3F282994-C832-4293-8603-8E54310F9724}">
      <dgm:prSet/>
      <dgm:spPr/>
      <dgm:t>
        <a:bodyPr/>
        <a:lstStyle/>
        <a:p>
          <a:endParaRPr lang="en-US"/>
        </a:p>
      </dgm:t>
    </dgm:pt>
    <dgm:pt modelId="{4BEFAB5F-77C1-4F4D-91D0-9011A14A85C7}">
      <dgm:prSet phldrT="[Text]"/>
      <dgm:spPr/>
      <dgm:t>
        <a:bodyPr/>
        <a:lstStyle/>
        <a:p>
          <a:r>
            <a:rPr lang="en-US" dirty="0"/>
            <a:t>Fit/FitNesse</a:t>
          </a:r>
        </a:p>
      </dgm:t>
    </dgm:pt>
    <dgm:pt modelId="{F267D261-97A4-48F6-8AD1-968A2FD84553}" type="parTrans" cxnId="{098B4959-15B0-41AC-9772-E927B26FC8F8}">
      <dgm:prSet/>
      <dgm:spPr/>
      <dgm:t>
        <a:bodyPr/>
        <a:lstStyle/>
        <a:p>
          <a:endParaRPr lang="en-US"/>
        </a:p>
      </dgm:t>
    </dgm:pt>
    <dgm:pt modelId="{1C23D1FB-C5D3-4EFB-BE29-58D7B87DAB42}" type="sibTrans" cxnId="{098B4959-15B0-41AC-9772-E927B26FC8F8}">
      <dgm:prSet/>
      <dgm:spPr/>
      <dgm:t>
        <a:bodyPr/>
        <a:lstStyle/>
        <a:p>
          <a:endParaRPr lang="en-US"/>
        </a:p>
      </dgm:t>
    </dgm:pt>
    <dgm:pt modelId="{39979805-9FAB-42BD-A41E-85FAF13F16EA}">
      <dgm:prSet phldrT="[Text]"/>
      <dgm:spPr/>
      <dgm:t>
        <a:bodyPr/>
        <a:lstStyle/>
        <a:p>
          <a:r>
            <a:rPr lang="en-US" dirty="0"/>
            <a:t>Unit Tests</a:t>
          </a:r>
        </a:p>
      </dgm:t>
    </dgm:pt>
    <dgm:pt modelId="{0C3D8DD2-E913-4740-AD86-042D57129688}" type="parTrans" cxnId="{A27CBE60-7E3B-43E9-A43E-966D056535EF}">
      <dgm:prSet/>
      <dgm:spPr/>
      <dgm:t>
        <a:bodyPr/>
        <a:lstStyle/>
        <a:p>
          <a:endParaRPr lang="en-US"/>
        </a:p>
      </dgm:t>
    </dgm:pt>
    <dgm:pt modelId="{97BBAEF0-3226-476A-B600-E41C8CEAE02D}" type="sibTrans" cxnId="{A27CBE60-7E3B-43E9-A43E-966D056535EF}">
      <dgm:prSet/>
      <dgm:spPr/>
      <dgm:t>
        <a:bodyPr/>
        <a:lstStyle/>
        <a:p>
          <a:endParaRPr lang="en-US"/>
        </a:p>
      </dgm:t>
    </dgm:pt>
    <dgm:pt modelId="{DB604A1E-DB33-4277-B9E8-CADDE19865EC}" type="pres">
      <dgm:prSet presAssocID="{85E8164C-7CE5-4EF0-BFF9-D965ED409F55}" presName="Name0" presStyleCnt="0">
        <dgm:presLayoutVars>
          <dgm:chPref val="3"/>
          <dgm:dir/>
          <dgm:animLvl val="lvl"/>
          <dgm:resizeHandles/>
        </dgm:presLayoutVars>
      </dgm:prSet>
      <dgm:spPr/>
    </dgm:pt>
    <dgm:pt modelId="{81CFCD03-95EC-4381-8A15-8ED042E0C49D}" type="pres">
      <dgm:prSet presAssocID="{D101152D-63A4-4B35-ADEB-4F33F50BC9CD}" presName="horFlow" presStyleCnt="0"/>
      <dgm:spPr/>
    </dgm:pt>
    <dgm:pt modelId="{451D0463-4497-454F-A194-4F90AB3B9DA4}" type="pres">
      <dgm:prSet presAssocID="{D101152D-63A4-4B35-ADEB-4F33F50BC9CD}" presName="bigChev" presStyleLbl="node1" presStyleIdx="0" presStyleCnt="3"/>
      <dgm:spPr/>
    </dgm:pt>
    <dgm:pt modelId="{F734FAA5-A757-4C80-81D9-2D2F841F108C}" type="pres">
      <dgm:prSet presAssocID="{512278E6-1F54-4CDE-B10F-95BA5FAEBE31}" presName="parTrans" presStyleCnt="0"/>
      <dgm:spPr/>
    </dgm:pt>
    <dgm:pt modelId="{A861580F-440D-47E3-ADFD-9FA15D9C33C4}" type="pres">
      <dgm:prSet presAssocID="{568E7242-3B77-42B0-9F07-A745460A9D17}" presName="node" presStyleLbl="alignAccFollowNode1" presStyleIdx="0" presStyleCnt="6">
        <dgm:presLayoutVars>
          <dgm:bulletEnabled val="1"/>
        </dgm:presLayoutVars>
      </dgm:prSet>
      <dgm:spPr/>
    </dgm:pt>
    <dgm:pt modelId="{3CB73250-E332-4330-A0D2-F0F23199ABF6}" type="pres">
      <dgm:prSet presAssocID="{B3DCDE0D-9529-4909-86BF-6E0F2945C4E0}" presName="sibTrans" presStyleCnt="0"/>
      <dgm:spPr/>
    </dgm:pt>
    <dgm:pt modelId="{2DC30617-2820-4AB0-A46C-F5742D1BAE4B}" type="pres">
      <dgm:prSet presAssocID="{7F0801B3-70AD-4738-BE29-073C3032D0CB}" presName="node" presStyleLbl="alignAccFollowNode1" presStyleIdx="1" presStyleCnt="6">
        <dgm:presLayoutVars>
          <dgm:bulletEnabled val="1"/>
        </dgm:presLayoutVars>
      </dgm:prSet>
      <dgm:spPr/>
    </dgm:pt>
    <dgm:pt modelId="{A99805F2-14D6-4F90-A79C-0A881F3137E0}" type="pres">
      <dgm:prSet presAssocID="{D101152D-63A4-4B35-ADEB-4F33F50BC9CD}" presName="vSp" presStyleCnt="0"/>
      <dgm:spPr/>
    </dgm:pt>
    <dgm:pt modelId="{57D35418-55C2-4D3C-9C59-CEB95DDA0262}" type="pres">
      <dgm:prSet presAssocID="{FC5265FA-7AA0-4DAF-AA67-1CE8E2E382AE}" presName="horFlow" presStyleCnt="0"/>
      <dgm:spPr/>
    </dgm:pt>
    <dgm:pt modelId="{8674B3CF-7DAA-4567-AC12-24E81FD3DC1A}" type="pres">
      <dgm:prSet presAssocID="{FC5265FA-7AA0-4DAF-AA67-1CE8E2E382AE}" presName="bigChev" presStyleLbl="node1" presStyleIdx="1" presStyleCnt="3"/>
      <dgm:spPr/>
    </dgm:pt>
    <dgm:pt modelId="{470EA12D-A228-4833-B0FC-494608007267}" type="pres">
      <dgm:prSet presAssocID="{70B743A3-A783-4D50-867D-04B76488CA07}" presName="parTrans" presStyleCnt="0"/>
      <dgm:spPr/>
    </dgm:pt>
    <dgm:pt modelId="{E6A0D213-DD32-440C-95DD-FA1822462689}" type="pres">
      <dgm:prSet presAssocID="{160003B8-77CE-4FFB-96C3-1E19F1FEB6AA}" presName="node" presStyleLbl="alignAccFollowNode1" presStyleIdx="2" presStyleCnt="6">
        <dgm:presLayoutVars>
          <dgm:bulletEnabled val="1"/>
        </dgm:presLayoutVars>
      </dgm:prSet>
      <dgm:spPr/>
    </dgm:pt>
    <dgm:pt modelId="{CFA1C1BE-3352-44FC-A785-E7DDED5A5E4B}" type="pres">
      <dgm:prSet presAssocID="{D8B76E7C-6682-498E-897E-92A6A5B7F366}" presName="sibTrans" presStyleCnt="0"/>
      <dgm:spPr/>
    </dgm:pt>
    <dgm:pt modelId="{7610C866-F6A5-48C7-93D0-153676A8C665}" type="pres">
      <dgm:prSet presAssocID="{4BEFAB5F-77C1-4F4D-91D0-9011A14A85C7}" presName="node" presStyleLbl="alignAccFollowNode1" presStyleIdx="3" presStyleCnt="6">
        <dgm:presLayoutVars>
          <dgm:bulletEnabled val="1"/>
        </dgm:presLayoutVars>
      </dgm:prSet>
      <dgm:spPr/>
    </dgm:pt>
    <dgm:pt modelId="{783BC094-73DF-4A6D-A99F-91C9E898A9BB}" type="pres">
      <dgm:prSet presAssocID="{FC5265FA-7AA0-4DAF-AA67-1CE8E2E382AE}" presName="vSp" presStyleCnt="0"/>
      <dgm:spPr/>
    </dgm:pt>
    <dgm:pt modelId="{71F341C1-2535-4069-875F-CC105E09E47B}" type="pres">
      <dgm:prSet presAssocID="{39979805-9FAB-42BD-A41E-85FAF13F16EA}" presName="horFlow" presStyleCnt="0"/>
      <dgm:spPr/>
    </dgm:pt>
    <dgm:pt modelId="{E2E51B3C-AF33-4CCD-9531-7EA698AB704A}" type="pres">
      <dgm:prSet presAssocID="{39979805-9FAB-42BD-A41E-85FAF13F16EA}" presName="bigChev" presStyleLbl="node1" presStyleIdx="2" presStyleCnt="3"/>
      <dgm:spPr/>
    </dgm:pt>
    <dgm:pt modelId="{69BA29B2-510A-4881-BE33-0B0E9794FDA5}" type="pres">
      <dgm:prSet presAssocID="{ABC33577-8BA2-4276-80F7-83E41E3B8016}" presName="parTrans" presStyleCnt="0"/>
      <dgm:spPr/>
    </dgm:pt>
    <dgm:pt modelId="{6772B257-20DA-4DAA-8EED-2113AE518C21}" type="pres">
      <dgm:prSet presAssocID="{108B50C9-37A8-44E6-9809-0C160678C4A9}" presName="node" presStyleLbl="alignAccFollowNode1" presStyleIdx="4" presStyleCnt="6">
        <dgm:presLayoutVars>
          <dgm:bulletEnabled val="1"/>
        </dgm:presLayoutVars>
      </dgm:prSet>
      <dgm:spPr/>
    </dgm:pt>
    <dgm:pt modelId="{5885A5F2-D593-43EC-A6A7-7EAB7D9D3F9A}" type="pres">
      <dgm:prSet presAssocID="{4938B2A1-A6AA-49D1-9C2E-93845244E5CB}" presName="sibTrans" presStyleCnt="0"/>
      <dgm:spPr/>
    </dgm:pt>
    <dgm:pt modelId="{D792EB1C-EFA5-442E-A360-3FA6F4F5FA07}" type="pres">
      <dgm:prSet presAssocID="{D0E37F91-F0C7-4071-8B85-4A77B6E83CC6}" presName="node" presStyleLbl="alignAccFollowNode1" presStyleIdx="5" presStyleCnt="6">
        <dgm:presLayoutVars>
          <dgm:bulletEnabled val="1"/>
        </dgm:presLayoutVars>
      </dgm:prSet>
      <dgm:spPr/>
    </dgm:pt>
  </dgm:ptLst>
  <dgm:cxnLst>
    <dgm:cxn modelId="{D27BA65B-9EE7-41E3-93F3-E76CFDFA48BB}" srcId="{85E8164C-7CE5-4EF0-BFF9-D965ED409F55}" destId="{FC5265FA-7AA0-4DAF-AA67-1CE8E2E382AE}" srcOrd="1" destOrd="0" parTransId="{6C3220BA-BD67-47E2-B74D-39AAFD65C47A}" sibTransId="{249DE6EB-84C7-4864-B111-8C402A88C299}"/>
    <dgm:cxn modelId="{BD326FA4-E76E-49DE-93F0-41CDA8ED2C5C}" type="presOf" srcId="{85E8164C-7CE5-4EF0-BFF9-D965ED409F55}" destId="{DB604A1E-DB33-4277-B9E8-CADDE19865EC}" srcOrd="0" destOrd="0" presId="urn:microsoft.com/office/officeart/2005/8/layout/lProcess3"/>
    <dgm:cxn modelId="{F99DC058-B68A-49AC-9FAE-782A19F5CFD6}" type="presOf" srcId="{39979805-9FAB-42BD-A41E-85FAF13F16EA}" destId="{E2E51B3C-AF33-4CCD-9531-7EA698AB704A}" srcOrd="0" destOrd="0" presId="urn:microsoft.com/office/officeart/2005/8/layout/lProcess3"/>
    <dgm:cxn modelId="{D17F43DF-D4CB-49C0-B14F-7B731ECE6FAF}" srcId="{39979805-9FAB-42BD-A41E-85FAF13F16EA}" destId="{108B50C9-37A8-44E6-9809-0C160678C4A9}" srcOrd="0" destOrd="0" parTransId="{ABC33577-8BA2-4276-80F7-83E41E3B8016}" sibTransId="{4938B2A1-A6AA-49D1-9C2E-93845244E5CB}"/>
    <dgm:cxn modelId="{A6821D2C-EBB9-45D9-BDE2-E57590833F2C}" type="presOf" srcId="{D0E37F91-F0C7-4071-8B85-4A77B6E83CC6}" destId="{D792EB1C-EFA5-442E-A360-3FA6F4F5FA07}" srcOrd="0" destOrd="0" presId="urn:microsoft.com/office/officeart/2005/8/layout/lProcess3"/>
    <dgm:cxn modelId="{3F282994-C832-4293-8603-8E54310F9724}" srcId="{FC5265FA-7AA0-4DAF-AA67-1CE8E2E382AE}" destId="{160003B8-77CE-4FFB-96C3-1E19F1FEB6AA}" srcOrd="0" destOrd="0" parTransId="{70B743A3-A783-4D50-867D-04B76488CA07}" sibTransId="{D8B76E7C-6682-498E-897E-92A6A5B7F366}"/>
    <dgm:cxn modelId="{644A4627-E35D-4EEA-ABC2-7911D568F7AE}" type="presOf" srcId="{4BEFAB5F-77C1-4F4D-91D0-9011A14A85C7}" destId="{7610C866-F6A5-48C7-93D0-153676A8C665}" srcOrd="0" destOrd="0" presId="urn:microsoft.com/office/officeart/2005/8/layout/lProcess3"/>
    <dgm:cxn modelId="{DE5178C5-2598-4B46-83F7-F97800A46E49}" type="presOf" srcId="{568E7242-3B77-42B0-9F07-A745460A9D17}" destId="{A861580F-440D-47E3-ADFD-9FA15D9C33C4}" srcOrd="0" destOrd="0" presId="urn:microsoft.com/office/officeart/2005/8/layout/lProcess3"/>
    <dgm:cxn modelId="{C77F4C89-4C25-49E6-9894-2101365704D0}" srcId="{D101152D-63A4-4B35-ADEB-4F33F50BC9CD}" destId="{568E7242-3B77-42B0-9F07-A745460A9D17}" srcOrd="0" destOrd="0" parTransId="{512278E6-1F54-4CDE-B10F-95BA5FAEBE31}" sibTransId="{B3DCDE0D-9529-4909-86BF-6E0F2945C4E0}"/>
    <dgm:cxn modelId="{21E56E75-0AA8-4402-9CAB-69EDEDA36E3B}" type="presOf" srcId="{FC5265FA-7AA0-4DAF-AA67-1CE8E2E382AE}" destId="{8674B3CF-7DAA-4567-AC12-24E81FD3DC1A}" srcOrd="0" destOrd="0" presId="urn:microsoft.com/office/officeart/2005/8/layout/lProcess3"/>
    <dgm:cxn modelId="{63D8711B-010A-47A9-9D3B-09AA0EE4FBEE}" type="presOf" srcId="{7F0801B3-70AD-4738-BE29-073C3032D0CB}" destId="{2DC30617-2820-4AB0-A46C-F5742D1BAE4B}" srcOrd="0" destOrd="0" presId="urn:microsoft.com/office/officeart/2005/8/layout/lProcess3"/>
    <dgm:cxn modelId="{F4461410-9A94-41AA-9F04-3FACE28C05C1}" type="presOf" srcId="{160003B8-77CE-4FFB-96C3-1E19F1FEB6AA}" destId="{E6A0D213-DD32-440C-95DD-FA1822462689}" srcOrd="0" destOrd="0" presId="urn:microsoft.com/office/officeart/2005/8/layout/lProcess3"/>
    <dgm:cxn modelId="{CBAAAA6C-300D-4D95-9085-56E09CBCB36B}" type="presOf" srcId="{D101152D-63A4-4B35-ADEB-4F33F50BC9CD}" destId="{451D0463-4497-454F-A194-4F90AB3B9DA4}" srcOrd="0" destOrd="0" presId="urn:microsoft.com/office/officeart/2005/8/layout/lProcess3"/>
    <dgm:cxn modelId="{A27CBE60-7E3B-43E9-A43E-966D056535EF}" srcId="{85E8164C-7CE5-4EF0-BFF9-D965ED409F55}" destId="{39979805-9FAB-42BD-A41E-85FAF13F16EA}" srcOrd="2" destOrd="0" parTransId="{0C3D8DD2-E913-4740-AD86-042D57129688}" sibTransId="{97BBAEF0-3226-476A-B600-E41C8CEAE02D}"/>
    <dgm:cxn modelId="{94FAA801-9C06-4769-8BCB-35AB69E43AF2}" srcId="{85E8164C-7CE5-4EF0-BFF9-D965ED409F55}" destId="{D101152D-63A4-4B35-ADEB-4F33F50BC9CD}" srcOrd="0" destOrd="0" parTransId="{08E543ED-CCBE-4CEF-AC27-F9DFACADCABC}" sibTransId="{B03AA466-607F-4327-A71E-3AA39D818C17}"/>
    <dgm:cxn modelId="{D7553C17-FE4A-4CD5-BF84-882F3E8483DA}" srcId="{39979805-9FAB-42BD-A41E-85FAF13F16EA}" destId="{D0E37F91-F0C7-4071-8B85-4A77B6E83CC6}" srcOrd="1" destOrd="0" parTransId="{F65E8E6B-FEC2-44D6-905D-FAF32B8E7983}" sibTransId="{F90CB686-7D92-4454-B7D1-39E9318A4E99}"/>
    <dgm:cxn modelId="{098B4959-15B0-41AC-9772-E927B26FC8F8}" srcId="{FC5265FA-7AA0-4DAF-AA67-1CE8E2E382AE}" destId="{4BEFAB5F-77C1-4F4D-91D0-9011A14A85C7}" srcOrd="1" destOrd="0" parTransId="{F267D261-97A4-48F6-8AD1-968A2FD84553}" sibTransId="{1C23D1FB-C5D3-4EFB-BE29-58D7B87DAB42}"/>
    <dgm:cxn modelId="{D3E64652-419C-48E4-A3E3-C4448A7B7FF1}" srcId="{D101152D-63A4-4B35-ADEB-4F33F50BC9CD}" destId="{7F0801B3-70AD-4738-BE29-073C3032D0CB}" srcOrd="1" destOrd="0" parTransId="{D57D797C-71D7-4B17-94D1-4ECCCFC938B5}" sibTransId="{E8726A26-2DEC-46DD-93CF-288961CC6383}"/>
    <dgm:cxn modelId="{20300027-D85E-495F-980E-E4968FA3D2DE}" type="presOf" srcId="{108B50C9-37A8-44E6-9809-0C160678C4A9}" destId="{6772B257-20DA-4DAA-8EED-2113AE518C21}" srcOrd="0" destOrd="0" presId="urn:microsoft.com/office/officeart/2005/8/layout/lProcess3"/>
    <dgm:cxn modelId="{AA4A20DD-E917-4E0D-BAB4-344F2A57F9E5}" type="presParOf" srcId="{DB604A1E-DB33-4277-B9E8-CADDE19865EC}" destId="{81CFCD03-95EC-4381-8A15-8ED042E0C49D}" srcOrd="0" destOrd="0" presId="urn:microsoft.com/office/officeart/2005/8/layout/lProcess3"/>
    <dgm:cxn modelId="{FFA5365F-863D-443D-8A04-F48B63A99F06}" type="presParOf" srcId="{81CFCD03-95EC-4381-8A15-8ED042E0C49D}" destId="{451D0463-4497-454F-A194-4F90AB3B9DA4}" srcOrd="0" destOrd="0" presId="urn:microsoft.com/office/officeart/2005/8/layout/lProcess3"/>
    <dgm:cxn modelId="{C0180C92-3C9A-4542-A498-8D77084D64F2}" type="presParOf" srcId="{81CFCD03-95EC-4381-8A15-8ED042E0C49D}" destId="{F734FAA5-A757-4C80-81D9-2D2F841F108C}" srcOrd="1" destOrd="0" presId="urn:microsoft.com/office/officeart/2005/8/layout/lProcess3"/>
    <dgm:cxn modelId="{EEBF97C6-E90E-4D33-A428-91C2EBD53BFD}" type="presParOf" srcId="{81CFCD03-95EC-4381-8A15-8ED042E0C49D}" destId="{A861580F-440D-47E3-ADFD-9FA15D9C33C4}" srcOrd="2" destOrd="0" presId="urn:microsoft.com/office/officeart/2005/8/layout/lProcess3"/>
    <dgm:cxn modelId="{DF17016E-2F3C-401B-95D5-60D31E6B7E7D}" type="presParOf" srcId="{81CFCD03-95EC-4381-8A15-8ED042E0C49D}" destId="{3CB73250-E332-4330-A0D2-F0F23199ABF6}" srcOrd="3" destOrd="0" presId="urn:microsoft.com/office/officeart/2005/8/layout/lProcess3"/>
    <dgm:cxn modelId="{62024148-9332-4FD7-99BB-D05EAD4B2135}" type="presParOf" srcId="{81CFCD03-95EC-4381-8A15-8ED042E0C49D}" destId="{2DC30617-2820-4AB0-A46C-F5742D1BAE4B}" srcOrd="4" destOrd="0" presId="urn:microsoft.com/office/officeart/2005/8/layout/lProcess3"/>
    <dgm:cxn modelId="{DFD45BDF-8537-47EA-AA81-ABB2EF6F1FE6}" type="presParOf" srcId="{DB604A1E-DB33-4277-B9E8-CADDE19865EC}" destId="{A99805F2-14D6-4F90-A79C-0A881F3137E0}" srcOrd="1" destOrd="0" presId="urn:microsoft.com/office/officeart/2005/8/layout/lProcess3"/>
    <dgm:cxn modelId="{0DA52273-1F15-4219-8D36-A8127459FF0B}" type="presParOf" srcId="{DB604A1E-DB33-4277-B9E8-CADDE19865EC}" destId="{57D35418-55C2-4D3C-9C59-CEB95DDA0262}" srcOrd="2" destOrd="0" presId="urn:microsoft.com/office/officeart/2005/8/layout/lProcess3"/>
    <dgm:cxn modelId="{C9DE7A13-3BFD-4E0B-9F9A-F65109377AD2}" type="presParOf" srcId="{57D35418-55C2-4D3C-9C59-CEB95DDA0262}" destId="{8674B3CF-7DAA-4567-AC12-24E81FD3DC1A}" srcOrd="0" destOrd="0" presId="urn:microsoft.com/office/officeart/2005/8/layout/lProcess3"/>
    <dgm:cxn modelId="{8467A5F8-863A-49EE-A13C-1D87ACDCBDF5}" type="presParOf" srcId="{57D35418-55C2-4D3C-9C59-CEB95DDA0262}" destId="{470EA12D-A228-4833-B0FC-494608007267}" srcOrd="1" destOrd="0" presId="urn:microsoft.com/office/officeart/2005/8/layout/lProcess3"/>
    <dgm:cxn modelId="{9BA055AF-E9EB-4AA4-B92A-8E54E8376E7B}" type="presParOf" srcId="{57D35418-55C2-4D3C-9C59-CEB95DDA0262}" destId="{E6A0D213-DD32-440C-95DD-FA1822462689}" srcOrd="2" destOrd="0" presId="urn:microsoft.com/office/officeart/2005/8/layout/lProcess3"/>
    <dgm:cxn modelId="{F6E225AE-624B-4074-A776-5F3C5185C17C}" type="presParOf" srcId="{57D35418-55C2-4D3C-9C59-CEB95DDA0262}" destId="{CFA1C1BE-3352-44FC-A785-E7DDED5A5E4B}" srcOrd="3" destOrd="0" presId="urn:microsoft.com/office/officeart/2005/8/layout/lProcess3"/>
    <dgm:cxn modelId="{00347916-A8E1-4902-906B-7EBE901BE7E0}" type="presParOf" srcId="{57D35418-55C2-4D3C-9C59-CEB95DDA0262}" destId="{7610C866-F6A5-48C7-93D0-153676A8C665}" srcOrd="4" destOrd="0" presId="urn:microsoft.com/office/officeart/2005/8/layout/lProcess3"/>
    <dgm:cxn modelId="{AE5498F3-903A-49F1-979A-1277C48123FC}" type="presParOf" srcId="{DB604A1E-DB33-4277-B9E8-CADDE19865EC}" destId="{783BC094-73DF-4A6D-A99F-91C9E898A9BB}" srcOrd="3" destOrd="0" presId="urn:microsoft.com/office/officeart/2005/8/layout/lProcess3"/>
    <dgm:cxn modelId="{E7779D5C-9A3C-421B-9D59-4FD59B9C30CD}" type="presParOf" srcId="{DB604A1E-DB33-4277-B9E8-CADDE19865EC}" destId="{71F341C1-2535-4069-875F-CC105E09E47B}" srcOrd="4" destOrd="0" presId="urn:microsoft.com/office/officeart/2005/8/layout/lProcess3"/>
    <dgm:cxn modelId="{CDD74728-40BC-401C-8EAA-CF2F7FB951B4}" type="presParOf" srcId="{71F341C1-2535-4069-875F-CC105E09E47B}" destId="{E2E51B3C-AF33-4CCD-9531-7EA698AB704A}" srcOrd="0" destOrd="0" presId="urn:microsoft.com/office/officeart/2005/8/layout/lProcess3"/>
    <dgm:cxn modelId="{CED1867C-2FA8-4997-AD44-BE7110D594A7}" type="presParOf" srcId="{71F341C1-2535-4069-875F-CC105E09E47B}" destId="{69BA29B2-510A-4881-BE33-0B0E9794FDA5}" srcOrd="1" destOrd="0" presId="urn:microsoft.com/office/officeart/2005/8/layout/lProcess3"/>
    <dgm:cxn modelId="{3BA403EF-D453-4D73-A34C-3A888DC0582F}" type="presParOf" srcId="{71F341C1-2535-4069-875F-CC105E09E47B}" destId="{6772B257-20DA-4DAA-8EED-2113AE518C21}" srcOrd="2" destOrd="0" presId="urn:microsoft.com/office/officeart/2005/8/layout/lProcess3"/>
    <dgm:cxn modelId="{5C958CE6-8A21-4CE8-9095-DE52CC98B7FA}" type="presParOf" srcId="{71F341C1-2535-4069-875F-CC105E09E47B}" destId="{5885A5F2-D593-43EC-A6A7-7EAB7D9D3F9A}" srcOrd="3" destOrd="0" presId="urn:microsoft.com/office/officeart/2005/8/layout/lProcess3"/>
    <dgm:cxn modelId="{3D8D365D-B213-4852-AA45-A8FE80F22936}" type="presParOf" srcId="{71F341C1-2535-4069-875F-CC105E09E47B}" destId="{D792EB1C-EFA5-442E-A360-3FA6F4F5FA07}" srcOrd="4"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F343C08-84A8-4AFE-B788-5C83367A6619}"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en-US"/>
        </a:p>
      </dgm:t>
    </dgm:pt>
    <dgm:pt modelId="{C413C6D2-08AD-4000-92C0-E87D4235A9D8}">
      <dgm:prSet phldrT="[Text]"/>
      <dgm:spPr/>
      <dgm:t>
        <a:bodyPr/>
        <a:lstStyle/>
        <a:p>
          <a:r>
            <a:rPr lang="en-US" dirty="0"/>
            <a:t>Release 1</a:t>
          </a:r>
        </a:p>
      </dgm:t>
    </dgm:pt>
    <dgm:pt modelId="{791FEE7A-3874-44AB-A388-4468E221909A}" type="parTrans" cxnId="{A588C5D6-3A39-418F-BE85-B45A0C02B591}">
      <dgm:prSet/>
      <dgm:spPr/>
      <dgm:t>
        <a:bodyPr/>
        <a:lstStyle/>
        <a:p>
          <a:endParaRPr lang="en-US"/>
        </a:p>
      </dgm:t>
    </dgm:pt>
    <dgm:pt modelId="{B575993B-1229-402C-9FF6-DC7C707117BC}" type="sibTrans" cxnId="{A588C5D6-3A39-418F-BE85-B45A0C02B591}">
      <dgm:prSet/>
      <dgm:spPr/>
      <dgm:t>
        <a:bodyPr/>
        <a:lstStyle/>
        <a:p>
          <a:endParaRPr lang="en-US"/>
        </a:p>
      </dgm:t>
    </dgm:pt>
    <dgm:pt modelId="{2CD2BBA6-19BF-4563-93E4-5CF5E4E643B8}">
      <dgm:prSet phldrT="[Text]"/>
      <dgm:spPr/>
      <dgm:t>
        <a:bodyPr/>
        <a:lstStyle/>
        <a:p>
          <a:r>
            <a:rPr lang="en-US" dirty="0"/>
            <a:t>Design</a:t>
          </a:r>
        </a:p>
      </dgm:t>
    </dgm:pt>
    <dgm:pt modelId="{B257CDBE-2B9D-40D8-BA03-9ADEBA80AEE3}" type="parTrans" cxnId="{0CBE8889-7490-406D-88B3-D49CADCC18F6}">
      <dgm:prSet/>
      <dgm:spPr/>
      <dgm:t>
        <a:bodyPr/>
        <a:lstStyle/>
        <a:p>
          <a:endParaRPr lang="en-US"/>
        </a:p>
      </dgm:t>
    </dgm:pt>
    <dgm:pt modelId="{A5AC494D-7A50-452A-9777-C05238B6136A}" type="sibTrans" cxnId="{0CBE8889-7490-406D-88B3-D49CADCC18F6}">
      <dgm:prSet/>
      <dgm:spPr/>
      <dgm:t>
        <a:bodyPr/>
        <a:lstStyle/>
        <a:p>
          <a:endParaRPr lang="en-US"/>
        </a:p>
      </dgm:t>
    </dgm:pt>
    <dgm:pt modelId="{619C37D9-5926-463A-824E-817E6B2CCBEB}">
      <dgm:prSet phldrT="[Text]"/>
      <dgm:spPr/>
      <dgm:t>
        <a:bodyPr/>
        <a:lstStyle/>
        <a:p>
          <a:r>
            <a:rPr lang="en-US" dirty="0"/>
            <a:t>Develop</a:t>
          </a:r>
        </a:p>
      </dgm:t>
    </dgm:pt>
    <dgm:pt modelId="{9A9AA701-F75A-43D7-BEA9-69DE5EF9F5E5}" type="parTrans" cxnId="{BDFE56A5-E9D1-4053-BAE7-82ABC94D23A1}">
      <dgm:prSet/>
      <dgm:spPr/>
      <dgm:t>
        <a:bodyPr/>
        <a:lstStyle/>
        <a:p>
          <a:endParaRPr lang="en-US"/>
        </a:p>
      </dgm:t>
    </dgm:pt>
    <dgm:pt modelId="{9D46A4AD-5C94-4A6C-95ED-1D150FD17D1B}" type="sibTrans" cxnId="{BDFE56A5-E9D1-4053-BAE7-82ABC94D23A1}">
      <dgm:prSet/>
      <dgm:spPr/>
      <dgm:t>
        <a:bodyPr/>
        <a:lstStyle/>
        <a:p>
          <a:endParaRPr lang="en-US"/>
        </a:p>
      </dgm:t>
    </dgm:pt>
    <dgm:pt modelId="{1C620434-CE27-449E-9EEB-267474C2BE0D}">
      <dgm:prSet phldrT="[Text]"/>
      <dgm:spPr/>
      <dgm:t>
        <a:bodyPr/>
        <a:lstStyle/>
        <a:p>
          <a:r>
            <a:rPr lang="en-US" dirty="0"/>
            <a:t>Release 2</a:t>
          </a:r>
        </a:p>
      </dgm:t>
    </dgm:pt>
    <dgm:pt modelId="{48CB58A2-FABF-4091-9164-299EA04EF33F}" type="parTrans" cxnId="{97184FD4-6D3F-4A8F-8DA7-7DEF541D73A6}">
      <dgm:prSet/>
      <dgm:spPr/>
      <dgm:t>
        <a:bodyPr/>
        <a:lstStyle/>
        <a:p>
          <a:endParaRPr lang="en-US"/>
        </a:p>
      </dgm:t>
    </dgm:pt>
    <dgm:pt modelId="{7676D375-A041-4E32-BEC0-96DF42A04C2A}" type="sibTrans" cxnId="{97184FD4-6D3F-4A8F-8DA7-7DEF541D73A6}">
      <dgm:prSet/>
      <dgm:spPr/>
      <dgm:t>
        <a:bodyPr/>
        <a:lstStyle/>
        <a:p>
          <a:endParaRPr lang="en-US"/>
        </a:p>
      </dgm:t>
    </dgm:pt>
    <dgm:pt modelId="{89BBBBD0-297E-4294-A69E-949D6D3C1822}">
      <dgm:prSet phldrT="[Text]"/>
      <dgm:spPr/>
      <dgm:t>
        <a:bodyPr/>
        <a:lstStyle/>
        <a:p>
          <a:r>
            <a:rPr lang="en-US" dirty="0"/>
            <a:t>Design/Refactor</a:t>
          </a:r>
        </a:p>
      </dgm:t>
    </dgm:pt>
    <dgm:pt modelId="{35C281CE-D888-4389-A0D6-2E86397D016F}" type="parTrans" cxnId="{52FBFB7B-D90F-41C1-956D-4EF04499E095}">
      <dgm:prSet/>
      <dgm:spPr/>
      <dgm:t>
        <a:bodyPr/>
        <a:lstStyle/>
        <a:p>
          <a:endParaRPr lang="en-US"/>
        </a:p>
      </dgm:t>
    </dgm:pt>
    <dgm:pt modelId="{FC88585C-3EF3-4AEF-88F4-4F64E3985237}" type="sibTrans" cxnId="{52FBFB7B-D90F-41C1-956D-4EF04499E095}">
      <dgm:prSet/>
      <dgm:spPr/>
      <dgm:t>
        <a:bodyPr/>
        <a:lstStyle/>
        <a:p>
          <a:endParaRPr lang="en-US"/>
        </a:p>
      </dgm:t>
    </dgm:pt>
    <dgm:pt modelId="{89FCED79-6979-4361-8F57-54644DF08822}">
      <dgm:prSet phldrT="[Text]"/>
      <dgm:spPr/>
      <dgm:t>
        <a:bodyPr/>
        <a:lstStyle/>
        <a:p>
          <a:r>
            <a:rPr lang="en-US" dirty="0"/>
            <a:t>Develop</a:t>
          </a:r>
        </a:p>
      </dgm:t>
    </dgm:pt>
    <dgm:pt modelId="{F10A2E91-E516-4B94-8E22-829496F8061E}" type="parTrans" cxnId="{FAF67504-0EBF-4E79-AADF-EAC4EB9CCBE5}">
      <dgm:prSet/>
      <dgm:spPr/>
      <dgm:t>
        <a:bodyPr/>
        <a:lstStyle/>
        <a:p>
          <a:endParaRPr lang="en-US"/>
        </a:p>
      </dgm:t>
    </dgm:pt>
    <dgm:pt modelId="{4D9E89EA-20E9-440E-90A7-34E8B21B5061}" type="sibTrans" cxnId="{FAF67504-0EBF-4E79-AADF-EAC4EB9CCBE5}">
      <dgm:prSet/>
      <dgm:spPr/>
      <dgm:t>
        <a:bodyPr/>
        <a:lstStyle/>
        <a:p>
          <a:endParaRPr lang="en-US"/>
        </a:p>
      </dgm:t>
    </dgm:pt>
    <dgm:pt modelId="{BE9EE89C-98E0-4DD7-BDE6-C874D219931C}">
      <dgm:prSet phldrT="[Text]"/>
      <dgm:spPr/>
      <dgm:t>
        <a:bodyPr/>
        <a:lstStyle/>
        <a:p>
          <a:r>
            <a:rPr lang="en-US" dirty="0"/>
            <a:t>Release 3</a:t>
          </a:r>
        </a:p>
      </dgm:t>
    </dgm:pt>
    <dgm:pt modelId="{745F0354-8FD3-47D4-987C-FDBBE58298CC}" type="parTrans" cxnId="{DDA1210D-C09E-466A-B66C-78B6CF66CE44}">
      <dgm:prSet/>
      <dgm:spPr/>
      <dgm:t>
        <a:bodyPr/>
        <a:lstStyle/>
        <a:p>
          <a:endParaRPr lang="en-US"/>
        </a:p>
      </dgm:t>
    </dgm:pt>
    <dgm:pt modelId="{D4328187-ADE5-4A02-B014-5787960C1590}" type="sibTrans" cxnId="{DDA1210D-C09E-466A-B66C-78B6CF66CE44}">
      <dgm:prSet/>
      <dgm:spPr/>
      <dgm:t>
        <a:bodyPr/>
        <a:lstStyle/>
        <a:p>
          <a:endParaRPr lang="en-US"/>
        </a:p>
      </dgm:t>
    </dgm:pt>
    <dgm:pt modelId="{A0CCC710-2607-4B6B-A331-B682D9586B7E}">
      <dgm:prSet phldrT="[Text]"/>
      <dgm:spPr/>
      <dgm:t>
        <a:bodyPr/>
        <a:lstStyle/>
        <a:p>
          <a:r>
            <a:rPr lang="en-US" dirty="0"/>
            <a:t>Design/Refactor</a:t>
          </a:r>
        </a:p>
      </dgm:t>
    </dgm:pt>
    <dgm:pt modelId="{2AF24EB8-03CA-4BB0-891B-24F636CE3092}" type="parTrans" cxnId="{8FB36178-C858-47CD-A930-99CAE4CFF5E7}">
      <dgm:prSet/>
      <dgm:spPr/>
      <dgm:t>
        <a:bodyPr/>
        <a:lstStyle/>
        <a:p>
          <a:endParaRPr lang="en-US"/>
        </a:p>
      </dgm:t>
    </dgm:pt>
    <dgm:pt modelId="{90EB1BFF-F7E4-40EC-AC0C-D376FDDB10E0}" type="sibTrans" cxnId="{8FB36178-C858-47CD-A930-99CAE4CFF5E7}">
      <dgm:prSet/>
      <dgm:spPr/>
      <dgm:t>
        <a:bodyPr/>
        <a:lstStyle/>
        <a:p>
          <a:endParaRPr lang="en-US"/>
        </a:p>
      </dgm:t>
    </dgm:pt>
    <dgm:pt modelId="{114EB774-08B4-414B-A3F4-07690A7FC4B3}">
      <dgm:prSet phldrT="[Text]"/>
      <dgm:spPr/>
      <dgm:t>
        <a:bodyPr/>
        <a:lstStyle/>
        <a:p>
          <a:r>
            <a:rPr lang="en-US" dirty="0"/>
            <a:t>Develop</a:t>
          </a:r>
        </a:p>
      </dgm:t>
    </dgm:pt>
    <dgm:pt modelId="{9CAF3037-3F7A-473B-B444-3E2D025586DA}" type="parTrans" cxnId="{9C61579D-CBE7-4AE1-B9CF-B506290BC769}">
      <dgm:prSet/>
      <dgm:spPr/>
      <dgm:t>
        <a:bodyPr/>
        <a:lstStyle/>
        <a:p>
          <a:endParaRPr lang="en-US"/>
        </a:p>
      </dgm:t>
    </dgm:pt>
    <dgm:pt modelId="{3941F4FE-DE9F-4367-BC75-72699695225A}" type="sibTrans" cxnId="{9C61579D-CBE7-4AE1-B9CF-B506290BC769}">
      <dgm:prSet/>
      <dgm:spPr/>
      <dgm:t>
        <a:bodyPr/>
        <a:lstStyle/>
        <a:p>
          <a:endParaRPr lang="en-US"/>
        </a:p>
      </dgm:t>
    </dgm:pt>
    <dgm:pt modelId="{A5D18830-0E27-4D99-AD78-0609B169130F}">
      <dgm:prSet phldrT="[Text]"/>
      <dgm:spPr/>
      <dgm:t>
        <a:bodyPr/>
        <a:lstStyle/>
        <a:p>
          <a:r>
            <a:rPr lang="en-US" u="sng" dirty="0"/>
            <a:t>Deploy</a:t>
          </a:r>
        </a:p>
      </dgm:t>
    </dgm:pt>
    <dgm:pt modelId="{71B6E284-785A-48C2-ACE1-0B3DA26BE388}" type="parTrans" cxnId="{3725C55D-34FE-45D6-8790-241F90B9BF9A}">
      <dgm:prSet/>
      <dgm:spPr/>
      <dgm:t>
        <a:bodyPr/>
        <a:lstStyle/>
        <a:p>
          <a:endParaRPr lang="en-US"/>
        </a:p>
      </dgm:t>
    </dgm:pt>
    <dgm:pt modelId="{B9ED82AE-5EF1-4B7A-9A26-010708ABD846}" type="sibTrans" cxnId="{3725C55D-34FE-45D6-8790-241F90B9BF9A}">
      <dgm:prSet/>
      <dgm:spPr/>
      <dgm:t>
        <a:bodyPr/>
        <a:lstStyle/>
        <a:p>
          <a:endParaRPr lang="en-US"/>
        </a:p>
      </dgm:t>
    </dgm:pt>
    <dgm:pt modelId="{C876BD2B-3EF0-4A90-BFBA-2C30A02659A6}">
      <dgm:prSet phldrT="[Text]"/>
      <dgm:spPr/>
      <dgm:t>
        <a:bodyPr/>
        <a:lstStyle/>
        <a:p>
          <a:r>
            <a:rPr lang="en-US" u="sng" dirty="0"/>
            <a:t>Deploy</a:t>
          </a:r>
        </a:p>
      </dgm:t>
    </dgm:pt>
    <dgm:pt modelId="{2B49D5D5-18C7-4FDE-9D7D-9CA75640AFA5}" type="parTrans" cxnId="{12B71E36-DC8C-467C-B19D-6F7C9B2A7A01}">
      <dgm:prSet/>
      <dgm:spPr/>
      <dgm:t>
        <a:bodyPr/>
        <a:lstStyle/>
        <a:p>
          <a:endParaRPr lang="en-US"/>
        </a:p>
      </dgm:t>
    </dgm:pt>
    <dgm:pt modelId="{4A92E6F7-E549-415B-9D43-77777B1D72FF}" type="sibTrans" cxnId="{12B71E36-DC8C-467C-B19D-6F7C9B2A7A01}">
      <dgm:prSet/>
      <dgm:spPr/>
      <dgm:t>
        <a:bodyPr/>
        <a:lstStyle/>
        <a:p>
          <a:endParaRPr lang="en-US"/>
        </a:p>
      </dgm:t>
    </dgm:pt>
    <dgm:pt modelId="{6124DC2B-567E-444F-9393-04F085FED218}">
      <dgm:prSet phldrT="[Text]"/>
      <dgm:spPr/>
      <dgm:t>
        <a:bodyPr/>
        <a:lstStyle/>
        <a:p>
          <a:r>
            <a:rPr lang="en-US" u="sng" dirty="0"/>
            <a:t>Deploy</a:t>
          </a:r>
        </a:p>
      </dgm:t>
    </dgm:pt>
    <dgm:pt modelId="{A4FA0D5C-1B5D-4F76-B38C-FC6B2D5EC109}" type="parTrans" cxnId="{B4CF9FF7-59AA-4CA3-BCB2-401E13BB1ADB}">
      <dgm:prSet/>
      <dgm:spPr/>
      <dgm:t>
        <a:bodyPr/>
        <a:lstStyle/>
        <a:p>
          <a:endParaRPr lang="en-US"/>
        </a:p>
      </dgm:t>
    </dgm:pt>
    <dgm:pt modelId="{DAC5E42B-AAB1-4BA0-BE41-A08281BEB372}" type="sibTrans" cxnId="{B4CF9FF7-59AA-4CA3-BCB2-401E13BB1ADB}">
      <dgm:prSet/>
      <dgm:spPr/>
      <dgm:t>
        <a:bodyPr/>
        <a:lstStyle/>
        <a:p>
          <a:endParaRPr lang="en-US"/>
        </a:p>
      </dgm:t>
    </dgm:pt>
    <dgm:pt modelId="{8BC45840-E947-49C3-A995-A28FB761F3DF}" type="pres">
      <dgm:prSet presAssocID="{CF343C08-84A8-4AFE-B788-5C83367A6619}" presName="rootnode" presStyleCnt="0">
        <dgm:presLayoutVars>
          <dgm:chMax/>
          <dgm:chPref/>
          <dgm:dir/>
          <dgm:animLvl val="lvl"/>
        </dgm:presLayoutVars>
      </dgm:prSet>
      <dgm:spPr/>
    </dgm:pt>
    <dgm:pt modelId="{EC266A1A-FEA9-453E-A881-890116489422}" type="pres">
      <dgm:prSet presAssocID="{C413C6D2-08AD-4000-92C0-E87D4235A9D8}" presName="composite" presStyleCnt="0"/>
      <dgm:spPr/>
    </dgm:pt>
    <dgm:pt modelId="{54E6C6AA-4523-4E1B-8231-1885F43130EC}" type="pres">
      <dgm:prSet presAssocID="{C413C6D2-08AD-4000-92C0-E87D4235A9D8}" presName="LShape" presStyleLbl="alignNode1" presStyleIdx="0" presStyleCnt="5"/>
      <dgm:spPr/>
    </dgm:pt>
    <dgm:pt modelId="{BA3AA46C-F283-456E-94B4-E982EB18C004}" type="pres">
      <dgm:prSet presAssocID="{C413C6D2-08AD-4000-92C0-E87D4235A9D8}" presName="ParentText" presStyleLbl="revTx" presStyleIdx="0" presStyleCnt="3">
        <dgm:presLayoutVars>
          <dgm:chMax val="0"/>
          <dgm:chPref val="0"/>
          <dgm:bulletEnabled val="1"/>
        </dgm:presLayoutVars>
      </dgm:prSet>
      <dgm:spPr/>
    </dgm:pt>
    <dgm:pt modelId="{07090AD9-E572-4EAB-91A1-47AEE17AFF49}" type="pres">
      <dgm:prSet presAssocID="{C413C6D2-08AD-4000-92C0-E87D4235A9D8}" presName="Triangle" presStyleLbl="alignNode1" presStyleIdx="1" presStyleCnt="5" custAng="16200000"/>
      <dgm:spPr/>
    </dgm:pt>
    <dgm:pt modelId="{749495C8-CD2F-4BE0-AAD3-1CFE45B06AA3}" type="pres">
      <dgm:prSet presAssocID="{B575993B-1229-402C-9FF6-DC7C707117BC}" presName="sibTrans" presStyleCnt="0"/>
      <dgm:spPr/>
    </dgm:pt>
    <dgm:pt modelId="{08ED81AA-0FF0-4B92-A872-57396ACCAC26}" type="pres">
      <dgm:prSet presAssocID="{B575993B-1229-402C-9FF6-DC7C707117BC}" presName="space" presStyleCnt="0"/>
      <dgm:spPr/>
    </dgm:pt>
    <dgm:pt modelId="{9807C4F3-0DA6-4029-8E31-9AC52F6D990B}" type="pres">
      <dgm:prSet presAssocID="{1C620434-CE27-449E-9EEB-267474C2BE0D}" presName="composite" presStyleCnt="0"/>
      <dgm:spPr/>
    </dgm:pt>
    <dgm:pt modelId="{8DF0808E-D4A8-4681-9191-CBC2959B6917}" type="pres">
      <dgm:prSet presAssocID="{1C620434-CE27-449E-9EEB-267474C2BE0D}" presName="LShape" presStyleLbl="alignNode1" presStyleIdx="2" presStyleCnt="5"/>
      <dgm:spPr/>
    </dgm:pt>
    <dgm:pt modelId="{92FBD1D4-013A-486A-B10C-88950BE6DEAB}" type="pres">
      <dgm:prSet presAssocID="{1C620434-CE27-449E-9EEB-267474C2BE0D}" presName="ParentText" presStyleLbl="revTx" presStyleIdx="1" presStyleCnt="3">
        <dgm:presLayoutVars>
          <dgm:chMax val="0"/>
          <dgm:chPref val="0"/>
          <dgm:bulletEnabled val="1"/>
        </dgm:presLayoutVars>
      </dgm:prSet>
      <dgm:spPr/>
    </dgm:pt>
    <dgm:pt modelId="{175FA4E2-FB2B-4B09-B52E-220453014EF6}" type="pres">
      <dgm:prSet presAssocID="{1C620434-CE27-449E-9EEB-267474C2BE0D}" presName="Triangle" presStyleLbl="alignNode1" presStyleIdx="3" presStyleCnt="5" custAng="16200000"/>
      <dgm:spPr/>
    </dgm:pt>
    <dgm:pt modelId="{E2070922-872B-4827-8850-8AEF226168F1}" type="pres">
      <dgm:prSet presAssocID="{7676D375-A041-4E32-BEC0-96DF42A04C2A}" presName="sibTrans" presStyleCnt="0"/>
      <dgm:spPr/>
    </dgm:pt>
    <dgm:pt modelId="{0DBE2370-50A7-40FD-BB5C-A60C2CDB4E40}" type="pres">
      <dgm:prSet presAssocID="{7676D375-A041-4E32-BEC0-96DF42A04C2A}" presName="space" presStyleCnt="0"/>
      <dgm:spPr/>
    </dgm:pt>
    <dgm:pt modelId="{7538B5AD-6899-48B5-9BD3-0A38DEBE69CB}" type="pres">
      <dgm:prSet presAssocID="{BE9EE89C-98E0-4DD7-BDE6-C874D219931C}" presName="composite" presStyleCnt="0"/>
      <dgm:spPr/>
    </dgm:pt>
    <dgm:pt modelId="{8DDD43F9-0967-4DB6-97A7-E19276369394}" type="pres">
      <dgm:prSet presAssocID="{BE9EE89C-98E0-4DD7-BDE6-C874D219931C}" presName="LShape" presStyleLbl="alignNode1" presStyleIdx="4" presStyleCnt="5"/>
      <dgm:spPr/>
    </dgm:pt>
    <dgm:pt modelId="{05EA32A1-7A40-4305-B996-6DDAFF2E72AB}" type="pres">
      <dgm:prSet presAssocID="{BE9EE89C-98E0-4DD7-BDE6-C874D219931C}" presName="ParentText" presStyleLbl="revTx" presStyleIdx="2" presStyleCnt="3">
        <dgm:presLayoutVars>
          <dgm:chMax val="0"/>
          <dgm:chPref val="0"/>
          <dgm:bulletEnabled val="1"/>
        </dgm:presLayoutVars>
      </dgm:prSet>
      <dgm:spPr/>
    </dgm:pt>
  </dgm:ptLst>
  <dgm:cxnLst>
    <dgm:cxn modelId="{9E92FE1C-84FE-466D-B4D3-86AF1390D2E9}" type="presOf" srcId="{619C37D9-5926-463A-824E-817E6B2CCBEB}" destId="{BA3AA46C-F283-456E-94B4-E982EB18C004}" srcOrd="0" destOrd="2" presId="urn:microsoft.com/office/officeart/2009/3/layout/StepUpProcess"/>
    <dgm:cxn modelId="{FAF67504-0EBF-4E79-AADF-EAC4EB9CCBE5}" srcId="{1C620434-CE27-449E-9EEB-267474C2BE0D}" destId="{89FCED79-6979-4361-8F57-54644DF08822}" srcOrd="1" destOrd="0" parTransId="{F10A2E91-E516-4B94-8E22-829496F8061E}" sibTransId="{4D9E89EA-20E9-440E-90A7-34E8B21B5061}"/>
    <dgm:cxn modelId="{B4CF9FF7-59AA-4CA3-BCB2-401E13BB1ADB}" srcId="{BE9EE89C-98E0-4DD7-BDE6-C874D219931C}" destId="{6124DC2B-567E-444F-9393-04F085FED218}" srcOrd="2" destOrd="0" parTransId="{A4FA0D5C-1B5D-4F76-B38C-FC6B2D5EC109}" sibTransId="{DAC5E42B-AAB1-4BA0-BE41-A08281BEB372}"/>
    <dgm:cxn modelId="{1F5D0F80-D50C-4B98-AC48-1858B0ADEADD}" type="presOf" srcId="{C413C6D2-08AD-4000-92C0-E87D4235A9D8}" destId="{BA3AA46C-F283-456E-94B4-E982EB18C004}" srcOrd="0" destOrd="0" presId="urn:microsoft.com/office/officeart/2009/3/layout/StepUpProcess"/>
    <dgm:cxn modelId="{3976B912-E661-4306-811B-FE6EAA5A0FB5}" type="presOf" srcId="{89FCED79-6979-4361-8F57-54644DF08822}" destId="{92FBD1D4-013A-486A-B10C-88950BE6DEAB}" srcOrd="0" destOrd="2" presId="urn:microsoft.com/office/officeart/2009/3/layout/StepUpProcess"/>
    <dgm:cxn modelId="{E3CF8FA5-34B6-4D66-9F4B-9BD4FC2D361D}" type="presOf" srcId="{114EB774-08B4-414B-A3F4-07690A7FC4B3}" destId="{05EA32A1-7A40-4305-B996-6DDAFF2E72AB}" srcOrd="0" destOrd="2" presId="urn:microsoft.com/office/officeart/2009/3/layout/StepUpProcess"/>
    <dgm:cxn modelId="{3725C55D-34FE-45D6-8790-241F90B9BF9A}" srcId="{C413C6D2-08AD-4000-92C0-E87D4235A9D8}" destId="{A5D18830-0E27-4D99-AD78-0609B169130F}" srcOrd="2" destOrd="0" parTransId="{71B6E284-785A-48C2-ACE1-0B3DA26BE388}" sibTransId="{B9ED82AE-5EF1-4B7A-9A26-010708ABD846}"/>
    <dgm:cxn modelId="{F1A2AE5A-75A8-4E2F-93A9-7F4620601AEB}" type="presOf" srcId="{1C620434-CE27-449E-9EEB-267474C2BE0D}" destId="{92FBD1D4-013A-486A-B10C-88950BE6DEAB}" srcOrd="0" destOrd="0" presId="urn:microsoft.com/office/officeart/2009/3/layout/StepUpProcess"/>
    <dgm:cxn modelId="{52FBFB7B-D90F-41C1-956D-4EF04499E095}" srcId="{1C620434-CE27-449E-9EEB-267474C2BE0D}" destId="{89BBBBD0-297E-4294-A69E-949D6D3C1822}" srcOrd="0" destOrd="0" parTransId="{35C281CE-D888-4389-A0D6-2E86397D016F}" sibTransId="{FC88585C-3EF3-4AEF-88F4-4F64E3985237}"/>
    <dgm:cxn modelId="{BDFE56A5-E9D1-4053-BAE7-82ABC94D23A1}" srcId="{C413C6D2-08AD-4000-92C0-E87D4235A9D8}" destId="{619C37D9-5926-463A-824E-817E6B2CCBEB}" srcOrd="1" destOrd="0" parTransId="{9A9AA701-F75A-43D7-BEA9-69DE5EF9F5E5}" sibTransId="{9D46A4AD-5C94-4A6C-95ED-1D150FD17D1B}"/>
    <dgm:cxn modelId="{0CBE8889-7490-406D-88B3-D49CADCC18F6}" srcId="{C413C6D2-08AD-4000-92C0-E87D4235A9D8}" destId="{2CD2BBA6-19BF-4563-93E4-5CF5E4E643B8}" srcOrd="0" destOrd="0" parTransId="{B257CDBE-2B9D-40D8-BA03-9ADEBA80AEE3}" sibTransId="{A5AC494D-7A50-452A-9777-C05238B6136A}"/>
    <dgm:cxn modelId="{8FB36178-C858-47CD-A930-99CAE4CFF5E7}" srcId="{BE9EE89C-98E0-4DD7-BDE6-C874D219931C}" destId="{A0CCC710-2607-4B6B-A331-B682D9586B7E}" srcOrd="0" destOrd="0" parTransId="{2AF24EB8-03CA-4BB0-891B-24F636CE3092}" sibTransId="{90EB1BFF-F7E4-40EC-AC0C-D376FDDB10E0}"/>
    <dgm:cxn modelId="{97184FD4-6D3F-4A8F-8DA7-7DEF541D73A6}" srcId="{CF343C08-84A8-4AFE-B788-5C83367A6619}" destId="{1C620434-CE27-449E-9EEB-267474C2BE0D}" srcOrd="1" destOrd="0" parTransId="{48CB58A2-FABF-4091-9164-299EA04EF33F}" sibTransId="{7676D375-A041-4E32-BEC0-96DF42A04C2A}"/>
    <dgm:cxn modelId="{A39C0368-9B7D-4723-9801-81386650E334}" type="presOf" srcId="{6124DC2B-567E-444F-9393-04F085FED218}" destId="{05EA32A1-7A40-4305-B996-6DDAFF2E72AB}" srcOrd="0" destOrd="3" presId="urn:microsoft.com/office/officeart/2009/3/layout/StepUpProcess"/>
    <dgm:cxn modelId="{12B71E36-DC8C-467C-B19D-6F7C9B2A7A01}" srcId="{1C620434-CE27-449E-9EEB-267474C2BE0D}" destId="{C876BD2B-3EF0-4A90-BFBA-2C30A02659A6}" srcOrd="2" destOrd="0" parTransId="{2B49D5D5-18C7-4FDE-9D7D-9CA75640AFA5}" sibTransId="{4A92E6F7-E549-415B-9D43-77777B1D72FF}"/>
    <dgm:cxn modelId="{91A18CDA-41CF-4CC6-BF1F-2158C20858EF}" type="presOf" srcId="{89BBBBD0-297E-4294-A69E-949D6D3C1822}" destId="{92FBD1D4-013A-486A-B10C-88950BE6DEAB}" srcOrd="0" destOrd="1" presId="urn:microsoft.com/office/officeart/2009/3/layout/StepUpProcess"/>
    <dgm:cxn modelId="{EEF9CB88-3E8E-420C-86EB-289897312A69}" type="presOf" srcId="{A0CCC710-2607-4B6B-A331-B682D9586B7E}" destId="{05EA32A1-7A40-4305-B996-6DDAFF2E72AB}" srcOrd="0" destOrd="1" presId="urn:microsoft.com/office/officeart/2009/3/layout/StepUpProcess"/>
    <dgm:cxn modelId="{9C61579D-CBE7-4AE1-B9CF-B506290BC769}" srcId="{BE9EE89C-98E0-4DD7-BDE6-C874D219931C}" destId="{114EB774-08B4-414B-A3F4-07690A7FC4B3}" srcOrd="1" destOrd="0" parTransId="{9CAF3037-3F7A-473B-B444-3E2D025586DA}" sibTransId="{3941F4FE-DE9F-4367-BC75-72699695225A}"/>
    <dgm:cxn modelId="{DDA1210D-C09E-466A-B66C-78B6CF66CE44}" srcId="{CF343C08-84A8-4AFE-B788-5C83367A6619}" destId="{BE9EE89C-98E0-4DD7-BDE6-C874D219931C}" srcOrd="2" destOrd="0" parTransId="{745F0354-8FD3-47D4-987C-FDBBE58298CC}" sibTransId="{D4328187-ADE5-4A02-B014-5787960C1590}"/>
    <dgm:cxn modelId="{A588C5D6-3A39-418F-BE85-B45A0C02B591}" srcId="{CF343C08-84A8-4AFE-B788-5C83367A6619}" destId="{C413C6D2-08AD-4000-92C0-E87D4235A9D8}" srcOrd="0" destOrd="0" parTransId="{791FEE7A-3874-44AB-A388-4468E221909A}" sibTransId="{B575993B-1229-402C-9FF6-DC7C707117BC}"/>
    <dgm:cxn modelId="{758D6836-0C30-4931-AB42-9E0A294D780F}" type="presOf" srcId="{BE9EE89C-98E0-4DD7-BDE6-C874D219931C}" destId="{05EA32A1-7A40-4305-B996-6DDAFF2E72AB}" srcOrd="0" destOrd="0" presId="urn:microsoft.com/office/officeart/2009/3/layout/StepUpProcess"/>
    <dgm:cxn modelId="{BEB227E9-48E3-47B4-AA4B-33E88F2B2E1D}" type="presOf" srcId="{A5D18830-0E27-4D99-AD78-0609B169130F}" destId="{BA3AA46C-F283-456E-94B4-E982EB18C004}" srcOrd="0" destOrd="3" presId="urn:microsoft.com/office/officeart/2009/3/layout/StepUpProcess"/>
    <dgm:cxn modelId="{B29A4048-4220-4AA8-875F-1F0ECC3C3BD6}" type="presOf" srcId="{C876BD2B-3EF0-4A90-BFBA-2C30A02659A6}" destId="{92FBD1D4-013A-486A-B10C-88950BE6DEAB}" srcOrd="0" destOrd="3" presId="urn:microsoft.com/office/officeart/2009/3/layout/StepUpProcess"/>
    <dgm:cxn modelId="{77DB735A-BF34-4424-84C1-5A71708D2C50}" type="presOf" srcId="{2CD2BBA6-19BF-4563-93E4-5CF5E4E643B8}" destId="{BA3AA46C-F283-456E-94B4-E982EB18C004}" srcOrd="0" destOrd="1" presId="urn:microsoft.com/office/officeart/2009/3/layout/StepUpProcess"/>
    <dgm:cxn modelId="{ABB6E7C6-E9E2-435D-B240-E13D05F11BA4}" type="presOf" srcId="{CF343C08-84A8-4AFE-B788-5C83367A6619}" destId="{8BC45840-E947-49C3-A995-A28FB761F3DF}" srcOrd="0" destOrd="0" presId="urn:microsoft.com/office/officeart/2009/3/layout/StepUpProcess"/>
    <dgm:cxn modelId="{293AAE6C-AD48-4A9E-B280-F94ACD1CC61A}" type="presParOf" srcId="{8BC45840-E947-49C3-A995-A28FB761F3DF}" destId="{EC266A1A-FEA9-453E-A881-890116489422}" srcOrd="0" destOrd="0" presId="urn:microsoft.com/office/officeart/2009/3/layout/StepUpProcess"/>
    <dgm:cxn modelId="{68F60E2D-FA1B-4421-9A5A-D9521BABD0A8}" type="presParOf" srcId="{EC266A1A-FEA9-453E-A881-890116489422}" destId="{54E6C6AA-4523-4E1B-8231-1885F43130EC}" srcOrd="0" destOrd="0" presId="urn:microsoft.com/office/officeart/2009/3/layout/StepUpProcess"/>
    <dgm:cxn modelId="{49AEFD9E-F0B0-4265-840C-D6CCC18C9754}" type="presParOf" srcId="{EC266A1A-FEA9-453E-A881-890116489422}" destId="{BA3AA46C-F283-456E-94B4-E982EB18C004}" srcOrd="1" destOrd="0" presId="urn:microsoft.com/office/officeart/2009/3/layout/StepUpProcess"/>
    <dgm:cxn modelId="{56C27B1F-6981-4952-A27E-504BDC3D9EF9}" type="presParOf" srcId="{EC266A1A-FEA9-453E-A881-890116489422}" destId="{07090AD9-E572-4EAB-91A1-47AEE17AFF49}" srcOrd="2" destOrd="0" presId="urn:microsoft.com/office/officeart/2009/3/layout/StepUpProcess"/>
    <dgm:cxn modelId="{06361E2A-0B3F-4349-A085-A4F45E046FDB}" type="presParOf" srcId="{8BC45840-E947-49C3-A995-A28FB761F3DF}" destId="{749495C8-CD2F-4BE0-AAD3-1CFE45B06AA3}" srcOrd="1" destOrd="0" presId="urn:microsoft.com/office/officeart/2009/3/layout/StepUpProcess"/>
    <dgm:cxn modelId="{3C6C0AC4-6959-43E5-869E-AFD1A08EC02F}" type="presParOf" srcId="{749495C8-CD2F-4BE0-AAD3-1CFE45B06AA3}" destId="{08ED81AA-0FF0-4B92-A872-57396ACCAC26}" srcOrd="0" destOrd="0" presId="urn:microsoft.com/office/officeart/2009/3/layout/StepUpProcess"/>
    <dgm:cxn modelId="{E036A015-DE8D-4B84-B829-0B0AC971C151}" type="presParOf" srcId="{8BC45840-E947-49C3-A995-A28FB761F3DF}" destId="{9807C4F3-0DA6-4029-8E31-9AC52F6D990B}" srcOrd="2" destOrd="0" presId="urn:microsoft.com/office/officeart/2009/3/layout/StepUpProcess"/>
    <dgm:cxn modelId="{0F289A19-89B0-447D-A4FD-665EEDBE3527}" type="presParOf" srcId="{9807C4F3-0DA6-4029-8E31-9AC52F6D990B}" destId="{8DF0808E-D4A8-4681-9191-CBC2959B6917}" srcOrd="0" destOrd="0" presId="urn:microsoft.com/office/officeart/2009/3/layout/StepUpProcess"/>
    <dgm:cxn modelId="{99FF2E35-1D72-4318-AFE9-5D856EEDD81F}" type="presParOf" srcId="{9807C4F3-0DA6-4029-8E31-9AC52F6D990B}" destId="{92FBD1D4-013A-486A-B10C-88950BE6DEAB}" srcOrd="1" destOrd="0" presId="urn:microsoft.com/office/officeart/2009/3/layout/StepUpProcess"/>
    <dgm:cxn modelId="{F81A237F-A954-4AAC-9AFB-0BC94D4657D6}" type="presParOf" srcId="{9807C4F3-0DA6-4029-8E31-9AC52F6D990B}" destId="{175FA4E2-FB2B-4B09-B52E-220453014EF6}" srcOrd="2" destOrd="0" presId="urn:microsoft.com/office/officeart/2009/3/layout/StepUpProcess"/>
    <dgm:cxn modelId="{A403ABFD-5CFA-4A67-9B9D-0B9DD92627AB}" type="presParOf" srcId="{8BC45840-E947-49C3-A995-A28FB761F3DF}" destId="{E2070922-872B-4827-8850-8AEF226168F1}" srcOrd="3" destOrd="0" presId="urn:microsoft.com/office/officeart/2009/3/layout/StepUpProcess"/>
    <dgm:cxn modelId="{939DD574-F9EC-4C47-BD74-8727379739C8}" type="presParOf" srcId="{E2070922-872B-4827-8850-8AEF226168F1}" destId="{0DBE2370-50A7-40FD-BB5C-A60C2CDB4E40}" srcOrd="0" destOrd="0" presId="urn:microsoft.com/office/officeart/2009/3/layout/StepUpProcess"/>
    <dgm:cxn modelId="{B5C3CE8F-DE31-4515-919D-59CCA9FB734F}" type="presParOf" srcId="{8BC45840-E947-49C3-A995-A28FB761F3DF}" destId="{7538B5AD-6899-48B5-9BD3-0A38DEBE69CB}" srcOrd="4" destOrd="0" presId="urn:microsoft.com/office/officeart/2009/3/layout/StepUpProcess"/>
    <dgm:cxn modelId="{3E8BFD38-700C-4B15-B40E-42099BD7E1C8}" type="presParOf" srcId="{7538B5AD-6899-48B5-9BD3-0A38DEBE69CB}" destId="{8DDD43F9-0967-4DB6-97A7-E19276369394}" srcOrd="0" destOrd="0" presId="urn:microsoft.com/office/officeart/2009/3/layout/StepUpProcess"/>
    <dgm:cxn modelId="{175B7BDA-DB9E-4B4F-ADC3-1DE1B7BEA3ED}" type="presParOf" srcId="{7538B5AD-6899-48B5-9BD3-0A38DEBE69CB}" destId="{05EA32A1-7A40-4305-B996-6DDAFF2E72AB}"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F343C08-84A8-4AFE-B788-5C83367A6619}"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en-US"/>
        </a:p>
      </dgm:t>
    </dgm:pt>
    <dgm:pt modelId="{C413C6D2-08AD-4000-92C0-E87D4235A9D8}">
      <dgm:prSet phldrT="[Text]"/>
      <dgm:spPr/>
      <dgm:t>
        <a:bodyPr/>
        <a:lstStyle/>
        <a:p>
          <a:r>
            <a:rPr lang="en-US" dirty="0"/>
            <a:t>Release 1</a:t>
          </a:r>
        </a:p>
      </dgm:t>
    </dgm:pt>
    <dgm:pt modelId="{791FEE7A-3874-44AB-A388-4468E221909A}" type="parTrans" cxnId="{A588C5D6-3A39-418F-BE85-B45A0C02B591}">
      <dgm:prSet/>
      <dgm:spPr/>
      <dgm:t>
        <a:bodyPr/>
        <a:lstStyle/>
        <a:p>
          <a:endParaRPr lang="en-US"/>
        </a:p>
      </dgm:t>
    </dgm:pt>
    <dgm:pt modelId="{B575993B-1229-402C-9FF6-DC7C707117BC}" type="sibTrans" cxnId="{A588C5D6-3A39-418F-BE85-B45A0C02B591}">
      <dgm:prSet/>
      <dgm:spPr/>
      <dgm:t>
        <a:bodyPr/>
        <a:lstStyle/>
        <a:p>
          <a:endParaRPr lang="en-US"/>
        </a:p>
      </dgm:t>
    </dgm:pt>
    <dgm:pt modelId="{2CD2BBA6-19BF-4563-93E4-5CF5E4E643B8}">
      <dgm:prSet phldrT="[Text]"/>
      <dgm:spPr/>
      <dgm:t>
        <a:bodyPr/>
        <a:lstStyle/>
        <a:p>
          <a:r>
            <a:rPr lang="en-US" dirty="0"/>
            <a:t>Design</a:t>
          </a:r>
        </a:p>
      </dgm:t>
    </dgm:pt>
    <dgm:pt modelId="{B257CDBE-2B9D-40D8-BA03-9ADEBA80AEE3}" type="parTrans" cxnId="{0CBE8889-7490-406D-88B3-D49CADCC18F6}">
      <dgm:prSet/>
      <dgm:spPr/>
      <dgm:t>
        <a:bodyPr/>
        <a:lstStyle/>
        <a:p>
          <a:endParaRPr lang="en-US"/>
        </a:p>
      </dgm:t>
    </dgm:pt>
    <dgm:pt modelId="{A5AC494D-7A50-452A-9777-C05238B6136A}" type="sibTrans" cxnId="{0CBE8889-7490-406D-88B3-D49CADCC18F6}">
      <dgm:prSet/>
      <dgm:spPr/>
      <dgm:t>
        <a:bodyPr/>
        <a:lstStyle/>
        <a:p>
          <a:endParaRPr lang="en-US"/>
        </a:p>
      </dgm:t>
    </dgm:pt>
    <dgm:pt modelId="{619C37D9-5926-463A-824E-817E6B2CCBEB}">
      <dgm:prSet phldrT="[Text]"/>
      <dgm:spPr/>
      <dgm:t>
        <a:bodyPr/>
        <a:lstStyle/>
        <a:p>
          <a:r>
            <a:rPr lang="en-US" dirty="0"/>
            <a:t>Develop</a:t>
          </a:r>
        </a:p>
      </dgm:t>
    </dgm:pt>
    <dgm:pt modelId="{9A9AA701-F75A-43D7-BEA9-69DE5EF9F5E5}" type="parTrans" cxnId="{BDFE56A5-E9D1-4053-BAE7-82ABC94D23A1}">
      <dgm:prSet/>
      <dgm:spPr/>
      <dgm:t>
        <a:bodyPr/>
        <a:lstStyle/>
        <a:p>
          <a:endParaRPr lang="en-US"/>
        </a:p>
      </dgm:t>
    </dgm:pt>
    <dgm:pt modelId="{9D46A4AD-5C94-4A6C-95ED-1D150FD17D1B}" type="sibTrans" cxnId="{BDFE56A5-E9D1-4053-BAE7-82ABC94D23A1}">
      <dgm:prSet/>
      <dgm:spPr/>
      <dgm:t>
        <a:bodyPr/>
        <a:lstStyle/>
        <a:p>
          <a:endParaRPr lang="en-US"/>
        </a:p>
      </dgm:t>
    </dgm:pt>
    <dgm:pt modelId="{1C620434-CE27-449E-9EEB-267474C2BE0D}">
      <dgm:prSet phldrT="[Text]"/>
      <dgm:spPr/>
      <dgm:t>
        <a:bodyPr/>
        <a:lstStyle/>
        <a:p>
          <a:r>
            <a:rPr lang="en-US" dirty="0"/>
            <a:t>Release 2</a:t>
          </a:r>
        </a:p>
      </dgm:t>
    </dgm:pt>
    <dgm:pt modelId="{48CB58A2-FABF-4091-9164-299EA04EF33F}" type="parTrans" cxnId="{97184FD4-6D3F-4A8F-8DA7-7DEF541D73A6}">
      <dgm:prSet/>
      <dgm:spPr/>
      <dgm:t>
        <a:bodyPr/>
        <a:lstStyle/>
        <a:p>
          <a:endParaRPr lang="en-US"/>
        </a:p>
      </dgm:t>
    </dgm:pt>
    <dgm:pt modelId="{7676D375-A041-4E32-BEC0-96DF42A04C2A}" type="sibTrans" cxnId="{97184FD4-6D3F-4A8F-8DA7-7DEF541D73A6}">
      <dgm:prSet/>
      <dgm:spPr/>
      <dgm:t>
        <a:bodyPr/>
        <a:lstStyle/>
        <a:p>
          <a:endParaRPr lang="en-US"/>
        </a:p>
      </dgm:t>
    </dgm:pt>
    <dgm:pt modelId="{89BBBBD0-297E-4294-A69E-949D6D3C1822}">
      <dgm:prSet phldrT="[Text]"/>
      <dgm:spPr/>
      <dgm:t>
        <a:bodyPr/>
        <a:lstStyle/>
        <a:p>
          <a:r>
            <a:rPr lang="en-US" dirty="0"/>
            <a:t>Design/Refactor</a:t>
          </a:r>
        </a:p>
      </dgm:t>
    </dgm:pt>
    <dgm:pt modelId="{35C281CE-D888-4389-A0D6-2E86397D016F}" type="parTrans" cxnId="{52FBFB7B-D90F-41C1-956D-4EF04499E095}">
      <dgm:prSet/>
      <dgm:spPr/>
      <dgm:t>
        <a:bodyPr/>
        <a:lstStyle/>
        <a:p>
          <a:endParaRPr lang="en-US"/>
        </a:p>
      </dgm:t>
    </dgm:pt>
    <dgm:pt modelId="{FC88585C-3EF3-4AEF-88F4-4F64E3985237}" type="sibTrans" cxnId="{52FBFB7B-D90F-41C1-956D-4EF04499E095}">
      <dgm:prSet/>
      <dgm:spPr/>
      <dgm:t>
        <a:bodyPr/>
        <a:lstStyle/>
        <a:p>
          <a:endParaRPr lang="en-US"/>
        </a:p>
      </dgm:t>
    </dgm:pt>
    <dgm:pt modelId="{89FCED79-6979-4361-8F57-54644DF08822}">
      <dgm:prSet phldrT="[Text]"/>
      <dgm:spPr/>
      <dgm:t>
        <a:bodyPr/>
        <a:lstStyle/>
        <a:p>
          <a:r>
            <a:rPr lang="en-US" dirty="0"/>
            <a:t>Develop</a:t>
          </a:r>
        </a:p>
      </dgm:t>
    </dgm:pt>
    <dgm:pt modelId="{F10A2E91-E516-4B94-8E22-829496F8061E}" type="parTrans" cxnId="{FAF67504-0EBF-4E79-AADF-EAC4EB9CCBE5}">
      <dgm:prSet/>
      <dgm:spPr/>
      <dgm:t>
        <a:bodyPr/>
        <a:lstStyle/>
        <a:p>
          <a:endParaRPr lang="en-US"/>
        </a:p>
      </dgm:t>
    </dgm:pt>
    <dgm:pt modelId="{4D9E89EA-20E9-440E-90A7-34E8B21B5061}" type="sibTrans" cxnId="{FAF67504-0EBF-4E79-AADF-EAC4EB9CCBE5}">
      <dgm:prSet/>
      <dgm:spPr/>
      <dgm:t>
        <a:bodyPr/>
        <a:lstStyle/>
        <a:p>
          <a:endParaRPr lang="en-US"/>
        </a:p>
      </dgm:t>
    </dgm:pt>
    <dgm:pt modelId="{BE9EE89C-98E0-4DD7-BDE6-C874D219931C}">
      <dgm:prSet phldrT="[Text]"/>
      <dgm:spPr/>
      <dgm:t>
        <a:bodyPr/>
        <a:lstStyle/>
        <a:p>
          <a:r>
            <a:rPr lang="en-US" dirty="0"/>
            <a:t>Release 3</a:t>
          </a:r>
        </a:p>
      </dgm:t>
    </dgm:pt>
    <dgm:pt modelId="{745F0354-8FD3-47D4-987C-FDBBE58298CC}" type="parTrans" cxnId="{DDA1210D-C09E-466A-B66C-78B6CF66CE44}">
      <dgm:prSet/>
      <dgm:spPr/>
      <dgm:t>
        <a:bodyPr/>
        <a:lstStyle/>
        <a:p>
          <a:endParaRPr lang="en-US"/>
        </a:p>
      </dgm:t>
    </dgm:pt>
    <dgm:pt modelId="{D4328187-ADE5-4A02-B014-5787960C1590}" type="sibTrans" cxnId="{DDA1210D-C09E-466A-B66C-78B6CF66CE44}">
      <dgm:prSet/>
      <dgm:spPr/>
      <dgm:t>
        <a:bodyPr/>
        <a:lstStyle/>
        <a:p>
          <a:endParaRPr lang="en-US"/>
        </a:p>
      </dgm:t>
    </dgm:pt>
    <dgm:pt modelId="{A0CCC710-2607-4B6B-A331-B682D9586B7E}">
      <dgm:prSet phldrT="[Text]"/>
      <dgm:spPr/>
      <dgm:t>
        <a:bodyPr/>
        <a:lstStyle/>
        <a:p>
          <a:r>
            <a:rPr lang="en-US" dirty="0"/>
            <a:t>Design/Refactor</a:t>
          </a:r>
        </a:p>
      </dgm:t>
    </dgm:pt>
    <dgm:pt modelId="{2AF24EB8-03CA-4BB0-891B-24F636CE3092}" type="parTrans" cxnId="{8FB36178-C858-47CD-A930-99CAE4CFF5E7}">
      <dgm:prSet/>
      <dgm:spPr/>
      <dgm:t>
        <a:bodyPr/>
        <a:lstStyle/>
        <a:p>
          <a:endParaRPr lang="en-US"/>
        </a:p>
      </dgm:t>
    </dgm:pt>
    <dgm:pt modelId="{90EB1BFF-F7E4-40EC-AC0C-D376FDDB10E0}" type="sibTrans" cxnId="{8FB36178-C858-47CD-A930-99CAE4CFF5E7}">
      <dgm:prSet/>
      <dgm:spPr/>
      <dgm:t>
        <a:bodyPr/>
        <a:lstStyle/>
        <a:p>
          <a:endParaRPr lang="en-US"/>
        </a:p>
      </dgm:t>
    </dgm:pt>
    <dgm:pt modelId="{114EB774-08B4-414B-A3F4-07690A7FC4B3}">
      <dgm:prSet phldrT="[Text]"/>
      <dgm:spPr/>
      <dgm:t>
        <a:bodyPr/>
        <a:lstStyle/>
        <a:p>
          <a:r>
            <a:rPr lang="en-US" dirty="0"/>
            <a:t>Develop</a:t>
          </a:r>
        </a:p>
      </dgm:t>
    </dgm:pt>
    <dgm:pt modelId="{9CAF3037-3F7A-473B-B444-3E2D025586DA}" type="parTrans" cxnId="{9C61579D-CBE7-4AE1-B9CF-B506290BC769}">
      <dgm:prSet/>
      <dgm:spPr/>
      <dgm:t>
        <a:bodyPr/>
        <a:lstStyle/>
        <a:p>
          <a:endParaRPr lang="en-US"/>
        </a:p>
      </dgm:t>
    </dgm:pt>
    <dgm:pt modelId="{3941F4FE-DE9F-4367-BC75-72699695225A}" type="sibTrans" cxnId="{9C61579D-CBE7-4AE1-B9CF-B506290BC769}">
      <dgm:prSet/>
      <dgm:spPr/>
      <dgm:t>
        <a:bodyPr/>
        <a:lstStyle/>
        <a:p>
          <a:endParaRPr lang="en-US"/>
        </a:p>
      </dgm:t>
    </dgm:pt>
    <dgm:pt modelId="{A5D18830-0E27-4D99-AD78-0609B169130F}">
      <dgm:prSet phldrT="[Text]"/>
      <dgm:spPr/>
      <dgm:t>
        <a:bodyPr/>
        <a:lstStyle/>
        <a:p>
          <a:r>
            <a:rPr lang="en-US" u="sng" dirty="0"/>
            <a:t>Deploy</a:t>
          </a:r>
        </a:p>
      </dgm:t>
    </dgm:pt>
    <dgm:pt modelId="{71B6E284-785A-48C2-ACE1-0B3DA26BE388}" type="parTrans" cxnId="{3725C55D-34FE-45D6-8790-241F90B9BF9A}">
      <dgm:prSet/>
      <dgm:spPr/>
      <dgm:t>
        <a:bodyPr/>
        <a:lstStyle/>
        <a:p>
          <a:endParaRPr lang="en-US"/>
        </a:p>
      </dgm:t>
    </dgm:pt>
    <dgm:pt modelId="{B9ED82AE-5EF1-4B7A-9A26-010708ABD846}" type="sibTrans" cxnId="{3725C55D-34FE-45D6-8790-241F90B9BF9A}">
      <dgm:prSet/>
      <dgm:spPr/>
      <dgm:t>
        <a:bodyPr/>
        <a:lstStyle/>
        <a:p>
          <a:endParaRPr lang="en-US"/>
        </a:p>
      </dgm:t>
    </dgm:pt>
    <dgm:pt modelId="{C876BD2B-3EF0-4A90-BFBA-2C30A02659A6}">
      <dgm:prSet phldrT="[Text]"/>
      <dgm:spPr/>
      <dgm:t>
        <a:bodyPr/>
        <a:lstStyle/>
        <a:p>
          <a:r>
            <a:rPr lang="en-US" u="sng" dirty="0"/>
            <a:t>Deploy</a:t>
          </a:r>
        </a:p>
      </dgm:t>
    </dgm:pt>
    <dgm:pt modelId="{2B49D5D5-18C7-4FDE-9D7D-9CA75640AFA5}" type="parTrans" cxnId="{12B71E36-DC8C-467C-B19D-6F7C9B2A7A01}">
      <dgm:prSet/>
      <dgm:spPr/>
      <dgm:t>
        <a:bodyPr/>
        <a:lstStyle/>
        <a:p>
          <a:endParaRPr lang="en-US"/>
        </a:p>
      </dgm:t>
    </dgm:pt>
    <dgm:pt modelId="{4A92E6F7-E549-415B-9D43-77777B1D72FF}" type="sibTrans" cxnId="{12B71E36-DC8C-467C-B19D-6F7C9B2A7A01}">
      <dgm:prSet/>
      <dgm:spPr/>
      <dgm:t>
        <a:bodyPr/>
        <a:lstStyle/>
        <a:p>
          <a:endParaRPr lang="en-US"/>
        </a:p>
      </dgm:t>
    </dgm:pt>
    <dgm:pt modelId="{6124DC2B-567E-444F-9393-04F085FED218}">
      <dgm:prSet phldrT="[Text]"/>
      <dgm:spPr/>
      <dgm:t>
        <a:bodyPr/>
        <a:lstStyle/>
        <a:p>
          <a:r>
            <a:rPr lang="en-US" u="sng" dirty="0"/>
            <a:t>Deploy</a:t>
          </a:r>
        </a:p>
      </dgm:t>
    </dgm:pt>
    <dgm:pt modelId="{A4FA0D5C-1B5D-4F76-B38C-FC6B2D5EC109}" type="parTrans" cxnId="{B4CF9FF7-59AA-4CA3-BCB2-401E13BB1ADB}">
      <dgm:prSet/>
      <dgm:spPr/>
      <dgm:t>
        <a:bodyPr/>
        <a:lstStyle/>
        <a:p>
          <a:endParaRPr lang="en-US"/>
        </a:p>
      </dgm:t>
    </dgm:pt>
    <dgm:pt modelId="{DAC5E42B-AAB1-4BA0-BE41-A08281BEB372}" type="sibTrans" cxnId="{B4CF9FF7-59AA-4CA3-BCB2-401E13BB1ADB}">
      <dgm:prSet/>
      <dgm:spPr/>
      <dgm:t>
        <a:bodyPr/>
        <a:lstStyle/>
        <a:p>
          <a:endParaRPr lang="en-US"/>
        </a:p>
      </dgm:t>
    </dgm:pt>
    <dgm:pt modelId="{8BC45840-E947-49C3-A995-A28FB761F3DF}" type="pres">
      <dgm:prSet presAssocID="{CF343C08-84A8-4AFE-B788-5C83367A6619}" presName="rootnode" presStyleCnt="0">
        <dgm:presLayoutVars>
          <dgm:chMax/>
          <dgm:chPref/>
          <dgm:dir/>
          <dgm:animLvl val="lvl"/>
        </dgm:presLayoutVars>
      </dgm:prSet>
      <dgm:spPr/>
    </dgm:pt>
    <dgm:pt modelId="{EC266A1A-FEA9-453E-A881-890116489422}" type="pres">
      <dgm:prSet presAssocID="{C413C6D2-08AD-4000-92C0-E87D4235A9D8}" presName="composite" presStyleCnt="0"/>
      <dgm:spPr/>
    </dgm:pt>
    <dgm:pt modelId="{54E6C6AA-4523-4E1B-8231-1885F43130EC}" type="pres">
      <dgm:prSet presAssocID="{C413C6D2-08AD-4000-92C0-E87D4235A9D8}" presName="LShape" presStyleLbl="alignNode1" presStyleIdx="0" presStyleCnt="5"/>
      <dgm:spPr/>
    </dgm:pt>
    <dgm:pt modelId="{BA3AA46C-F283-456E-94B4-E982EB18C004}" type="pres">
      <dgm:prSet presAssocID="{C413C6D2-08AD-4000-92C0-E87D4235A9D8}" presName="ParentText" presStyleLbl="revTx" presStyleIdx="0" presStyleCnt="3">
        <dgm:presLayoutVars>
          <dgm:chMax val="0"/>
          <dgm:chPref val="0"/>
          <dgm:bulletEnabled val="1"/>
        </dgm:presLayoutVars>
      </dgm:prSet>
      <dgm:spPr/>
    </dgm:pt>
    <dgm:pt modelId="{07090AD9-E572-4EAB-91A1-47AEE17AFF49}" type="pres">
      <dgm:prSet presAssocID="{C413C6D2-08AD-4000-92C0-E87D4235A9D8}" presName="Triangle" presStyleLbl="alignNode1" presStyleIdx="1" presStyleCnt="5" custAng="16200000"/>
      <dgm:spPr/>
    </dgm:pt>
    <dgm:pt modelId="{749495C8-CD2F-4BE0-AAD3-1CFE45B06AA3}" type="pres">
      <dgm:prSet presAssocID="{B575993B-1229-402C-9FF6-DC7C707117BC}" presName="sibTrans" presStyleCnt="0"/>
      <dgm:spPr/>
    </dgm:pt>
    <dgm:pt modelId="{08ED81AA-0FF0-4B92-A872-57396ACCAC26}" type="pres">
      <dgm:prSet presAssocID="{B575993B-1229-402C-9FF6-DC7C707117BC}" presName="space" presStyleCnt="0"/>
      <dgm:spPr/>
    </dgm:pt>
    <dgm:pt modelId="{9807C4F3-0DA6-4029-8E31-9AC52F6D990B}" type="pres">
      <dgm:prSet presAssocID="{1C620434-CE27-449E-9EEB-267474C2BE0D}" presName="composite" presStyleCnt="0"/>
      <dgm:spPr/>
    </dgm:pt>
    <dgm:pt modelId="{8DF0808E-D4A8-4681-9191-CBC2959B6917}" type="pres">
      <dgm:prSet presAssocID="{1C620434-CE27-449E-9EEB-267474C2BE0D}" presName="LShape" presStyleLbl="alignNode1" presStyleIdx="2" presStyleCnt="5"/>
      <dgm:spPr/>
    </dgm:pt>
    <dgm:pt modelId="{92FBD1D4-013A-486A-B10C-88950BE6DEAB}" type="pres">
      <dgm:prSet presAssocID="{1C620434-CE27-449E-9EEB-267474C2BE0D}" presName="ParentText" presStyleLbl="revTx" presStyleIdx="1" presStyleCnt="3">
        <dgm:presLayoutVars>
          <dgm:chMax val="0"/>
          <dgm:chPref val="0"/>
          <dgm:bulletEnabled val="1"/>
        </dgm:presLayoutVars>
      </dgm:prSet>
      <dgm:spPr/>
    </dgm:pt>
    <dgm:pt modelId="{175FA4E2-FB2B-4B09-B52E-220453014EF6}" type="pres">
      <dgm:prSet presAssocID="{1C620434-CE27-449E-9EEB-267474C2BE0D}" presName="Triangle" presStyleLbl="alignNode1" presStyleIdx="3" presStyleCnt="5" custAng="16200000"/>
      <dgm:spPr/>
    </dgm:pt>
    <dgm:pt modelId="{E2070922-872B-4827-8850-8AEF226168F1}" type="pres">
      <dgm:prSet presAssocID="{7676D375-A041-4E32-BEC0-96DF42A04C2A}" presName="sibTrans" presStyleCnt="0"/>
      <dgm:spPr/>
    </dgm:pt>
    <dgm:pt modelId="{0DBE2370-50A7-40FD-BB5C-A60C2CDB4E40}" type="pres">
      <dgm:prSet presAssocID="{7676D375-A041-4E32-BEC0-96DF42A04C2A}" presName="space" presStyleCnt="0"/>
      <dgm:spPr/>
    </dgm:pt>
    <dgm:pt modelId="{7538B5AD-6899-48B5-9BD3-0A38DEBE69CB}" type="pres">
      <dgm:prSet presAssocID="{BE9EE89C-98E0-4DD7-BDE6-C874D219931C}" presName="composite" presStyleCnt="0"/>
      <dgm:spPr/>
    </dgm:pt>
    <dgm:pt modelId="{8DDD43F9-0967-4DB6-97A7-E19276369394}" type="pres">
      <dgm:prSet presAssocID="{BE9EE89C-98E0-4DD7-BDE6-C874D219931C}" presName="LShape" presStyleLbl="alignNode1" presStyleIdx="4" presStyleCnt="5"/>
      <dgm:spPr/>
    </dgm:pt>
    <dgm:pt modelId="{05EA32A1-7A40-4305-B996-6DDAFF2E72AB}" type="pres">
      <dgm:prSet presAssocID="{BE9EE89C-98E0-4DD7-BDE6-C874D219931C}" presName="ParentText" presStyleLbl="revTx" presStyleIdx="2" presStyleCnt="3">
        <dgm:presLayoutVars>
          <dgm:chMax val="0"/>
          <dgm:chPref val="0"/>
          <dgm:bulletEnabled val="1"/>
        </dgm:presLayoutVars>
      </dgm:prSet>
      <dgm:spPr/>
    </dgm:pt>
  </dgm:ptLst>
  <dgm:cxnLst>
    <dgm:cxn modelId="{3725C55D-34FE-45D6-8790-241F90B9BF9A}" srcId="{C413C6D2-08AD-4000-92C0-E87D4235A9D8}" destId="{A5D18830-0E27-4D99-AD78-0609B169130F}" srcOrd="2" destOrd="0" parTransId="{71B6E284-785A-48C2-ACE1-0B3DA26BE388}" sibTransId="{B9ED82AE-5EF1-4B7A-9A26-010708ABD846}"/>
    <dgm:cxn modelId="{0CBE8889-7490-406D-88B3-D49CADCC18F6}" srcId="{C413C6D2-08AD-4000-92C0-E87D4235A9D8}" destId="{2CD2BBA6-19BF-4563-93E4-5CF5E4E643B8}" srcOrd="0" destOrd="0" parTransId="{B257CDBE-2B9D-40D8-BA03-9ADEBA80AEE3}" sibTransId="{A5AC494D-7A50-452A-9777-C05238B6136A}"/>
    <dgm:cxn modelId="{7DDFA45F-E205-4E46-A454-BA6D690DEBC4}" type="presOf" srcId="{C413C6D2-08AD-4000-92C0-E87D4235A9D8}" destId="{BA3AA46C-F283-456E-94B4-E982EB18C004}" srcOrd="0" destOrd="0" presId="urn:microsoft.com/office/officeart/2009/3/layout/StepUpProcess"/>
    <dgm:cxn modelId="{97184FD4-6D3F-4A8F-8DA7-7DEF541D73A6}" srcId="{CF343C08-84A8-4AFE-B788-5C83367A6619}" destId="{1C620434-CE27-449E-9EEB-267474C2BE0D}" srcOrd="1" destOrd="0" parTransId="{48CB58A2-FABF-4091-9164-299EA04EF33F}" sibTransId="{7676D375-A041-4E32-BEC0-96DF42A04C2A}"/>
    <dgm:cxn modelId="{2B654D13-3500-48CD-8FDC-CCF356D1BCF5}" type="presOf" srcId="{114EB774-08B4-414B-A3F4-07690A7FC4B3}" destId="{05EA32A1-7A40-4305-B996-6DDAFF2E72AB}" srcOrd="0" destOrd="2" presId="urn:microsoft.com/office/officeart/2009/3/layout/StepUpProcess"/>
    <dgm:cxn modelId="{52FBFB7B-D90F-41C1-956D-4EF04499E095}" srcId="{1C620434-CE27-449E-9EEB-267474C2BE0D}" destId="{89BBBBD0-297E-4294-A69E-949D6D3C1822}" srcOrd="0" destOrd="0" parTransId="{35C281CE-D888-4389-A0D6-2E86397D016F}" sibTransId="{FC88585C-3EF3-4AEF-88F4-4F64E3985237}"/>
    <dgm:cxn modelId="{54388302-75D4-45D7-8743-375DB581BD54}" type="presOf" srcId="{619C37D9-5926-463A-824E-817E6B2CCBEB}" destId="{BA3AA46C-F283-456E-94B4-E982EB18C004}" srcOrd="0" destOrd="2" presId="urn:microsoft.com/office/officeart/2009/3/layout/StepUpProcess"/>
    <dgm:cxn modelId="{12B71E36-DC8C-467C-B19D-6F7C9B2A7A01}" srcId="{1C620434-CE27-449E-9EEB-267474C2BE0D}" destId="{C876BD2B-3EF0-4A90-BFBA-2C30A02659A6}" srcOrd="2" destOrd="0" parTransId="{2B49D5D5-18C7-4FDE-9D7D-9CA75640AFA5}" sibTransId="{4A92E6F7-E549-415B-9D43-77777B1D72FF}"/>
    <dgm:cxn modelId="{9C61579D-CBE7-4AE1-B9CF-B506290BC769}" srcId="{BE9EE89C-98E0-4DD7-BDE6-C874D219931C}" destId="{114EB774-08B4-414B-A3F4-07690A7FC4B3}" srcOrd="1" destOrd="0" parTransId="{9CAF3037-3F7A-473B-B444-3E2D025586DA}" sibTransId="{3941F4FE-DE9F-4367-BC75-72699695225A}"/>
    <dgm:cxn modelId="{77152E6E-BF07-44A3-AAE9-FACBF065E72C}" type="presOf" srcId="{89FCED79-6979-4361-8F57-54644DF08822}" destId="{92FBD1D4-013A-486A-B10C-88950BE6DEAB}" srcOrd="0" destOrd="2" presId="urn:microsoft.com/office/officeart/2009/3/layout/StepUpProcess"/>
    <dgm:cxn modelId="{DDA1210D-C09E-466A-B66C-78B6CF66CE44}" srcId="{CF343C08-84A8-4AFE-B788-5C83367A6619}" destId="{BE9EE89C-98E0-4DD7-BDE6-C874D219931C}" srcOrd="2" destOrd="0" parTransId="{745F0354-8FD3-47D4-987C-FDBBE58298CC}" sibTransId="{D4328187-ADE5-4A02-B014-5787960C1590}"/>
    <dgm:cxn modelId="{FAF67504-0EBF-4E79-AADF-EAC4EB9CCBE5}" srcId="{1C620434-CE27-449E-9EEB-267474C2BE0D}" destId="{89FCED79-6979-4361-8F57-54644DF08822}" srcOrd="1" destOrd="0" parTransId="{F10A2E91-E516-4B94-8E22-829496F8061E}" sibTransId="{4D9E89EA-20E9-440E-90A7-34E8B21B5061}"/>
    <dgm:cxn modelId="{BDFE56A5-E9D1-4053-BAE7-82ABC94D23A1}" srcId="{C413C6D2-08AD-4000-92C0-E87D4235A9D8}" destId="{619C37D9-5926-463A-824E-817E6B2CCBEB}" srcOrd="1" destOrd="0" parTransId="{9A9AA701-F75A-43D7-BEA9-69DE5EF9F5E5}" sibTransId="{9D46A4AD-5C94-4A6C-95ED-1D150FD17D1B}"/>
    <dgm:cxn modelId="{B4CF9FF7-59AA-4CA3-BCB2-401E13BB1ADB}" srcId="{BE9EE89C-98E0-4DD7-BDE6-C874D219931C}" destId="{6124DC2B-567E-444F-9393-04F085FED218}" srcOrd="2" destOrd="0" parTransId="{A4FA0D5C-1B5D-4F76-B38C-FC6B2D5EC109}" sibTransId="{DAC5E42B-AAB1-4BA0-BE41-A08281BEB372}"/>
    <dgm:cxn modelId="{88E4E93B-E7E3-4449-8D37-FA5BC57E9B32}" type="presOf" srcId="{6124DC2B-567E-444F-9393-04F085FED218}" destId="{05EA32A1-7A40-4305-B996-6DDAFF2E72AB}" srcOrd="0" destOrd="3" presId="urn:microsoft.com/office/officeart/2009/3/layout/StepUpProcess"/>
    <dgm:cxn modelId="{3E897180-D40C-48F9-9444-79BF48B4A700}" type="presOf" srcId="{A5D18830-0E27-4D99-AD78-0609B169130F}" destId="{BA3AA46C-F283-456E-94B4-E982EB18C004}" srcOrd="0" destOrd="3" presId="urn:microsoft.com/office/officeart/2009/3/layout/StepUpProcess"/>
    <dgm:cxn modelId="{E8118E68-C9C0-40E1-99CD-2F27759927AA}" type="presOf" srcId="{2CD2BBA6-19BF-4563-93E4-5CF5E4E643B8}" destId="{BA3AA46C-F283-456E-94B4-E982EB18C004}" srcOrd="0" destOrd="1" presId="urn:microsoft.com/office/officeart/2009/3/layout/StepUpProcess"/>
    <dgm:cxn modelId="{ED34AD53-7456-4A60-8373-4ADFBC2F5556}" type="presOf" srcId="{CF343C08-84A8-4AFE-B788-5C83367A6619}" destId="{8BC45840-E947-49C3-A995-A28FB761F3DF}" srcOrd="0" destOrd="0" presId="urn:microsoft.com/office/officeart/2009/3/layout/StepUpProcess"/>
    <dgm:cxn modelId="{8FB36178-C858-47CD-A930-99CAE4CFF5E7}" srcId="{BE9EE89C-98E0-4DD7-BDE6-C874D219931C}" destId="{A0CCC710-2607-4B6B-A331-B682D9586B7E}" srcOrd="0" destOrd="0" parTransId="{2AF24EB8-03CA-4BB0-891B-24F636CE3092}" sibTransId="{90EB1BFF-F7E4-40EC-AC0C-D376FDDB10E0}"/>
    <dgm:cxn modelId="{99C04161-05AB-4580-9BA1-3BA1426923AE}" type="presOf" srcId="{1C620434-CE27-449E-9EEB-267474C2BE0D}" destId="{92FBD1D4-013A-486A-B10C-88950BE6DEAB}" srcOrd="0" destOrd="0" presId="urn:microsoft.com/office/officeart/2009/3/layout/StepUpProcess"/>
    <dgm:cxn modelId="{A588C5D6-3A39-418F-BE85-B45A0C02B591}" srcId="{CF343C08-84A8-4AFE-B788-5C83367A6619}" destId="{C413C6D2-08AD-4000-92C0-E87D4235A9D8}" srcOrd="0" destOrd="0" parTransId="{791FEE7A-3874-44AB-A388-4468E221909A}" sibTransId="{B575993B-1229-402C-9FF6-DC7C707117BC}"/>
    <dgm:cxn modelId="{D5AAC4D9-C12C-4716-B056-CDE9B2D0C470}" type="presOf" srcId="{C876BD2B-3EF0-4A90-BFBA-2C30A02659A6}" destId="{92FBD1D4-013A-486A-B10C-88950BE6DEAB}" srcOrd="0" destOrd="3" presId="urn:microsoft.com/office/officeart/2009/3/layout/StepUpProcess"/>
    <dgm:cxn modelId="{EE0F5AF0-CCEF-4C23-A0A2-02AE47C08CB2}" type="presOf" srcId="{89BBBBD0-297E-4294-A69E-949D6D3C1822}" destId="{92FBD1D4-013A-486A-B10C-88950BE6DEAB}" srcOrd="0" destOrd="1" presId="urn:microsoft.com/office/officeart/2009/3/layout/StepUpProcess"/>
    <dgm:cxn modelId="{485A6CD0-5CE2-440F-A898-D522B16DE285}" type="presOf" srcId="{A0CCC710-2607-4B6B-A331-B682D9586B7E}" destId="{05EA32A1-7A40-4305-B996-6DDAFF2E72AB}" srcOrd="0" destOrd="1" presId="urn:microsoft.com/office/officeart/2009/3/layout/StepUpProcess"/>
    <dgm:cxn modelId="{40F3EEA2-EF73-4F67-8028-6F9C2F19CDF2}" type="presOf" srcId="{BE9EE89C-98E0-4DD7-BDE6-C874D219931C}" destId="{05EA32A1-7A40-4305-B996-6DDAFF2E72AB}" srcOrd="0" destOrd="0" presId="urn:microsoft.com/office/officeart/2009/3/layout/StepUpProcess"/>
    <dgm:cxn modelId="{8049B02D-4E82-4329-A447-EED2A007F55B}" type="presParOf" srcId="{8BC45840-E947-49C3-A995-A28FB761F3DF}" destId="{EC266A1A-FEA9-453E-A881-890116489422}" srcOrd="0" destOrd="0" presId="urn:microsoft.com/office/officeart/2009/3/layout/StepUpProcess"/>
    <dgm:cxn modelId="{CC6A1A1E-6AB4-41D5-BF42-99F4D5DBE081}" type="presParOf" srcId="{EC266A1A-FEA9-453E-A881-890116489422}" destId="{54E6C6AA-4523-4E1B-8231-1885F43130EC}" srcOrd="0" destOrd="0" presId="urn:microsoft.com/office/officeart/2009/3/layout/StepUpProcess"/>
    <dgm:cxn modelId="{06D3D5F6-43D1-4FC0-B624-B2BA583F642E}" type="presParOf" srcId="{EC266A1A-FEA9-453E-A881-890116489422}" destId="{BA3AA46C-F283-456E-94B4-E982EB18C004}" srcOrd="1" destOrd="0" presId="urn:microsoft.com/office/officeart/2009/3/layout/StepUpProcess"/>
    <dgm:cxn modelId="{2FE87BEC-FC8F-475B-8F5F-2FB964CE061C}" type="presParOf" srcId="{EC266A1A-FEA9-453E-A881-890116489422}" destId="{07090AD9-E572-4EAB-91A1-47AEE17AFF49}" srcOrd="2" destOrd="0" presId="urn:microsoft.com/office/officeart/2009/3/layout/StepUpProcess"/>
    <dgm:cxn modelId="{76BCA8D6-FE4A-4267-A547-9F875831E8EA}" type="presParOf" srcId="{8BC45840-E947-49C3-A995-A28FB761F3DF}" destId="{749495C8-CD2F-4BE0-AAD3-1CFE45B06AA3}" srcOrd="1" destOrd="0" presId="urn:microsoft.com/office/officeart/2009/3/layout/StepUpProcess"/>
    <dgm:cxn modelId="{4707697E-0FB7-490E-B10C-2E365C1B8CB9}" type="presParOf" srcId="{749495C8-CD2F-4BE0-AAD3-1CFE45B06AA3}" destId="{08ED81AA-0FF0-4B92-A872-57396ACCAC26}" srcOrd="0" destOrd="0" presId="urn:microsoft.com/office/officeart/2009/3/layout/StepUpProcess"/>
    <dgm:cxn modelId="{410A5757-AE3A-49F4-BF9D-5A4833EECA5B}" type="presParOf" srcId="{8BC45840-E947-49C3-A995-A28FB761F3DF}" destId="{9807C4F3-0DA6-4029-8E31-9AC52F6D990B}" srcOrd="2" destOrd="0" presId="urn:microsoft.com/office/officeart/2009/3/layout/StepUpProcess"/>
    <dgm:cxn modelId="{955B53F7-4AD2-4182-A440-4D5ACA63C390}" type="presParOf" srcId="{9807C4F3-0DA6-4029-8E31-9AC52F6D990B}" destId="{8DF0808E-D4A8-4681-9191-CBC2959B6917}" srcOrd="0" destOrd="0" presId="urn:microsoft.com/office/officeart/2009/3/layout/StepUpProcess"/>
    <dgm:cxn modelId="{26CD7572-FC36-4FC9-BAA9-6C800017F508}" type="presParOf" srcId="{9807C4F3-0DA6-4029-8E31-9AC52F6D990B}" destId="{92FBD1D4-013A-486A-B10C-88950BE6DEAB}" srcOrd="1" destOrd="0" presId="urn:microsoft.com/office/officeart/2009/3/layout/StepUpProcess"/>
    <dgm:cxn modelId="{A61B8FA0-98C4-482C-A0DD-9EF3DCC81510}" type="presParOf" srcId="{9807C4F3-0DA6-4029-8E31-9AC52F6D990B}" destId="{175FA4E2-FB2B-4B09-B52E-220453014EF6}" srcOrd="2" destOrd="0" presId="urn:microsoft.com/office/officeart/2009/3/layout/StepUpProcess"/>
    <dgm:cxn modelId="{B92DA320-B702-4CD9-BB5A-CD47903FBC6E}" type="presParOf" srcId="{8BC45840-E947-49C3-A995-A28FB761F3DF}" destId="{E2070922-872B-4827-8850-8AEF226168F1}" srcOrd="3" destOrd="0" presId="urn:microsoft.com/office/officeart/2009/3/layout/StepUpProcess"/>
    <dgm:cxn modelId="{08DF6F49-1654-48B1-A415-5CFBBBAE29CC}" type="presParOf" srcId="{E2070922-872B-4827-8850-8AEF226168F1}" destId="{0DBE2370-50A7-40FD-BB5C-A60C2CDB4E40}" srcOrd="0" destOrd="0" presId="urn:microsoft.com/office/officeart/2009/3/layout/StepUpProcess"/>
    <dgm:cxn modelId="{97CEA817-7CFF-4C93-BFF3-22446F26F7AC}" type="presParOf" srcId="{8BC45840-E947-49C3-A995-A28FB761F3DF}" destId="{7538B5AD-6899-48B5-9BD3-0A38DEBE69CB}" srcOrd="4" destOrd="0" presId="urn:microsoft.com/office/officeart/2009/3/layout/StepUpProcess"/>
    <dgm:cxn modelId="{67909C5D-571E-4E6B-AD0E-12D0EE691E8B}" type="presParOf" srcId="{7538B5AD-6899-48B5-9BD3-0A38DEBE69CB}" destId="{8DDD43F9-0967-4DB6-97A7-E19276369394}" srcOrd="0" destOrd="0" presId="urn:microsoft.com/office/officeart/2009/3/layout/StepUpProcess"/>
    <dgm:cxn modelId="{129D3305-08C9-4B55-B90F-011F799DCF78}" type="presParOf" srcId="{7538B5AD-6899-48B5-9BD3-0A38DEBE69CB}" destId="{05EA32A1-7A40-4305-B996-6DDAFF2E72AB}"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B16B0F3-BF34-465C-B554-C0E1D8D25E5C}" type="doc">
      <dgm:prSet loTypeId="urn:microsoft.com/office/officeart/2005/8/layout/venn1" loCatId="relationship" qsTypeId="urn:microsoft.com/office/officeart/2005/8/quickstyle/simple1" qsCatId="simple" csTypeId="urn:microsoft.com/office/officeart/2005/8/colors/accent1_2" csCatId="accent1" phldr="1"/>
      <dgm:spPr/>
    </dgm:pt>
    <dgm:pt modelId="{842A0745-F3EE-4167-99F4-A34DDD3660AD}">
      <dgm:prSet phldrT="[Text]"/>
      <dgm:spPr/>
      <dgm:t>
        <a:bodyPr/>
        <a:lstStyle/>
        <a:p>
          <a:r>
            <a:rPr lang="en-US" dirty="0"/>
            <a:t>Product Owner</a:t>
          </a:r>
        </a:p>
      </dgm:t>
    </dgm:pt>
    <dgm:pt modelId="{85479B71-9649-4E2D-8F86-0DD8A1A7CD01}" type="parTrans" cxnId="{1D73D8A2-8651-49C9-A1F3-4339BCCD9DED}">
      <dgm:prSet/>
      <dgm:spPr/>
      <dgm:t>
        <a:bodyPr/>
        <a:lstStyle/>
        <a:p>
          <a:endParaRPr lang="en-US"/>
        </a:p>
      </dgm:t>
    </dgm:pt>
    <dgm:pt modelId="{90F8CAEB-9EEF-4306-96E5-D2E63541DD9A}" type="sibTrans" cxnId="{1D73D8A2-8651-49C9-A1F3-4339BCCD9DED}">
      <dgm:prSet/>
      <dgm:spPr/>
      <dgm:t>
        <a:bodyPr/>
        <a:lstStyle/>
        <a:p>
          <a:endParaRPr lang="en-US"/>
        </a:p>
      </dgm:t>
    </dgm:pt>
    <dgm:pt modelId="{F0BCBB89-4F1E-4B31-AB7A-77AC7203A014}" type="pres">
      <dgm:prSet presAssocID="{4B16B0F3-BF34-465C-B554-C0E1D8D25E5C}" presName="compositeShape" presStyleCnt="0">
        <dgm:presLayoutVars>
          <dgm:chMax val="7"/>
          <dgm:dir/>
          <dgm:resizeHandles val="exact"/>
        </dgm:presLayoutVars>
      </dgm:prSet>
      <dgm:spPr/>
    </dgm:pt>
    <dgm:pt modelId="{4C4ED8AB-E685-4214-B48C-6937F412BEDB}" type="pres">
      <dgm:prSet presAssocID="{842A0745-F3EE-4167-99F4-A34DDD3660AD}" presName="circ1TxSh" presStyleLbl="vennNode1" presStyleIdx="0" presStyleCnt="1"/>
      <dgm:spPr/>
    </dgm:pt>
  </dgm:ptLst>
  <dgm:cxnLst>
    <dgm:cxn modelId="{E8F13CF0-18A2-45F0-B6B3-C5DDF5B4DE9C}" type="presOf" srcId="{4B16B0F3-BF34-465C-B554-C0E1D8D25E5C}" destId="{F0BCBB89-4F1E-4B31-AB7A-77AC7203A014}" srcOrd="0" destOrd="0" presId="urn:microsoft.com/office/officeart/2005/8/layout/venn1"/>
    <dgm:cxn modelId="{1D73D8A2-8651-49C9-A1F3-4339BCCD9DED}" srcId="{4B16B0F3-BF34-465C-B554-C0E1D8D25E5C}" destId="{842A0745-F3EE-4167-99F4-A34DDD3660AD}" srcOrd="0" destOrd="0" parTransId="{85479B71-9649-4E2D-8F86-0DD8A1A7CD01}" sibTransId="{90F8CAEB-9EEF-4306-96E5-D2E63541DD9A}"/>
    <dgm:cxn modelId="{71C78C29-75B5-4232-8FFC-6D2A353902A2}" type="presOf" srcId="{842A0745-F3EE-4167-99F4-A34DDD3660AD}" destId="{4C4ED8AB-E685-4214-B48C-6937F412BEDB}" srcOrd="0" destOrd="0" presId="urn:microsoft.com/office/officeart/2005/8/layout/venn1"/>
    <dgm:cxn modelId="{F652B19D-F2F8-466E-ACEF-14C566EDB6B9}" type="presParOf" srcId="{F0BCBB89-4F1E-4B31-AB7A-77AC7203A014}" destId="{4C4ED8AB-E685-4214-B48C-6937F412BEDB}" srcOrd="0"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B16B0F3-BF34-465C-B554-C0E1D8D25E5C}" type="doc">
      <dgm:prSet loTypeId="urn:microsoft.com/office/officeart/2005/8/layout/venn1" loCatId="relationship" qsTypeId="urn:microsoft.com/office/officeart/2005/8/quickstyle/simple1" qsCatId="simple" csTypeId="urn:microsoft.com/office/officeart/2005/8/colors/accent1_2" csCatId="accent1" phldr="1"/>
      <dgm:spPr/>
    </dgm:pt>
    <dgm:pt modelId="{842A0745-F3EE-4167-99F4-A34DDD3660AD}">
      <dgm:prSet phldrT="[Text]"/>
      <dgm:spPr/>
      <dgm:t>
        <a:bodyPr/>
        <a:lstStyle/>
        <a:p>
          <a:r>
            <a:rPr lang="en-US" dirty="0"/>
            <a:t>Scrum Master</a:t>
          </a:r>
        </a:p>
      </dgm:t>
    </dgm:pt>
    <dgm:pt modelId="{85479B71-9649-4E2D-8F86-0DD8A1A7CD01}" type="parTrans" cxnId="{1D73D8A2-8651-49C9-A1F3-4339BCCD9DED}">
      <dgm:prSet/>
      <dgm:spPr/>
      <dgm:t>
        <a:bodyPr/>
        <a:lstStyle/>
        <a:p>
          <a:endParaRPr lang="en-US"/>
        </a:p>
      </dgm:t>
    </dgm:pt>
    <dgm:pt modelId="{90F8CAEB-9EEF-4306-96E5-D2E63541DD9A}" type="sibTrans" cxnId="{1D73D8A2-8651-49C9-A1F3-4339BCCD9DED}">
      <dgm:prSet/>
      <dgm:spPr/>
      <dgm:t>
        <a:bodyPr/>
        <a:lstStyle/>
        <a:p>
          <a:endParaRPr lang="en-US"/>
        </a:p>
      </dgm:t>
    </dgm:pt>
    <dgm:pt modelId="{F0BCBB89-4F1E-4B31-AB7A-77AC7203A014}" type="pres">
      <dgm:prSet presAssocID="{4B16B0F3-BF34-465C-B554-C0E1D8D25E5C}" presName="compositeShape" presStyleCnt="0">
        <dgm:presLayoutVars>
          <dgm:chMax val="7"/>
          <dgm:dir/>
          <dgm:resizeHandles val="exact"/>
        </dgm:presLayoutVars>
      </dgm:prSet>
      <dgm:spPr/>
    </dgm:pt>
    <dgm:pt modelId="{4C4ED8AB-E685-4214-B48C-6937F412BEDB}" type="pres">
      <dgm:prSet presAssocID="{842A0745-F3EE-4167-99F4-A34DDD3660AD}" presName="circ1TxSh" presStyleLbl="vennNode1" presStyleIdx="0" presStyleCnt="1"/>
      <dgm:spPr/>
    </dgm:pt>
  </dgm:ptLst>
  <dgm:cxnLst>
    <dgm:cxn modelId="{E8F13CF0-18A2-45F0-B6B3-C5DDF5B4DE9C}" type="presOf" srcId="{4B16B0F3-BF34-465C-B554-C0E1D8D25E5C}" destId="{F0BCBB89-4F1E-4B31-AB7A-77AC7203A014}" srcOrd="0" destOrd="0" presId="urn:microsoft.com/office/officeart/2005/8/layout/venn1"/>
    <dgm:cxn modelId="{1D73D8A2-8651-49C9-A1F3-4339BCCD9DED}" srcId="{4B16B0F3-BF34-465C-B554-C0E1D8D25E5C}" destId="{842A0745-F3EE-4167-99F4-A34DDD3660AD}" srcOrd="0" destOrd="0" parTransId="{85479B71-9649-4E2D-8F86-0DD8A1A7CD01}" sibTransId="{90F8CAEB-9EEF-4306-96E5-D2E63541DD9A}"/>
    <dgm:cxn modelId="{71C78C29-75B5-4232-8FFC-6D2A353902A2}" type="presOf" srcId="{842A0745-F3EE-4167-99F4-A34DDD3660AD}" destId="{4C4ED8AB-E685-4214-B48C-6937F412BEDB}" srcOrd="0" destOrd="0" presId="urn:microsoft.com/office/officeart/2005/8/layout/venn1"/>
    <dgm:cxn modelId="{F652B19D-F2F8-466E-ACEF-14C566EDB6B9}" type="presParOf" srcId="{F0BCBB89-4F1E-4B31-AB7A-77AC7203A014}" destId="{4C4ED8AB-E685-4214-B48C-6937F412BEDB}" srcOrd="0"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B16B0F3-BF34-465C-B554-C0E1D8D25E5C}" type="doc">
      <dgm:prSet loTypeId="urn:microsoft.com/office/officeart/2005/8/layout/venn1" loCatId="relationship" qsTypeId="urn:microsoft.com/office/officeart/2005/8/quickstyle/simple1" qsCatId="simple" csTypeId="urn:microsoft.com/office/officeart/2005/8/colors/accent1_2" csCatId="accent1" phldr="1"/>
      <dgm:spPr/>
    </dgm:pt>
    <dgm:pt modelId="{56FF90EC-B943-4CB5-9D1D-9CD75AC9ADD2}">
      <dgm:prSet phldrT="[Text]"/>
      <dgm:spPr/>
      <dgm:t>
        <a:bodyPr/>
        <a:lstStyle/>
        <a:p>
          <a:r>
            <a:rPr lang="en-US" dirty="0"/>
            <a:t>Scrum Team</a:t>
          </a:r>
        </a:p>
      </dgm:t>
    </dgm:pt>
    <dgm:pt modelId="{D9536CD7-BD4C-4D79-937B-C1F6573C88B8}" type="parTrans" cxnId="{C3B9C0FF-910F-45C7-9B2A-0751AA028804}">
      <dgm:prSet/>
      <dgm:spPr/>
      <dgm:t>
        <a:bodyPr/>
        <a:lstStyle/>
        <a:p>
          <a:endParaRPr lang="en-US"/>
        </a:p>
      </dgm:t>
    </dgm:pt>
    <dgm:pt modelId="{32029CE0-E4A1-4BFE-9D37-40A7CBAF9347}" type="sibTrans" cxnId="{C3B9C0FF-910F-45C7-9B2A-0751AA028804}">
      <dgm:prSet/>
      <dgm:spPr/>
      <dgm:t>
        <a:bodyPr/>
        <a:lstStyle/>
        <a:p>
          <a:endParaRPr lang="en-US"/>
        </a:p>
      </dgm:t>
    </dgm:pt>
    <dgm:pt modelId="{F0BCBB89-4F1E-4B31-AB7A-77AC7203A014}" type="pres">
      <dgm:prSet presAssocID="{4B16B0F3-BF34-465C-B554-C0E1D8D25E5C}" presName="compositeShape" presStyleCnt="0">
        <dgm:presLayoutVars>
          <dgm:chMax val="7"/>
          <dgm:dir/>
          <dgm:resizeHandles val="exact"/>
        </dgm:presLayoutVars>
      </dgm:prSet>
      <dgm:spPr/>
    </dgm:pt>
    <dgm:pt modelId="{E57A7DC8-9FBB-4F79-93B3-9340D16E390E}" type="pres">
      <dgm:prSet presAssocID="{56FF90EC-B943-4CB5-9D1D-9CD75AC9ADD2}" presName="circ1TxSh" presStyleLbl="vennNode1" presStyleIdx="0" presStyleCnt="1"/>
      <dgm:spPr/>
    </dgm:pt>
  </dgm:ptLst>
  <dgm:cxnLst>
    <dgm:cxn modelId="{04F1209F-9DFB-43DF-9674-EDDA72D8D899}" type="presOf" srcId="{56FF90EC-B943-4CB5-9D1D-9CD75AC9ADD2}" destId="{E57A7DC8-9FBB-4F79-93B3-9340D16E390E}" srcOrd="0" destOrd="0" presId="urn:microsoft.com/office/officeart/2005/8/layout/venn1"/>
    <dgm:cxn modelId="{E8F13CF0-18A2-45F0-B6B3-C5DDF5B4DE9C}" type="presOf" srcId="{4B16B0F3-BF34-465C-B554-C0E1D8D25E5C}" destId="{F0BCBB89-4F1E-4B31-AB7A-77AC7203A014}" srcOrd="0" destOrd="0" presId="urn:microsoft.com/office/officeart/2005/8/layout/venn1"/>
    <dgm:cxn modelId="{C3B9C0FF-910F-45C7-9B2A-0751AA028804}" srcId="{4B16B0F3-BF34-465C-B554-C0E1D8D25E5C}" destId="{56FF90EC-B943-4CB5-9D1D-9CD75AC9ADD2}" srcOrd="0" destOrd="0" parTransId="{D9536CD7-BD4C-4D79-937B-C1F6573C88B8}" sibTransId="{32029CE0-E4A1-4BFE-9D37-40A7CBAF9347}"/>
    <dgm:cxn modelId="{E3EDDB97-8F32-428D-A616-492C90BE7336}" type="presParOf" srcId="{F0BCBB89-4F1E-4B31-AB7A-77AC7203A014}" destId="{E57A7DC8-9FBB-4F79-93B3-9340D16E390E}" srcOrd="0"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B16B0F3-BF34-465C-B554-C0E1D8D25E5C}" type="doc">
      <dgm:prSet loTypeId="urn:microsoft.com/office/officeart/2005/8/layout/venn1" loCatId="relationship" qsTypeId="urn:microsoft.com/office/officeart/2005/8/quickstyle/simple1" qsCatId="simple" csTypeId="urn:microsoft.com/office/officeart/2005/8/colors/accent1_2" csCatId="accent1" phldr="1"/>
      <dgm:spPr/>
    </dgm:pt>
    <dgm:pt modelId="{842A0745-F3EE-4167-99F4-A34DDD3660AD}">
      <dgm:prSet phldrT="[Text]"/>
      <dgm:spPr/>
      <dgm:t>
        <a:bodyPr/>
        <a:lstStyle/>
        <a:p>
          <a:r>
            <a:rPr lang="en-US" dirty="0"/>
            <a:t>Customer</a:t>
          </a:r>
        </a:p>
      </dgm:t>
    </dgm:pt>
    <dgm:pt modelId="{85479B71-9649-4E2D-8F86-0DD8A1A7CD01}" type="parTrans" cxnId="{1D73D8A2-8651-49C9-A1F3-4339BCCD9DED}">
      <dgm:prSet/>
      <dgm:spPr/>
      <dgm:t>
        <a:bodyPr/>
        <a:lstStyle/>
        <a:p>
          <a:endParaRPr lang="en-US"/>
        </a:p>
      </dgm:t>
    </dgm:pt>
    <dgm:pt modelId="{90F8CAEB-9EEF-4306-96E5-D2E63541DD9A}" type="sibTrans" cxnId="{1D73D8A2-8651-49C9-A1F3-4339BCCD9DED}">
      <dgm:prSet/>
      <dgm:spPr/>
      <dgm:t>
        <a:bodyPr/>
        <a:lstStyle/>
        <a:p>
          <a:endParaRPr lang="en-US"/>
        </a:p>
      </dgm:t>
    </dgm:pt>
    <dgm:pt modelId="{8481D6F5-5DEF-4BA5-82AA-BD7880E80E3E}">
      <dgm:prSet phldrT="[Text]"/>
      <dgm:spPr/>
      <dgm:t>
        <a:bodyPr/>
        <a:lstStyle/>
        <a:p>
          <a:r>
            <a:rPr lang="en-US" dirty="0"/>
            <a:t>Product Owner</a:t>
          </a:r>
        </a:p>
      </dgm:t>
    </dgm:pt>
    <dgm:pt modelId="{A90A110F-C5FE-4F93-90A3-C484EB38E2E5}" type="parTrans" cxnId="{D29836F9-A918-4DAA-8E6B-62BBA1DD82D0}">
      <dgm:prSet/>
      <dgm:spPr/>
      <dgm:t>
        <a:bodyPr/>
        <a:lstStyle/>
        <a:p>
          <a:endParaRPr lang="en-US"/>
        </a:p>
      </dgm:t>
    </dgm:pt>
    <dgm:pt modelId="{60940B8A-B38F-4BB1-82C4-DC82E4BF554D}" type="sibTrans" cxnId="{D29836F9-A918-4DAA-8E6B-62BBA1DD82D0}">
      <dgm:prSet/>
      <dgm:spPr/>
      <dgm:t>
        <a:bodyPr/>
        <a:lstStyle/>
        <a:p>
          <a:endParaRPr lang="en-US"/>
        </a:p>
      </dgm:t>
    </dgm:pt>
    <dgm:pt modelId="{56FF90EC-B943-4CB5-9D1D-9CD75AC9ADD2}">
      <dgm:prSet phldrT="[Text]"/>
      <dgm:spPr/>
      <dgm:t>
        <a:bodyPr/>
        <a:lstStyle/>
        <a:p>
          <a:r>
            <a:rPr lang="en-US" dirty="0"/>
            <a:t>Scrum Team</a:t>
          </a:r>
        </a:p>
      </dgm:t>
    </dgm:pt>
    <dgm:pt modelId="{D9536CD7-BD4C-4D79-937B-C1F6573C88B8}" type="parTrans" cxnId="{C3B9C0FF-910F-45C7-9B2A-0751AA028804}">
      <dgm:prSet/>
      <dgm:spPr/>
      <dgm:t>
        <a:bodyPr/>
        <a:lstStyle/>
        <a:p>
          <a:endParaRPr lang="en-US"/>
        </a:p>
      </dgm:t>
    </dgm:pt>
    <dgm:pt modelId="{32029CE0-E4A1-4BFE-9D37-40A7CBAF9347}" type="sibTrans" cxnId="{C3B9C0FF-910F-45C7-9B2A-0751AA028804}">
      <dgm:prSet/>
      <dgm:spPr/>
      <dgm:t>
        <a:bodyPr/>
        <a:lstStyle/>
        <a:p>
          <a:endParaRPr lang="en-US"/>
        </a:p>
      </dgm:t>
    </dgm:pt>
    <dgm:pt modelId="{F0BCBB89-4F1E-4B31-AB7A-77AC7203A014}" type="pres">
      <dgm:prSet presAssocID="{4B16B0F3-BF34-465C-B554-C0E1D8D25E5C}" presName="compositeShape" presStyleCnt="0">
        <dgm:presLayoutVars>
          <dgm:chMax val="7"/>
          <dgm:dir/>
          <dgm:resizeHandles val="exact"/>
        </dgm:presLayoutVars>
      </dgm:prSet>
      <dgm:spPr/>
    </dgm:pt>
    <dgm:pt modelId="{E56DC10A-2B51-4D24-AC92-3101E160DF50}" type="pres">
      <dgm:prSet presAssocID="{842A0745-F3EE-4167-99F4-A34DDD3660AD}" presName="circ1" presStyleLbl="vennNode1" presStyleIdx="0" presStyleCnt="3"/>
      <dgm:spPr/>
    </dgm:pt>
    <dgm:pt modelId="{4DCAC624-24FD-4090-8154-02DE83003883}" type="pres">
      <dgm:prSet presAssocID="{842A0745-F3EE-4167-99F4-A34DDD3660AD}" presName="circ1Tx" presStyleLbl="revTx" presStyleIdx="0" presStyleCnt="0">
        <dgm:presLayoutVars>
          <dgm:chMax val="0"/>
          <dgm:chPref val="0"/>
          <dgm:bulletEnabled val="1"/>
        </dgm:presLayoutVars>
      </dgm:prSet>
      <dgm:spPr/>
    </dgm:pt>
    <dgm:pt modelId="{F43BE87E-95CE-4EF1-B463-7836B08DA378}" type="pres">
      <dgm:prSet presAssocID="{8481D6F5-5DEF-4BA5-82AA-BD7880E80E3E}" presName="circ2" presStyleLbl="vennNode1" presStyleIdx="1" presStyleCnt="3"/>
      <dgm:spPr/>
    </dgm:pt>
    <dgm:pt modelId="{8EF25F70-3E4F-4379-8DC0-7E554D707F9F}" type="pres">
      <dgm:prSet presAssocID="{8481D6F5-5DEF-4BA5-82AA-BD7880E80E3E}" presName="circ2Tx" presStyleLbl="revTx" presStyleIdx="0" presStyleCnt="0">
        <dgm:presLayoutVars>
          <dgm:chMax val="0"/>
          <dgm:chPref val="0"/>
          <dgm:bulletEnabled val="1"/>
        </dgm:presLayoutVars>
      </dgm:prSet>
      <dgm:spPr/>
    </dgm:pt>
    <dgm:pt modelId="{AA7884F9-5E2B-4D96-9B51-DC3F2A5FFE5B}" type="pres">
      <dgm:prSet presAssocID="{56FF90EC-B943-4CB5-9D1D-9CD75AC9ADD2}" presName="circ3" presStyleLbl="vennNode1" presStyleIdx="2" presStyleCnt="3"/>
      <dgm:spPr/>
    </dgm:pt>
    <dgm:pt modelId="{09E5AD00-DCD1-4872-8337-AEEE3D8B6569}" type="pres">
      <dgm:prSet presAssocID="{56FF90EC-B943-4CB5-9D1D-9CD75AC9ADD2}" presName="circ3Tx" presStyleLbl="revTx" presStyleIdx="0" presStyleCnt="0">
        <dgm:presLayoutVars>
          <dgm:chMax val="0"/>
          <dgm:chPref val="0"/>
          <dgm:bulletEnabled val="1"/>
        </dgm:presLayoutVars>
      </dgm:prSet>
      <dgm:spPr/>
    </dgm:pt>
  </dgm:ptLst>
  <dgm:cxnLst>
    <dgm:cxn modelId="{1D73D8A2-8651-49C9-A1F3-4339BCCD9DED}" srcId="{4B16B0F3-BF34-465C-B554-C0E1D8D25E5C}" destId="{842A0745-F3EE-4167-99F4-A34DDD3660AD}" srcOrd="0" destOrd="0" parTransId="{85479B71-9649-4E2D-8F86-0DD8A1A7CD01}" sibTransId="{90F8CAEB-9EEF-4306-96E5-D2E63541DD9A}"/>
    <dgm:cxn modelId="{E8F13CF0-18A2-45F0-B6B3-C5DDF5B4DE9C}" type="presOf" srcId="{4B16B0F3-BF34-465C-B554-C0E1D8D25E5C}" destId="{F0BCBB89-4F1E-4B31-AB7A-77AC7203A014}" srcOrd="0" destOrd="0" presId="urn:microsoft.com/office/officeart/2005/8/layout/venn1"/>
    <dgm:cxn modelId="{84C888E6-E217-4464-92A1-222B8E8672A1}" type="presOf" srcId="{842A0745-F3EE-4167-99F4-A34DDD3660AD}" destId="{E56DC10A-2B51-4D24-AC92-3101E160DF50}" srcOrd="0" destOrd="0" presId="urn:microsoft.com/office/officeart/2005/8/layout/venn1"/>
    <dgm:cxn modelId="{51D9733D-9D7A-40A6-BABE-CC77EB8E76A7}" type="presOf" srcId="{56FF90EC-B943-4CB5-9D1D-9CD75AC9ADD2}" destId="{AA7884F9-5E2B-4D96-9B51-DC3F2A5FFE5B}" srcOrd="0" destOrd="0" presId="urn:microsoft.com/office/officeart/2005/8/layout/venn1"/>
    <dgm:cxn modelId="{D29836F9-A918-4DAA-8E6B-62BBA1DD82D0}" srcId="{4B16B0F3-BF34-465C-B554-C0E1D8D25E5C}" destId="{8481D6F5-5DEF-4BA5-82AA-BD7880E80E3E}" srcOrd="1" destOrd="0" parTransId="{A90A110F-C5FE-4F93-90A3-C484EB38E2E5}" sibTransId="{60940B8A-B38F-4BB1-82C4-DC82E4BF554D}"/>
    <dgm:cxn modelId="{B791A0C4-4AC9-49E8-AB55-C52175AD1546}" type="presOf" srcId="{8481D6F5-5DEF-4BA5-82AA-BD7880E80E3E}" destId="{F43BE87E-95CE-4EF1-B463-7836B08DA378}" srcOrd="0" destOrd="0" presId="urn:microsoft.com/office/officeart/2005/8/layout/venn1"/>
    <dgm:cxn modelId="{16662629-CE2B-4319-8242-10EBCB3D0401}" type="presOf" srcId="{56FF90EC-B943-4CB5-9D1D-9CD75AC9ADD2}" destId="{09E5AD00-DCD1-4872-8337-AEEE3D8B6569}" srcOrd="1" destOrd="0" presId="urn:microsoft.com/office/officeart/2005/8/layout/venn1"/>
    <dgm:cxn modelId="{F2FAA9BD-33C7-4ABB-9D74-CB0356D0A5C6}" type="presOf" srcId="{842A0745-F3EE-4167-99F4-A34DDD3660AD}" destId="{4DCAC624-24FD-4090-8154-02DE83003883}" srcOrd="1" destOrd="0" presId="urn:microsoft.com/office/officeart/2005/8/layout/venn1"/>
    <dgm:cxn modelId="{E7F992C2-1191-431B-81AF-5C76C2DD34FA}" type="presOf" srcId="{8481D6F5-5DEF-4BA5-82AA-BD7880E80E3E}" destId="{8EF25F70-3E4F-4379-8DC0-7E554D707F9F}" srcOrd="1" destOrd="0" presId="urn:microsoft.com/office/officeart/2005/8/layout/venn1"/>
    <dgm:cxn modelId="{C3B9C0FF-910F-45C7-9B2A-0751AA028804}" srcId="{4B16B0F3-BF34-465C-B554-C0E1D8D25E5C}" destId="{56FF90EC-B943-4CB5-9D1D-9CD75AC9ADD2}" srcOrd="2" destOrd="0" parTransId="{D9536CD7-BD4C-4D79-937B-C1F6573C88B8}" sibTransId="{32029CE0-E4A1-4BFE-9D37-40A7CBAF9347}"/>
    <dgm:cxn modelId="{9C9E8239-5449-417F-B1AA-45A9995F9EB5}" type="presParOf" srcId="{F0BCBB89-4F1E-4B31-AB7A-77AC7203A014}" destId="{E56DC10A-2B51-4D24-AC92-3101E160DF50}" srcOrd="0" destOrd="0" presId="urn:microsoft.com/office/officeart/2005/8/layout/venn1"/>
    <dgm:cxn modelId="{79E67194-29E1-4EF0-9464-234729DE4BE2}" type="presParOf" srcId="{F0BCBB89-4F1E-4B31-AB7A-77AC7203A014}" destId="{4DCAC624-24FD-4090-8154-02DE83003883}" srcOrd="1" destOrd="0" presId="urn:microsoft.com/office/officeart/2005/8/layout/venn1"/>
    <dgm:cxn modelId="{03B87E57-1EED-43BB-A8DB-5AD453519528}" type="presParOf" srcId="{F0BCBB89-4F1E-4B31-AB7A-77AC7203A014}" destId="{F43BE87E-95CE-4EF1-B463-7836B08DA378}" srcOrd="2" destOrd="0" presId="urn:microsoft.com/office/officeart/2005/8/layout/venn1"/>
    <dgm:cxn modelId="{402F05F3-1A81-4716-8710-4CD48A78EF72}" type="presParOf" srcId="{F0BCBB89-4F1E-4B31-AB7A-77AC7203A014}" destId="{8EF25F70-3E4F-4379-8DC0-7E554D707F9F}" srcOrd="3" destOrd="0" presId="urn:microsoft.com/office/officeart/2005/8/layout/venn1"/>
    <dgm:cxn modelId="{AEE26FB6-FC1A-4E15-B9D8-8EE01FB70D8E}" type="presParOf" srcId="{F0BCBB89-4F1E-4B31-AB7A-77AC7203A014}" destId="{AA7884F9-5E2B-4D96-9B51-DC3F2A5FFE5B}" srcOrd="4" destOrd="0" presId="urn:microsoft.com/office/officeart/2005/8/layout/venn1"/>
    <dgm:cxn modelId="{ED6D46F2-C793-4DC2-8BC6-9D5CBC2BD396}" type="presParOf" srcId="{F0BCBB89-4F1E-4B31-AB7A-77AC7203A014}" destId="{09E5AD00-DCD1-4872-8337-AEEE3D8B6569}"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ACA8E57-F79D-4652-9D41-572E9CA5D10F}" type="doc">
      <dgm:prSet loTypeId="urn:microsoft.com/office/officeart/2005/8/layout/venn3" loCatId="relationship" qsTypeId="urn:microsoft.com/office/officeart/2005/8/quickstyle/simple1" qsCatId="simple" csTypeId="urn:microsoft.com/office/officeart/2005/8/colors/accent1_2" csCatId="accent1" phldr="1"/>
      <dgm:spPr/>
      <dgm:t>
        <a:bodyPr/>
        <a:lstStyle/>
        <a:p>
          <a:endParaRPr lang="en-US"/>
        </a:p>
      </dgm:t>
    </dgm:pt>
    <dgm:pt modelId="{28768D3D-4D8A-41A3-ABD4-0310191606BF}">
      <dgm:prSet phldrT="[Text]"/>
      <dgm:spPr/>
      <dgm:t>
        <a:bodyPr/>
        <a:lstStyle/>
        <a:p>
          <a:r>
            <a:rPr lang="en-US" dirty="0"/>
            <a:t>Customer</a:t>
          </a:r>
        </a:p>
      </dgm:t>
    </dgm:pt>
    <dgm:pt modelId="{D8742F40-3EE2-4152-ABEA-6B1E9157E98D}" type="parTrans" cxnId="{B714ECA3-3E46-46D7-8783-40BB80BD0451}">
      <dgm:prSet/>
      <dgm:spPr/>
      <dgm:t>
        <a:bodyPr/>
        <a:lstStyle/>
        <a:p>
          <a:endParaRPr lang="en-US"/>
        </a:p>
      </dgm:t>
    </dgm:pt>
    <dgm:pt modelId="{34B15EF6-A0D9-4390-9082-A677E5204758}" type="sibTrans" cxnId="{B714ECA3-3E46-46D7-8783-40BB80BD0451}">
      <dgm:prSet/>
      <dgm:spPr/>
      <dgm:t>
        <a:bodyPr/>
        <a:lstStyle/>
        <a:p>
          <a:endParaRPr lang="en-US"/>
        </a:p>
      </dgm:t>
    </dgm:pt>
    <dgm:pt modelId="{23BC5E5D-7118-4439-8B28-9F836195101E}">
      <dgm:prSet phldrT="[Text]"/>
      <dgm:spPr/>
      <dgm:t>
        <a:bodyPr/>
        <a:lstStyle/>
        <a:p>
          <a:r>
            <a:rPr lang="en-US" dirty="0"/>
            <a:t>Product Owner</a:t>
          </a:r>
        </a:p>
      </dgm:t>
    </dgm:pt>
    <dgm:pt modelId="{27974613-8EB2-4320-AEDC-7BF3541021DD}" type="parTrans" cxnId="{D240853D-F453-4343-B72A-9FC07B69B1C6}">
      <dgm:prSet/>
      <dgm:spPr/>
      <dgm:t>
        <a:bodyPr/>
        <a:lstStyle/>
        <a:p>
          <a:endParaRPr lang="en-US"/>
        </a:p>
      </dgm:t>
    </dgm:pt>
    <dgm:pt modelId="{3CAC7D89-3767-47DD-8593-1646104FF9D4}" type="sibTrans" cxnId="{D240853D-F453-4343-B72A-9FC07B69B1C6}">
      <dgm:prSet/>
      <dgm:spPr/>
      <dgm:t>
        <a:bodyPr/>
        <a:lstStyle/>
        <a:p>
          <a:endParaRPr lang="en-US"/>
        </a:p>
      </dgm:t>
    </dgm:pt>
    <dgm:pt modelId="{F45A8F3C-3F55-45A1-808F-2EF01360896E}">
      <dgm:prSet phldrT="[Text]"/>
      <dgm:spPr/>
      <dgm:t>
        <a:bodyPr/>
        <a:lstStyle/>
        <a:p>
          <a:r>
            <a:rPr lang="en-US" dirty="0"/>
            <a:t>Scrum Team</a:t>
          </a:r>
        </a:p>
      </dgm:t>
    </dgm:pt>
    <dgm:pt modelId="{661871AD-E744-4F6F-9701-16E640A57A96}" type="parTrans" cxnId="{0E8F3784-8688-42FD-86DE-8BCFBD962161}">
      <dgm:prSet/>
      <dgm:spPr/>
      <dgm:t>
        <a:bodyPr/>
        <a:lstStyle/>
        <a:p>
          <a:endParaRPr lang="en-US"/>
        </a:p>
      </dgm:t>
    </dgm:pt>
    <dgm:pt modelId="{9165DB51-5E8B-4F90-9C3C-16E39CF01B0A}" type="sibTrans" cxnId="{0E8F3784-8688-42FD-86DE-8BCFBD962161}">
      <dgm:prSet/>
      <dgm:spPr/>
      <dgm:t>
        <a:bodyPr/>
        <a:lstStyle/>
        <a:p>
          <a:endParaRPr lang="en-US"/>
        </a:p>
      </dgm:t>
    </dgm:pt>
    <dgm:pt modelId="{075B5455-C913-4D6F-A473-D7318C1E249D}" type="pres">
      <dgm:prSet presAssocID="{7ACA8E57-F79D-4652-9D41-572E9CA5D10F}" presName="Name0" presStyleCnt="0">
        <dgm:presLayoutVars>
          <dgm:dir/>
          <dgm:resizeHandles val="exact"/>
        </dgm:presLayoutVars>
      </dgm:prSet>
      <dgm:spPr/>
    </dgm:pt>
    <dgm:pt modelId="{C133EF50-F10A-4F25-A078-A0AF7C552D13}" type="pres">
      <dgm:prSet presAssocID="{28768D3D-4D8A-41A3-ABD4-0310191606BF}" presName="Name5" presStyleLbl="vennNode1" presStyleIdx="0" presStyleCnt="3">
        <dgm:presLayoutVars>
          <dgm:bulletEnabled val="1"/>
        </dgm:presLayoutVars>
      </dgm:prSet>
      <dgm:spPr/>
    </dgm:pt>
    <dgm:pt modelId="{AB3B08B5-B838-4886-ACF4-12EA5EE8FA71}" type="pres">
      <dgm:prSet presAssocID="{34B15EF6-A0D9-4390-9082-A677E5204758}" presName="space" presStyleCnt="0"/>
      <dgm:spPr/>
    </dgm:pt>
    <dgm:pt modelId="{FD18FF4C-53D3-441C-9CF5-FA97DC1D9714}" type="pres">
      <dgm:prSet presAssocID="{23BC5E5D-7118-4439-8B28-9F836195101E}" presName="Name5" presStyleLbl="vennNode1" presStyleIdx="1" presStyleCnt="3">
        <dgm:presLayoutVars>
          <dgm:bulletEnabled val="1"/>
        </dgm:presLayoutVars>
      </dgm:prSet>
      <dgm:spPr/>
    </dgm:pt>
    <dgm:pt modelId="{A66B0FB7-1BFC-4CFF-B83E-1C0B50F4FED0}" type="pres">
      <dgm:prSet presAssocID="{3CAC7D89-3767-47DD-8593-1646104FF9D4}" presName="space" presStyleCnt="0"/>
      <dgm:spPr/>
    </dgm:pt>
    <dgm:pt modelId="{F4FF31C3-F028-4016-BB9C-2D2723B3A733}" type="pres">
      <dgm:prSet presAssocID="{F45A8F3C-3F55-45A1-808F-2EF01360896E}" presName="Name5" presStyleLbl="vennNode1" presStyleIdx="2" presStyleCnt="3">
        <dgm:presLayoutVars>
          <dgm:bulletEnabled val="1"/>
        </dgm:presLayoutVars>
      </dgm:prSet>
      <dgm:spPr/>
    </dgm:pt>
  </dgm:ptLst>
  <dgm:cxnLst>
    <dgm:cxn modelId="{D240853D-F453-4343-B72A-9FC07B69B1C6}" srcId="{7ACA8E57-F79D-4652-9D41-572E9CA5D10F}" destId="{23BC5E5D-7118-4439-8B28-9F836195101E}" srcOrd="1" destOrd="0" parTransId="{27974613-8EB2-4320-AEDC-7BF3541021DD}" sibTransId="{3CAC7D89-3767-47DD-8593-1646104FF9D4}"/>
    <dgm:cxn modelId="{B714ECA3-3E46-46D7-8783-40BB80BD0451}" srcId="{7ACA8E57-F79D-4652-9D41-572E9CA5D10F}" destId="{28768D3D-4D8A-41A3-ABD4-0310191606BF}" srcOrd="0" destOrd="0" parTransId="{D8742F40-3EE2-4152-ABEA-6B1E9157E98D}" sibTransId="{34B15EF6-A0D9-4390-9082-A677E5204758}"/>
    <dgm:cxn modelId="{0E8F3784-8688-42FD-86DE-8BCFBD962161}" srcId="{7ACA8E57-F79D-4652-9D41-572E9CA5D10F}" destId="{F45A8F3C-3F55-45A1-808F-2EF01360896E}" srcOrd="2" destOrd="0" parTransId="{661871AD-E744-4F6F-9701-16E640A57A96}" sibTransId="{9165DB51-5E8B-4F90-9C3C-16E39CF01B0A}"/>
    <dgm:cxn modelId="{5762A58F-C6A1-4EE8-92A8-435FC80E4455}" type="presOf" srcId="{7ACA8E57-F79D-4652-9D41-572E9CA5D10F}" destId="{075B5455-C913-4D6F-A473-D7318C1E249D}" srcOrd="0" destOrd="0" presId="urn:microsoft.com/office/officeart/2005/8/layout/venn3"/>
    <dgm:cxn modelId="{65959396-C49F-4D76-8DAE-CAC3AB483398}" type="presOf" srcId="{F45A8F3C-3F55-45A1-808F-2EF01360896E}" destId="{F4FF31C3-F028-4016-BB9C-2D2723B3A733}" srcOrd="0" destOrd="0" presId="urn:microsoft.com/office/officeart/2005/8/layout/venn3"/>
    <dgm:cxn modelId="{F583DBB0-D1D7-4FF6-A570-1AE264815EF4}" type="presOf" srcId="{28768D3D-4D8A-41A3-ABD4-0310191606BF}" destId="{C133EF50-F10A-4F25-A078-A0AF7C552D13}" srcOrd="0" destOrd="0" presId="urn:microsoft.com/office/officeart/2005/8/layout/venn3"/>
    <dgm:cxn modelId="{CD6ED190-8DC4-4DB3-8622-CA5CE5560B98}" type="presOf" srcId="{23BC5E5D-7118-4439-8B28-9F836195101E}" destId="{FD18FF4C-53D3-441C-9CF5-FA97DC1D9714}" srcOrd="0" destOrd="0" presId="urn:microsoft.com/office/officeart/2005/8/layout/venn3"/>
    <dgm:cxn modelId="{5754D064-F056-4D9A-BC48-740DEA3558E6}" type="presParOf" srcId="{075B5455-C913-4D6F-A473-D7318C1E249D}" destId="{C133EF50-F10A-4F25-A078-A0AF7C552D13}" srcOrd="0" destOrd="0" presId="urn:microsoft.com/office/officeart/2005/8/layout/venn3"/>
    <dgm:cxn modelId="{9B294D8C-4EDE-4DA4-B1A5-C435FDD79FBB}" type="presParOf" srcId="{075B5455-C913-4D6F-A473-D7318C1E249D}" destId="{AB3B08B5-B838-4886-ACF4-12EA5EE8FA71}" srcOrd="1" destOrd="0" presId="urn:microsoft.com/office/officeart/2005/8/layout/venn3"/>
    <dgm:cxn modelId="{48969998-13AD-4BF1-B4BD-BC47B46971D6}" type="presParOf" srcId="{075B5455-C913-4D6F-A473-D7318C1E249D}" destId="{FD18FF4C-53D3-441C-9CF5-FA97DC1D9714}" srcOrd="2" destOrd="0" presId="urn:microsoft.com/office/officeart/2005/8/layout/venn3"/>
    <dgm:cxn modelId="{7D17F6EE-E66E-4D3F-BD31-0C6EFA11B369}" type="presParOf" srcId="{075B5455-C913-4D6F-A473-D7318C1E249D}" destId="{A66B0FB7-1BFC-4CFF-B83E-1C0B50F4FED0}" srcOrd="3" destOrd="0" presId="urn:microsoft.com/office/officeart/2005/8/layout/venn3"/>
    <dgm:cxn modelId="{7D97C952-6385-468F-87BA-B1F8655D2F8C}" type="presParOf" srcId="{075B5455-C913-4D6F-A473-D7318C1E249D}" destId="{F4FF31C3-F028-4016-BB9C-2D2723B3A733}" srcOrd="4" destOrd="0" presId="urn:microsoft.com/office/officeart/2005/8/layout/venn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4DBF4C6-78EE-4DFB-A565-C67AF7638168}"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250E978C-A03D-4412-8277-D4736A98B77E}">
      <dgm:prSet/>
      <dgm:spPr/>
      <dgm:t>
        <a:bodyPr/>
        <a:lstStyle/>
        <a:p>
          <a:pPr rtl="0"/>
          <a:r>
            <a:rPr lang="en-US" dirty="0"/>
            <a:t>Testers are part of the team</a:t>
          </a:r>
        </a:p>
      </dgm:t>
    </dgm:pt>
    <dgm:pt modelId="{9F71DED1-2331-4E94-92DC-BA5ED1E4C0CD}" type="parTrans" cxnId="{EE4E0C28-4034-4564-9E94-7F1C07350097}">
      <dgm:prSet/>
      <dgm:spPr/>
      <dgm:t>
        <a:bodyPr/>
        <a:lstStyle/>
        <a:p>
          <a:endParaRPr lang="en-US"/>
        </a:p>
      </dgm:t>
    </dgm:pt>
    <dgm:pt modelId="{D288B11A-1CD7-428A-B277-2129307AE9F6}" type="sibTrans" cxnId="{EE4E0C28-4034-4564-9E94-7F1C07350097}">
      <dgm:prSet/>
      <dgm:spPr/>
      <dgm:t>
        <a:bodyPr/>
        <a:lstStyle/>
        <a:p>
          <a:endParaRPr lang="en-US"/>
        </a:p>
      </dgm:t>
    </dgm:pt>
    <dgm:pt modelId="{058B5D41-BD39-49EF-8309-C6A81AD8B009}">
      <dgm:prSet/>
      <dgm:spPr/>
      <dgm:t>
        <a:bodyPr/>
        <a:lstStyle/>
        <a:p>
          <a:pPr rtl="0"/>
          <a:r>
            <a:rPr lang="en-US" dirty="0"/>
            <a:t>Agile testing mindset</a:t>
          </a:r>
        </a:p>
      </dgm:t>
    </dgm:pt>
    <dgm:pt modelId="{16114335-FC58-4F0A-81BD-EE8A66C22908}" type="parTrans" cxnId="{39B6F435-9027-48D1-9945-F7659094CA3D}">
      <dgm:prSet/>
      <dgm:spPr/>
      <dgm:t>
        <a:bodyPr/>
        <a:lstStyle/>
        <a:p>
          <a:endParaRPr lang="en-US"/>
        </a:p>
      </dgm:t>
    </dgm:pt>
    <dgm:pt modelId="{E00DC6B3-CD32-4F66-BD7C-5AB81A048862}" type="sibTrans" cxnId="{39B6F435-9027-48D1-9945-F7659094CA3D}">
      <dgm:prSet/>
      <dgm:spPr/>
      <dgm:t>
        <a:bodyPr/>
        <a:lstStyle/>
        <a:p>
          <a:endParaRPr lang="en-US"/>
        </a:p>
      </dgm:t>
    </dgm:pt>
    <dgm:pt modelId="{AB97E0FB-A39E-48F7-A298-510ED34AAFEE}">
      <dgm:prSet/>
      <dgm:spPr/>
      <dgm:t>
        <a:bodyPr/>
        <a:lstStyle/>
        <a:p>
          <a:pPr rtl="0"/>
          <a:r>
            <a:rPr lang="en-US" dirty="0"/>
            <a:t>Automate tests</a:t>
          </a:r>
        </a:p>
      </dgm:t>
    </dgm:pt>
    <dgm:pt modelId="{38545389-8C7F-440F-8AEF-1E2A9AB7DC70}" type="parTrans" cxnId="{A71C9F0D-4827-4B56-9574-AF7ABA31374E}">
      <dgm:prSet/>
      <dgm:spPr/>
      <dgm:t>
        <a:bodyPr/>
        <a:lstStyle/>
        <a:p>
          <a:endParaRPr lang="en-US"/>
        </a:p>
      </dgm:t>
    </dgm:pt>
    <dgm:pt modelId="{F7F31255-18E6-4100-BAEE-927451DFB170}" type="sibTrans" cxnId="{A71C9F0D-4827-4B56-9574-AF7ABA31374E}">
      <dgm:prSet/>
      <dgm:spPr/>
      <dgm:t>
        <a:bodyPr/>
        <a:lstStyle/>
        <a:p>
          <a:endParaRPr lang="en-US"/>
        </a:p>
      </dgm:t>
    </dgm:pt>
    <dgm:pt modelId="{46EE6179-D737-41FA-B146-E2FB4A9E3E0A}">
      <dgm:prSet/>
      <dgm:spPr/>
      <dgm:t>
        <a:bodyPr/>
        <a:lstStyle/>
        <a:p>
          <a:pPr rtl="0"/>
          <a:r>
            <a:rPr lang="en-US" dirty="0"/>
            <a:t>Look at the big picture</a:t>
          </a:r>
        </a:p>
      </dgm:t>
    </dgm:pt>
    <dgm:pt modelId="{DA4826C9-1F2F-4B5C-B714-971CDD70F8B3}" type="parTrans" cxnId="{A534BA12-B3F2-4987-860E-CAC01E1872BF}">
      <dgm:prSet/>
      <dgm:spPr/>
      <dgm:t>
        <a:bodyPr/>
        <a:lstStyle/>
        <a:p>
          <a:endParaRPr lang="en-US"/>
        </a:p>
      </dgm:t>
    </dgm:pt>
    <dgm:pt modelId="{B47EB08F-BEC5-459F-9009-CF1E319FEE4A}" type="sibTrans" cxnId="{A534BA12-B3F2-4987-860E-CAC01E1872BF}">
      <dgm:prSet/>
      <dgm:spPr/>
      <dgm:t>
        <a:bodyPr/>
        <a:lstStyle/>
        <a:p>
          <a:endParaRPr lang="en-US"/>
        </a:p>
      </dgm:t>
    </dgm:pt>
    <dgm:pt modelId="{73A60E3C-B350-4BFF-B251-114D116A9A7D}">
      <dgm:prSet custT="1"/>
      <dgm:spPr/>
      <dgm:t>
        <a:bodyPr/>
        <a:lstStyle/>
        <a:p>
          <a:pPr rtl="0"/>
          <a:r>
            <a:rPr lang="en-US" sz="1800" kern="1200" dirty="0">
              <a:solidFill>
                <a:srgbClr val="000000">
                  <a:hueOff val="0"/>
                  <a:satOff val="0"/>
                  <a:lumOff val="0"/>
                  <a:alphaOff val="0"/>
                </a:srgbClr>
              </a:solidFill>
              <a:latin typeface="Verdana"/>
              <a:ea typeface="+mn-ea"/>
              <a:cs typeface="+mn-cs"/>
            </a:rPr>
            <a:t>Drop the “Quality Police” mindset</a:t>
          </a:r>
        </a:p>
      </dgm:t>
    </dgm:pt>
    <dgm:pt modelId="{22F04BCC-3CFE-4E1F-B2BE-085C81FA506F}" type="parTrans" cxnId="{5C38CEA7-3CFD-46B2-9194-4DE3767C6894}">
      <dgm:prSet/>
      <dgm:spPr/>
      <dgm:t>
        <a:bodyPr/>
        <a:lstStyle/>
        <a:p>
          <a:endParaRPr lang="en-US"/>
        </a:p>
      </dgm:t>
    </dgm:pt>
    <dgm:pt modelId="{7A8D46D0-7946-4194-A623-F34E37747C96}" type="sibTrans" cxnId="{5C38CEA7-3CFD-46B2-9194-4DE3767C6894}">
      <dgm:prSet/>
      <dgm:spPr/>
      <dgm:t>
        <a:bodyPr/>
        <a:lstStyle/>
        <a:p>
          <a:endParaRPr lang="en-US"/>
        </a:p>
      </dgm:t>
    </dgm:pt>
    <dgm:pt modelId="{2C3DD054-A24E-479D-95C8-F89D2501E13E}">
      <dgm:prSet custT="1"/>
      <dgm:spPr/>
      <dgm:t>
        <a:bodyPr/>
        <a:lstStyle/>
        <a:p>
          <a:pPr rtl="0"/>
          <a:r>
            <a:rPr lang="en-US" sz="2000" dirty="0"/>
            <a:t>Automate tests wherever practical</a:t>
          </a:r>
        </a:p>
      </dgm:t>
    </dgm:pt>
    <dgm:pt modelId="{F783D674-38F6-460B-9675-FDBB90FD1947}" type="parTrans" cxnId="{3EC82528-0A1B-4C93-9747-2448FAAD2920}">
      <dgm:prSet/>
      <dgm:spPr/>
      <dgm:t>
        <a:bodyPr/>
        <a:lstStyle/>
        <a:p>
          <a:endParaRPr lang="en-US"/>
        </a:p>
      </dgm:t>
    </dgm:pt>
    <dgm:pt modelId="{D477E05C-57A7-4BB3-8BA7-2D308CB376B7}" type="sibTrans" cxnId="{3EC82528-0A1B-4C93-9747-2448FAAD2920}">
      <dgm:prSet/>
      <dgm:spPr/>
      <dgm:t>
        <a:bodyPr/>
        <a:lstStyle/>
        <a:p>
          <a:endParaRPr lang="en-US"/>
        </a:p>
      </dgm:t>
    </dgm:pt>
    <dgm:pt modelId="{D5E4D0FF-281A-41EA-A813-96D634FD9550}">
      <dgm:prSet custT="1"/>
      <dgm:spPr/>
      <dgm:t>
        <a:bodyPr/>
        <a:lstStyle/>
        <a:p>
          <a:pPr rtl="0"/>
          <a:r>
            <a:rPr lang="en-US" sz="1800" kern="1200" dirty="0">
              <a:solidFill>
                <a:srgbClr val="000000">
                  <a:hueOff val="0"/>
                  <a:satOff val="0"/>
                  <a:lumOff val="0"/>
                  <a:alphaOff val="0"/>
                </a:srgbClr>
              </a:solidFill>
              <a:latin typeface="Verdana"/>
              <a:ea typeface="+mn-ea"/>
              <a:cs typeface="+mn-cs"/>
            </a:rPr>
            <a:t>Focus on team goals &amp; </a:t>
          </a:r>
          <a:r>
            <a:rPr lang="en-US" sz="2000" kern="1200" dirty="0"/>
            <a:t>customer value</a:t>
          </a:r>
        </a:p>
      </dgm:t>
    </dgm:pt>
    <dgm:pt modelId="{BA8F20AB-7364-4350-BA92-91ACB0EEDE2F}" type="parTrans" cxnId="{7628B869-AA81-46A6-B1E0-DAD0CA00B17E}">
      <dgm:prSet/>
      <dgm:spPr/>
      <dgm:t>
        <a:bodyPr/>
        <a:lstStyle/>
        <a:p>
          <a:endParaRPr lang="en-US"/>
        </a:p>
      </dgm:t>
    </dgm:pt>
    <dgm:pt modelId="{9E436ABA-4A6C-4A54-A040-C2E2FF18C986}" type="sibTrans" cxnId="{7628B869-AA81-46A6-B1E0-DAD0CA00B17E}">
      <dgm:prSet/>
      <dgm:spPr/>
      <dgm:t>
        <a:bodyPr/>
        <a:lstStyle/>
        <a:p>
          <a:endParaRPr lang="en-US"/>
        </a:p>
      </dgm:t>
    </dgm:pt>
    <dgm:pt modelId="{97008F68-BF6D-44C6-9F58-F05B51F49348}">
      <dgm:prSet custT="1"/>
      <dgm:spPr/>
      <dgm:t>
        <a:bodyPr/>
        <a:lstStyle/>
        <a:p>
          <a:pPr rtl="0"/>
          <a:r>
            <a:rPr lang="en-US" sz="2000" dirty="0"/>
            <a:t>Need rapid feedback</a:t>
          </a:r>
        </a:p>
      </dgm:t>
    </dgm:pt>
    <dgm:pt modelId="{1A6C86A9-1555-4CEF-9C4B-9391FEF1E9D7}" type="parTrans" cxnId="{9CB66B9F-D37A-4BBD-92D7-972ABB1B935B}">
      <dgm:prSet/>
      <dgm:spPr/>
      <dgm:t>
        <a:bodyPr/>
        <a:lstStyle/>
        <a:p>
          <a:endParaRPr lang="en-US"/>
        </a:p>
      </dgm:t>
    </dgm:pt>
    <dgm:pt modelId="{AE805A38-19CD-471E-AECD-372D728439EE}" type="sibTrans" cxnId="{9CB66B9F-D37A-4BBD-92D7-972ABB1B935B}">
      <dgm:prSet/>
      <dgm:spPr/>
      <dgm:t>
        <a:bodyPr/>
        <a:lstStyle/>
        <a:p>
          <a:endParaRPr lang="en-US"/>
        </a:p>
      </dgm:t>
    </dgm:pt>
    <dgm:pt modelId="{C17D4648-F00F-4F74-B788-3316898F54F3}">
      <dgm:prSet custT="1"/>
      <dgm:spPr/>
      <dgm:t>
        <a:bodyPr/>
        <a:lstStyle/>
        <a:p>
          <a:pPr rtl="0"/>
          <a:r>
            <a:rPr lang="en-US" sz="2000" dirty="0"/>
            <a:t>Balance against developer focus on technical implementation</a:t>
          </a:r>
        </a:p>
      </dgm:t>
    </dgm:pt>
    <dgm:pt modelId="{A4CA82F4-812D-445E-A08B-BB821FE91018}" type="parTrans" cxnId="{CF6A488F-B283-45DA-B668-F110AB8957BB}">
      <dgm:prSet/>
      <dgm:spPr/>
      <dgm:t>
        <a:bodyPr/>
        <a:lstStyle/>
        <a:p>
          <a:endParaRPr lang="en-US"/>
        </a:p>
      </dgm:t>
    </dgm:pt>
    <dgm:pt modelId="{605B2FD5-822A-4C48-9E94-572B6811F090}" type="sibTrans" cxnId="{CF6A488F-B283-45DA-B668-F110AB8957BB}">
      <dgm:prSet/>
      <dgm:spPr/>
      <dgm:t>
        <a:bodyPr/>
        <a:lstStyle/>
        <a:p>
          <a:endParaRPr lang="en-US"/>
        </a:p>
      </dgm:t>
    </dgm:pt>
    <dgm:pt modelId="{2C3D93C4-71E7-4F95-844B-1503BBAFD36C}">
      <dgm:prSet custT="1"/>
      <dgm:spPr/>
      <dgm:t>
        <a:bodyPr/>
        <a:lstStyle/>
        <a:p>
          <a:pPr rtl="0"/>
          <a:r>
            <a:rPr lang="en-US" sz="2000" dirty="0"/>
            <a:t>Use agile test matrix as guide</a:t>
          </a:r>
        </a:p>
      </dgm:t>
    </dgm:pt>
    <dgm:pt modelId="{3B5D7A6B-8C43-46AA-AF04-643EA12D5230}" type="parTrans" cxnId="{EA22B47C-BD23-415E-809C-7F14EB584532}">
      <dgm:prSet/>
      <dgm:spPr/>
      <dgm:t>
        <a:bodyPr/>
        <a:lstStyle/>
        <a:p>
          <a:endParaRPr lang="en-US"/>
        </a:p>
      </dgm:t>
    </dgm:pt>
    <dgm:pt modelId="{1389B0FB-780E-4CAD-B8CC-43D4003C4809}" type="sibTrans" cxnId="{EA22B47C-BD23-415E-809C-7F14EB584532}">
      <dgm:prSet/>
      <dgm:spPr/>
      <dgm:t>
        <a:bodyPr/>
        <a:lstStyle/>
        <a:p>
          <a:endParaRPr lang="en-US"/>
        </a:p>
      </dgm:t>
    </dgm:pt>
    <dgm:pt modelId="{3F2703A1-3681-4D67-8964-B4320B716DD4}">
      <dgm:prSet custT="1"/>
      <dgm:spPr/>
      <dgm:t>
        <a:bodyPr/>
        <a:lstStyle/>
        <a:p>
          <a:pPr rtl="0"/>
          <a:r>
            <a:rPr lang="en-US" sz="1800" dirty="0"/>
            <a:t>Collective ownership</a:t>
          </a:r>
        </a:p>
      </dgm:t>
    </dgm:pt>
    <dgm:pt modelId="{E15BFE7D-D343-4B6D-A3A0-C9A98E863938}" type="sibTrans" cxnId="{404C8CCD-A2FC-4DCB-8A86-C55DF903E60E}">
      <dgm:prSet/>
      <dgm:spPr/>
      <dgm:t>
        <a:bodyPr/>
        <a:lstStyle/>
        <a:p>
          <a:endParaRPr lang="en-US"/>
        </a:p>
      </dgm:t>
    </dgm:pt>
    <dgm:pt modelId="{57089C94-C118-4CC4-91F5-BEFF40F8A99E}" type="parTrans" cxnId="{404C8CCD-A2FC-4DCB-8A86-C55DF903E60E}">
      <dgm:prSet/>
      <dgm:spPr/>
      <dgm:t>
        <a:bodyPr/>
        <a:lstStyle/>
        <a:p>
          <a:endParaRPr lang="en-US"/>
        </a:p>
      </dgm:t>
    </dgm:pt>
    <dgm:pt modelId="{7FA30C96-3EAF-4555-A54F-E364D51252F0}">
      <dgm:prSet custT="1"/>
      <dgm:spPr/>
      <dgm:t>
        <a:bodyPr/>
        <a:lstStyle/>
        <a:p>
          <a:pPr rtl="0"/>
          <a:r>
            <a:rPr lang="en-US" sz="1800" dirty="0"/>
            <a:t>Be cathedral builders not stone cutters</a:t>
          </a:r>
        </a:p>
      </dgm:t>
    </dgm:pt>
    <dgm:pt modelId="{1889B1EA-0D70-46C3-BD54-E99346512E8E}" type="sibTrans" cxnId="{4FD43726-5D02-4966-A181-6AB497317008}">
      <dgm:prSet/>
      <dgm:spPr/>
      <dgm:t>
        <a:bodyPr/>
        <a:lstStyle/>
        <a:p>
          <a:endParaRPr lang="en-US"/>
        </a:p>
      </dgm:t>
    </dgm:pt>
    <dgm:pt modelId="{E3A1B264-F503-4E7B-8FA5-34546F3946FB}" type="parTrans" cxnId="{4FD43726-5D02-4966-A181-6AB497317008}">
      <dgm:prSet/>
      <dgm:spPr/>
      <dgm:t>
        <a:bodyPr/>
        <a:lstStyle/>
        <a:p>
          <a:endParaRPr lang="en-US"/>
        </a:p>
      </dgm:t>
    </dgm:pt>
    <dgm:pt modelId="{E414E34C-F7B1-4D9B-AB49-C708CBF483C1}" type="pres">
      <dgm:prSet presAssocID="{84DBF4C6-78EE-4DFB-A565-C67AF7638168}" presName="Name0" presStyleCnt="0">
        <dgm:presLayoutVars>
          <dgm:dir/>
          <dgm:animLvl val="lvl"/>
          <dgm:resizeHandles val="exact"/>
        </dgm:presLayoutVars>
      </dgm:prSet>
      <dgm:spPr/>
    </dgm:pt>
    <dgm:pt modelId="{8707342B-C0EE-4700-B1D2-496AA16EAFC2}" type="pres">
      <dgm:prSet presAssocID="{250E978C-A03D-4412-8277-D4736A98B77E}" presName="linNode" presStyleCnt="0"/>
      <dgm:spPr/>
    </dgm:pt>
    <dgm:pt modelId="{0E8D0E00-445C-4B7E-A613-4DCF2C1683C2}" type="pres">
      <dgm:prSet presAssocID="{250E978C-A03D-4412-8277-D4736A98B77E}" presName="parentText" presStyleLbl="node1" presStyleIdx="0" presStyleCnt="4">
        <dgm:presLayoutVars>
          <dgm:chMax val="1"/>
          <dgm:bulletEnabled val="1"/>
        </dgm:presLayoutVars>
      </dgm:prSet>
      <dgm:spPr/>
    </dgm:pt>
    <dgm:pt modelId="{6AA0F124-6DDA-45B3-8535-D22CB3C75689}" type="pres">
      <dgm:prSet presAssocID="{250E978C-A03D-4412-8277-D4736A98B77E}" presName="descendantText" presStyleLbl="alignAccFollowNode1" presStyleIdx="0" presStyleCnt="4">
        <dgm:presLayoutVars>
          <dgm:bulletEnabled val="1"/>
        </dgm:presLayoutVars>
      </dgm:prSet>
      <dgm:spPr/>
    </dgm:pt>
    <dgm:pt modelId="{1A9435E1-1751-4585-B865-DC6DD1C0BE20}" type="pres">
      <dgm:prSet presAssocID="{D288B11A-1CD7-428A-B277-2129307AE9F6}" presName="sp" presStyleCnt="0"/>
      <dgm:spPr/>
    </dgm:pt>
    <dgm:pt modelId="{E8B5E071-BDE7-4AF4-966E-178C991616D8}" type="pres">
      <dgm:prSet presAssocID="{058B5D41-BD39-49EF-8309-C6A81AD8B009}" presName="linNode" presStyleCnt="0"/>
      <dgm:spPr/>
    </dgm:pt>
    <dgm:pt modelId="{09D42559-622F-4A65-9971-90B8777C5D23}" type="pres">
      <dgm:prSet presAssocID="{058B5D41-BD39-49EF-8309-C6A81AD8B009}" presName="parentText" presStyleLbl="node1" presStyleIdx="1" presStyleCnt="4">
        <dgm:presLayoutVars>
          <dgm:chMax val="1"/>
          <dgm:bulletEnabled val="1"/>
        </dgm:presLayoutVars>
      </dgm:prSet>
      <dgm:spPr/>
    </dgm:pt>
    <dgm:pt modelId="{F4DA760B-EDCC-48E4-AA03-0F7A8DE0195C}" type="pres">
      <dgm:prSet presAssocID="{058B5D41-BD39-49EF-8309-C6A81AD8B009}" presName="descendantText" presStyleLbl="alignAccFollowNode1" presStyleIdx="1" presStyleCnt="4">
        <dgm:presLayoutVars>
          <dgm:bulletEnabled val="1"/>
        </dgm:presLayoutVars>
      </dgm:prSet>
      <dgm:spPr/>
    </dgm:pt>
    <dgm:pt modelId="{946A9A34-26E7-4138-9A54-CDB4D1C55C6B}" type="pres">
      <dgm:prSet presAssocID="{E00DC6B3-CD32-4F66-BD7C-5AB81A048862}" presName="sp" presStyleCnt="0"/>
      <dgm:spPr/>
    </dgm:pt>
    <dgm:pt modelId="{A77345A7-E491-4ED5-B51C-314A852C5C9F}" type="pres">
      <dgm:prSet presAssocID="{AB97E0FB-A39E-48F7-A298-510ED34AAFEE}" presName="linNode" presStyleCnt="0"/>
      <dgm:spPr/>
    </dgm:pt>
    <dgm:pt modelId="{62A5F900-49F2-4B83-A4DC-8A3CE0FCE05B}" type="pres">
      <dgm:prSet presAssocID="{AB97E0FB-A39E-48F7-A298-510ED34AAFEE}" presName="parentText" presStyleLbl="node1" presStyleIdx="2" presStyleCnt="4">
        <dgm:presLayoutVars>
          <dgm:chMax val="1"/>
          <dgm:bulletEnabled val="1"/>
        </dgm:presLayoutVars>
      </dgm:prSet>
      <dgm:spPr/>
    </dgm:pt>
    <dgm:pt modelId="{033FFAF6-6223-4290-89C7-3AB05296A6FA}" type="pres">
      <dgm:prSet presAssocID="{AB97E0FB-A39E-48F7-A298-510ED34AAFEE}" presName="descendantText" presStyleLbl="alignAccFollowNode1" presStyleIdx="2" presStyleCnt="4">
        <dgm:presLayoutVars>
          <dgm:bulletEnabled val="1"/>
        </dgm:presLayoutVars>
      </dgm:prSet>
      <dgm:spPr/>
    </dgm:pt>
    <dgm:pt modelId="{0BE76554-50B3-44B4-A973-B7FA010BB08E}" type="pres">
      <dgm:prSet presAssocID="{F7F31255-18E6-4100-BAEE-927451DFB170}" presName="sp" presStyleCnt="0"/>
      <dgm:spPr/>
    </dgm:pt>
    <dgm:pt modelId="{3AD624F4-8DB0-46CA-8246-2B502C42A5E5}" type="pres">
      <dgm:prSet presAssocID="{46EE6179-D737-41FA-B146-E2FB4A9E3E0A}" presName="linNode" presStyleCnt="0"/>
      <dgm:spPr/>
    </dgm:pt>
    <dgm:pt modelId="{9873D82E-601D-4EB8-B8E8-AAC23DEE7278}" type="pres">
      <dgm:prSet presAssocID="{46EE6179-D737-41FA-B146-E2FB4A9E3E0A}" presName="parentText" presStyleLbl="node1" presStyleIdx="3" presStyleCnt="4">
        <dgm:presLayoutVars>
          <dgm:chMax val="1"/>
          <dgm:bulletEnabled val="1"/>
        </dgm:presLayoutVars>
      </dgm:prSet>
      <dgm:spPr/>
    </dgm:pt>
    <dgm:pt modelId="{E08B3F25-810C-4FCA-B74C-1B9D5DCA7F2C}" type="pres">
      <dgm:prSet presAssocID="{46EE6179-D737-41FA-B146-E2FB4A9E3E0A}" presName="descendantText" presStyleLbl="alignAccFollowNode1" presStyleIdx="3" presStyleCnt="4">
        <dgm:presLayoutVars>
          <dgm:bulletEnabled val="1"/>
        </dgm:presLayoutVars>
      </dgm:prSet>
      <dgm:spPr/>
    </dgm:pt>
  </dgm:ptLst>
  <dgm:cxnLst>
    <dgm:cxn modelId="{5E507ACE-45A3-42C4-9256-C4FC3090AADA}" type="presOf" srcId="{73A60E3C-B350-4BFF-B251-114D116A9A7D}" destId="{F4DA760B-EDCC-48E4-AA03-0F7A8DE0195C}" srcOrd="0" destOrd="0" presId="urn:microsoft.com/office/officeart/2005/8/layout/vList5"/>
    <dgm:cxn modelId="{EA22B47C-BD23-415E-809C-7F14EB584532}" srcId="{46EE6179-D737-41FA-B146-E2FB4A9E3E0A}" destId="{2C3D93C4-71E7-4F95-844B-1503BBAFD36C}" srcOrd="1" destOrd="0" parTransId="{3B5D7A6B-8C43-46AA-AF04-643EA12D5230}" sibTransId="{1389B0FB-780E-4CAD-B8CC-43D4003C4809}"/>
    <dgm:cxn modelId="{1E7E6575-2335-42CA-BE8D-6CE9FE2DE208}" type="presOf" srcId="{AB97E0FB-A39E-48F7-A298-510ED34AAFEE}" destId="{62A5F900-49F2-4B83-A4DC-8A3CE0FCE05B}" srcOrd="0" destOrd="0" presId="urn:microsoft.com/office/officeart/2005/8/layout/vList5"/>
    <dgm:cxn modelId="{39B6F435-9027-48D1-9945-F7659094CA3D}" srcId="{84DBF4C6-78EE-4DFB-A565-C67AF7638168}" destId="{058B5D41-BD39-49EF-8309-C6A81AD8B009}" srcOrd="1" destOrd="0" parTransId="{16114335-FC58-4F0A-81BD-EE8A66C22908}" sibTransId="{E00DC6B3-CD32-4F66-BD7C-5AB81A048862}"/>
    <dgm:cxn modelId="{3EC82528-0A1B-4C93-9747-2448FAAD2920}" srcId="{AB97E0FB-A39E-48F7-A298-510ED34AAFEE}" destId="{2C3DD054-A24E-479D-95C8-F89D2501E13E}" srcOrd="0" destOrd="0" parTransId="{F783D674-38F6-460B-9675-FDBB90FD1947}" sibTransId="{D477E05C-57A7-4BB3-8BA7-2D308CB376B7}"/>
    <dgm:cxn modelId="{7DD7100E-21DC-45DD-B523-F0DC3A668748}" type="presOf" srcId="{2C3DD054-A24E-479D-95C8-F89D2501E13E}" destId="{033FFAF6-6223-4290-89C7-3AB05296A6FA}" srcOrd="0" destOrd="0" presId="urn:microsoft.com/office/officeart/2005/8/layout/vList5"/>
    <dgm:cxn modelId="{CF6A488F-B283-45DA-B668-F110AB8957BB}" srcId="{46EE6179-D737-41FA-B146-E2FB4A9E3E0A}" destId="{C17D4648-F00F-4F74-B788-3316898F54F3}" srcOrd="0" destOrd="0" parTransId="{A4CA82F4-812D-445E-A08B-BB821FE91018}" sibTransId="{605B2FD5-822A-4C48-9E94-572B6811F090}"/>
    <dgm:cxn modelId="{4FD43726-5D02-4966-A181-6AB497317008}" srcId="{250E978C-A03D-4412-8277-D4736A98B77E}" destId="{7FA30C96-3EAF-4555-A54F-E364D51252F0}" srcOrd="0" destOrd="0" parTransId="{E3A1B264-F503-4E7B-8FA5-34546F3946FB}" sibTransId="{1889B1EA-0D70-46C3-BD54-E99346512E8E}"/>
    <dgm:cxn modelId="{EE4E0C28-4034-4564-9E94-7F1C07350097}" srcId="{84DBF4C6-78EE-4DFB-A565-C67AF7638168}" destId="{250E978C-A03D-4412-8277-D4736A98B77E}" srcOrd="0" destOrd="0" parTransId="{9F71DED1-2331-4E94-92DC-BA5ED1E4C0CD}" sibTransId="{D288B11A-1CD7-428A-B277-2129307AE9F6}"/>
    <dgm:cxn modelId="{610F2577-762C-4EF5-90DE-61A57478AFAD}" type="presOf" srcId="{250E978C-A03D-4412-8277-D4736A98B77E}" destId="{0E8D0E00-445C-4B7E-A613-4DCF2C1683C2}" srcOrd="0" destOrd="0" presId="urn:microsoft.com/office/officeart/2005/8/layout/vList5"/>
    <dgm:cxn modelId="{5C38CEA7-3CFD-46B2-9194-4DE3767C6894}" srcId="{058B5D41-BD39-49EF-8309-C6A81AD8B009}" destId="{73A60E3C-B350-4BFF-B251-114D116A9A7D}" srcOrd="0" destOrd="0" parTransId="{22F04BCC-3CFE-4E1F-B2BE-085C81FA506F}" sibTransId="{7A8D46D0-7946-4194-A623-F34E37747C96}"/>
    <dgm:cxn modelId="{404C8CCD-A2FC-4DCB-8A86-C55DF903E60E}" srcId="{250E978C-A03D-4412-8277-D4736A98B77E}" destId="{3F2703A1-3681-4D67-8964-B4320B716DD4}" srcOrd="1" destOrd="0" parTransId="{57089C94-C118-4CC4-91F5-BEFF40F8A99E}" sibTransId="{E15BFE7D-D343-4B6D-A3A0-C9A98E863938}"/>
    <dgm:cxn modelId="{A71C9F0D-4827-4B56-9574-AF7ABA31374E}" srcId="{84DBF4C6-78EE-4DFB-A565-C67AF7638168}" destId="{AB97E0FB-A39E-48F7-A298-510ED34AAFEE}" srcOrd="2" destOrd="0" parTransId="{38545389-8C7F-440F-8AEF-1E2A9AB7DC70}" sibTransId="{F7F31255-18E6-4100-BAEE-927451DFB170}"/>
    <dgm:cxn modelId="{85B95F6C-3CFE-4C2E-BB6D-C0B703A853F3}" type="presOf" srcId="{2C3D93C4-71E7-4F95-844B-1503BBAFD36C}" destId="{E08B3F25-810C-4FCA-B74C-1B9D5DCA7F2C}" srcOrd="0" destOrd="1" presId="urn:microsoft.com/office/officeart/2005/8/layout/vList5"/>
    <dgm:cxn modelId="{7591B691-253D-4AAB-9123-21C2D242ABBF}" type="presOf" srcId="{7FA30C96-3EAF-4555-A54F-E364D51252F0}" destId="{6AA0F124-6DDA-45B3-8535-D22CB3C75689}" srcOrd="0" destOrd="0" presId="urn:microsoft.com/office/officeart/2005/8/layout/vList5"/>
    <dgm:cxn modelId="{0E121063-5DB6-4B11-9659-E6D70E488BB5}" type="presOf" srcId="{3F2703A1-3681-4D67-8964-B4320B716DD4}" destId="{6AA0F124-6DDA-45B3-8535-D22CB3C75689}" srcOrd="0" destOrd="1" presId="urn:microsoft.com/office/officeart/2005/8/layout/vList5"/>
    <dgm:cxn modelId="{9CB66B9F-D37A-4BBD-92D7-972ABB1B935B}" srcId="{AB97E0FB-A39E-48F7-A298-510ED34AAFEE}" destId="{97008F68-BF6D-44C6-9F58-F05B51F49348}" srcOrd="1" destOrd="0" parTransId="{1A6C86A9-1555-4CEF-9C4B-9391FEF1E9D7}" sibTransId="{AE805A38-19CD-471E-AECD-372D728439EE}"/>
    <dgm:cxn modelId="{7628B869-AA81-46A6-B1E0-DAD0CA00B17E}" srcId="{058B5D41-BD39-49EF-8309-C6A81AD8B009}" destId="{D5E4D0FF-281A-41EA-A813-96D634FD9550}" srcOrd="1" destOrd="0" parTransId="{BA8F20AB-7364-4350-BA92-91ACB0EEDE2F}" sibTransId="{9E436ABA-4A6C-4A54-A040-C2E2FF18C986}"/>
    <dgm:cxn modelId="{A9688FDB-129C-418B-AE5D-B176906DB7BE}" type="presOf" srcId="{D5E4D0FF-281A-41EA-A813-96D634FD9550}" destId="{F4DA760B-EDCC-48E4-AA03-0F7A8DE0195C}" srcOrd="0" destOrd="1" presId="urn:microsoft.com/office/officeart/2005/8/layout/vList5"/>
    <dgm:cxn modelId="{292D7F5A-D301-408D-AC7C-6159E2B93085}" type="presOf" srcId="{C17D4648-F00F-4F74-B788-3316898F54F3}" destId="{E08B3F25-810C-4FCA-B74C-1B9D5DCA7F2C}" srcOrd="0" destOrd="0" presId="urn:microsoft.com/office/officeart/2005/8/layout/vList5"/>
    <dgm:cxn modelId="{6C890612-51EC-4803-96F5-FE8047573D6D}" type="presOf" srcId="{84DBF4C6-78EE-4DFB-A565-C67AF7638168}" destId="{E414E34C-F7B1-4D9B-AB49-C708CBF483C1}" srcOrd="0" destOrd="0" presId="urn:microsoft.com/office/officeart/2005/8/layout/vList5"/>
    <dgm:cxn modelId="{A534BA12-B3F2-4987-860E-CAC01E1872BF}" srcId="{84DBF4C6-78EE-4DFB-A565-C67AF7638168}" destId="{46EE6179-D737-41FA-B146-E2FB4A9E3E0A}" srcOrd="3" destOrd="0" parTransId="{DA4826C9-1F2F-4B5C-B714-971CDD70F8B3}" sibTransId="{B47EB08F-BEC5-459F-9009-CF1E319FEE4A}"/>
    <dgm:cxn modelId="{8FCB0959-98C6-4F51-9CCA-9FEC7A7592B3}" type="presOf" srcId="{97008F68-BF6D-44C6-9F58-F05B51F49348}" destId="{033FFAF6-6223-4290-89C7-3AB05296A6FA}" srcOrd="0" destOrd="1" presId="urn:microsoft.com/office/officeart/2005/8/layout/vList5"/>
    <dgm:cxn modelId="{E32313FA-84D0-4366-9857-605470B2D97B}" type="presOf" srcId="{058B5D41-BD39-49EF-8309-C6A81AD8B009}" destId="{09D42559-622F-4A65-9971-90B8777C5D23}" srcOrd="0" destOrd="0" presId="urn:microsoft.com/office/officeart/2005/8/layout/vList5"/>
    <dgm:cxn modelId="{BD6E0B12-C42F-47AE-A730-D546E990A1C9}" type="presOf" srcId="{46EE6179-D737-41FA-B146-E2FB4A9E3E0A}" destId="{9873D82E-601D-4EB8-B8E8-AAC23DEE7278}" srcOrd="0" destOrd="0" presId="urn:microsoft.com/office/officeart/2005/8/layout/vList5"/>
    <dgm:cxn modelId="{B66AA7EC-7B22-4438-9F8D-EDD9257A8CC3}" type="presParOf" srcId="{E414E34C-F7B1-4D9B-AB49-C708CBF483C1}" destId="{8707342B-C0EE-4700-B1D2-496AA16EAFC2}" srcOrd="0" destOrd="0" presId="urn:microsoft.com/office/officeart/2005/8/layout/vList5"/>
    <dgm:cxn modelId="{75979051-A2C8-4F8A-B443-D6B9B6DB9475}" type="presParOf" srcId="{8707342B-C0EE-4700-B1D2-496AA16EAFC2}" destId="{0E8D0E00-445C-4B7E-A613-4DCF2C1683C2}" srcOrd="0" destOrd="0" presId="urn:microsoft.com/office/officeart/2005/8/layout/vList5"/>
    <dgm:cxn modelId="{7905F6A6-B30F-428F-ABBD-29A15C80BF01}" type="presParOf" srcId="{8707342B-C0EE-4700-B1D2-496AA16EAFC2}" destId="{6AA0F124-6DDA-45B3-8535-D22CB3C75689}" srcOrd="1" destOrd="0" presId="urn:microsoft.com/office/officeart/2005/8/layout/vList5"/>
    <dgm:cxn modelId="{30355835-0124-4C83-873B-E50106962EBF}" type="presParOf" srcId="{E414E34C-F7B1-4D9B-AB49-C708CBF483C1}" destId="{1A9435E1-1751-4585-B865-DC6DD1C0BE20}" srcOrd="1" destOrd="0" presId="urn:microsoft.com/office/officeart/2005/8/layout/vList5"/>
    <dgm:cxn modelId="{2281C437-3D44-41CF-8701-6B2E979C4923}" type="presParOf" srcId="{E414E34C-F7B1-4D9B-AB49-C708CBF483C1}" destId="{E8B5E071-BDE7-4AF4-966E-178C991616D8}" srcOrd="2" destOrd="0" presId="urn:microsoft.com/office/officeart/2005/8/layout/vList5"/>
    <dgm:cxn modelId="{60F81F4A-A38C-40E2-9279-FAC9FCCF120C}" type="presParOf" srcId="{E8B5E071-BDE7-4AF4-966E-178C991616D8}" destId="{09D42559-622F-4A65-9971-90B8777C5D23}" srcOrd="0" destOrd="0" presId="urn:microsoft.com/office/officeart/2005/8/layout/vList5"/>
    <dgm:cxn modelId="{9A90AF9C-3D5A-4DD2-9333-BF35B9A75E36}" type="presParOf" srcId="{E8B5E071-BDE7-4AF4-966E-178C991616D8}" destId="{F4DA760B-EDCC-48E4-AA03-0F7A8DE0195C}" srcOrd="1" destOrd="0" presId="urn:microsoft.com/office/officeart/2005/8/layout/vList5"/>
    <dgm:cxn modelId="{0F336836-1D61-4C97-8695-9CE9A7E525B7}" type="presParOf" srcId="{E414E34C-F7B1-4D9B-AB49-C708CBF483C1}" destId="{946A9A34-26E7-4138-9A54-CDB4D1C55C6B}" srcOrd="3" destOrd="0" presId="urn:microsoft.com/office/officeart/2005/8/layout/vList5"/>
    <dgm:cxn modelId="{017BE16D-9B08-4345-85B3-D85DBF1363C0}" type="presParOf" srcId="{E414E34C-F7B1-4D9B-AB49-C708CBF483C1}" destId="{A77345A7-E491-4ED5-B51C-314A852C5C9F}" srcOrd="4" destOrd="0" presId="urn:microsoft.com/office/officeart/2005/8/layout/vList5"/>
    <dgm:cxn modelId="{3AEF636F-5712-4B26-B0A6-F91B9BA24F4A}" type="presParOf" srcId="{A77345A7-E491-4ED5-B51C-314A852C5C9F}" destId="{62A5F900-49F2-4B83-A4DC-8A3CE0FCE05B}" srcOrd="0" destOrd="0" presId="urn:microsoft.com/office/officeart/2005/8/layout/vList5"/>
    <dgm:cxn modelId="{9E98AC10-5DA7-4886-9C34-C6495107BE5F}" type="presParOf" srcId="{A77345A7-E491-4ED5-B51C-314A852C5C9F}" destId="{033FFAF6-6223-4290-89C7-3AB05296A6FA}" srcOrd="1" destOrd="0" presId="urn:microsoft.com/office/officeart/2005/8/layout/vList5"/>
    <dgm:cxn modelId="{CCE2B458-F009-43C8-ABE4-BA155A22A682}" type="presParOf" srcId="{E414E34C-F7B1-4D9B-AB49-C708CBF483C1}" destId="{0BE76554-50B3-44B4-A973-B7FA010BB08E}" srcOrd="5" destOrd="0" presId="urn:microsoft.com/office/officeart/2005/8/layout/vList5"/>
    <dgm:cxn modelId="{72E4AD2A-F9A3-4019-A579-F31667159AF0}" type="presParOf" srcId="{E414E34C-F7B1-4D9B-AB49-C708CBF483C1}" destId="{3AD624F4-8DB0-46CA-8246-2B502C42A5E5}" srcOrd="6" destOrd="0" presId="urn:microsoft.com/office/officeart/2005/8/layout/vList5"/>
    <dgm:cxn modelId="{AD400119-FEE8-48AB-9874-FC90C0FD6641}" type="presParOf" srcId="{3AD624F4-8DB0-46CA-8246-2B502C42A5E5}" destId="{9873D82E-601D-4EB8-B8E8-AAC23DEE7278}" srcOrd="0" destOrd="0" presId="urn:microsoft.com/office/officeart/2005/8/layout/vList5"/>
    <dgm:cxn modelId="{3B78A6DE-10A7-4814-9897-FCE2DC490A99}" type="presParOf" srcId="{3AD624F4-8DB0-46CA-8246-2B502C42A5E5}" destId="{E08B3F25-810C-4FCA-B74C-1B9D5DCA7F2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E6C6AA-4523-4E1B-8231-1885F43130EC}">
      <dsp:nvSpPr>
        <dsp:cNvPr id="0" name=""/>
        <dsp:cNvSpPr/>
      </dsp:nvSpPr>
      <dsp:spPr>
        <a:xfrm rot="5400000">
          <a:off x="285566" y="995917"/>
          <a:ext cx="854625" cy="1422078"/>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A3AA46C-F283-456E-94B4-E982EB18C004}">
      <dsp:nvSpPr>
        <dsp:cNvPr id="0" name=""/>
        <dsp:cNvSpPr/>
      </dsp:nvSpPr>
      <dsp:spPr>
        <a:xfrm>
          <a:off x="142908" y="1420812"/>
          <a:ext cx="1283860" cy="11253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kern="1200" dirty="0"/>
            <a:t>Release 1</a:t>
          </a:r>
        </a:p>
        <a:p>
          <a:pPr marL="57150" lvl="1" indent="-57150" algn="l" defTabSz="444500">
            <a:lnSpc>
              <a:spcPct val="90000"/>
            </a:lnSpc>
            <a:spcBef>
              <a:spcPct val="0"/>
            </a:spcBef>
            <a:spcAft>
              <a:spcPct val="15000"/>
            </a:spcAft>
            <a:buChar char="•"/>
          </a:pPr>
          <a:r>
            <a:rPr lang="en-US" sz="1000" kern="1200" dirty="0"/>
            <a:t>Design</a:t>
          </a:r>
        </a:p>
        <a:p>
          <a:pPr marL="57150" lvl="1" indent="-57150" algn="l" defTabSz="444500">
            <a:lnSpc>
              <a:spcPct val="90000"/>
            </a:lnSpc>
            <a:spcBef>
              <a:spcPct val="0"/>
            </a:spcBef>
            <a:spcAft>
              <a:spcPct val="15000"/>
            </a:spcAft>
            <a:buChar char="•"/>
          </a:pPr>
          <a:r>
            <a:rPr lang="en-US" sz="1000" kern="1200" dirty="0"/>
            <a:t>Develop</a:t>
          </a:r>
        </a:p>
        <a:p>
          <a:pPr marL="57150" lvl="1" indent="-57150" algn="l" defTabSz="444500">
            <a:lnSpc>
              <a:spcPct val="90000"/>
            </a:lnSpc>
            <a:spcBef>
              <a:spcPct val="0"/>
            </a:spcBef>
            <a:spcAft>
              <a:spcPct val="15000"/>
            </a:spcAft>
            <a:buChar char="•"/>
          </a:pPr>
          <a:r>
            <a:rPr lang="en-US" sz="1000" u="sng" kern="1200" dirty="0"/>
            <a:t>Deploy</a:t>
          </a:r>
        </a:p>
      </dsp:txBody>
      <dsp:txXfrm>
        <a:off x="142908" y="1420812"/>
        <a:ext cx="1283860" cy="1125378"/>
      </dsp:txXfrm>
    </dsp:sp>
    <dsp:sp modelId="{07090AD9-E572-4EAB-91A1-47AEE17AFF49}">
      <dsp:nvSpPr>
        <dsp:cNvPr id="0" name=""/>
        <dsp:cNvSpPr/>
      </dsp:nvSpPr>
      <dsp:spPr>
        <a:xfrm rot="16200000">
          <a:off x="1184530" y="891222"/>
          <a:ext cx="242237" cy="242237"/>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DF0808E-D4A8-4681-9191-CBC2959B6917}">
      <dsp:nvSpPr>
        <dsp:cNvPr id="0" name=""/>
        <dsp:cNvSpPr/>
      </dsp:nvSpPr>
      <dsp:spPr>
        <a:xfrm rot="5400000">
          <a:off x="1857262" y="607000"/>
          <a:ext cx="854625" cy="1422078"/>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2FBD1D4-013A-486A-B10C-88950BE6DEAB}">
      <dsp:nvSpPr>
        <dsp:cNvPr id="0" name=""/>
        <dsp:cNvSpPr/>
      </dsp:nvSpPr>
      <dsp:spPr>
        <a:xfrm>
          <a:off x="1714603" y="1031895"/>
          <a:ext cx="1283860" cy="11253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kern="1200" dirty="0"/>
            <a:t>Release 2</a:t>
          </a:r>
        </a:p>
        <a:p>
          <a:pPr marL="57150" lvl="1" indent="-57150" algn="l" defTabSz="444500">
            <a:lnSpc>
              <a:spcPct val="90000"/>
            </a:lnSpc>
            <a:spcBef>
              <a:spcPct val="0"/>
            </a:spcBef>
            <a:spcAft>
              <a:spcPct val="15000"/>
            </a:spcAft>
            <a:buChar char="•"/>
          </a:pPr>
          <a:r>
            <a:rPr lang="en-US" sz="1000" kern="1200" dirty="0"/>
            <a:t>Design/Refactor</a:t>
          </a:r>
        </a:p>
        <a:p>
          <a:pPr marL="57150" lvl="1" indent="-57150" algn="l" defTabSz="444500">
            <a:lnSpc>
              <a:spcPct val="90000"/>
            </a:lnSpc>
            <a:spcBef>
              <a:spcPct val="0"/>
            </a:spcBef>
            <a:spcAft>
              <a:spcPct val="15000"/>
            </a:spcAft>
            <a:buChar char="•"/>
          </a:pPr>
          <a:r>
            <a:rPr lang="en-US" sz="1000" kern="1200" dirty="0"/>
            <a:t>Develop</a:t>
          </a:r>
        </a:p>
        <a:p>
          <a:pPr marL="57150" lvl="1" indent="-57150" algn="l" defTabSz="444500">
            <a:lnSpc>
              <a:spcPct val="90000"/>
            </a:lnSpc>
            <a:spcBef>
              <a:spcPct val="0"/>
            </a:spcBef>
            <a:spcAft>
              <a:spcPct val="15000"/>
            </a:spcAft>
            <a:buChar char="•"/>
          </a:pPr>
          <a:r>
            <a:rPr lang="en-US" sz="1000" u="sng" kern="1200" dirty="0"/>
            <a:t>Deploy</a:t>
          </a:r>
        </a:p>
      </dsp:txBody>
      <dsp:txXfrm>
        <a:off x="1714603" y="1031895"/>
        <a:ext cx="1283860" cy="1125378"/>
      </dsp:txXfrm>
    </dsp:sp>
    <dsp:sp modelId="{175FA4E2-FB2B-4B09-B52E-220453014EF6}">
      <dsp:nvSpPr>
        <dsp:cNvPr id="0" name=""/>
        <dsp:cNvSpPr/>
      </dsp:nvSpPr>
      <dsp:spPr>
        <a:xfrm rot="16200000">
          <a:off x="2756226" y="502305"/>
          <a:ext cx="242237" cy="242237"/>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DDD43F9-0967-4DB6-97A7-E19276369394}">
      <dsp:nvSpPr>
        <dsp:cNvPr id="0" name=""/>
        <dsp:cNvSpPr/>
      </dsp:nvSpPr>
      <dsp:spPr>
        <a:xfrm rot="5400000">
          <a:off x="3428957" y="218082"/>
          <a:ext cx="854625" cy="1422078"/>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5EA32A1-7A40-4305-B996-6DDAFF2E72AB}">
      <dsp:nvSpPr>
        <dsp:cNvPr id="0" name=""/>
        <dsp:cNvSpPr/>
      </dsp:nvSpPr>
      <dsp:spPr>
        <a:xfrm>
          <a:off x="3286299" y="642977"/>
          <a:ext cx="1283860" cy="11253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kern="1200" dirty="0"/>
            <a:t>Release 3</a:t>
          </a:r>
        </a:p>
        <a:p>
          <a:pPr marL="57150" lvl="1" indent="-57150" algn="l" defTabSz="444500">
            <a:lnSpc>
              <a:spcPct val="90000"/>
            </a:lnSpc>
            <a:spcBef>
              <a:spcPct val="0"/>
            </a:spcBef>
            <a:spcAft>
              <a:spcPct val="15000"/>
            </a:spcAft>
            <a:buChar char="•"/>
          </a:pPr>
          <a:r>
            <a:rPr lang="en-US" sz="1000" kern="1200" dirty="0"/>
            <a:t>Design/Refactor</a:t>
          </a:r>
        </a:p>
        <a:p>
          <a:pPr marL="57150" lvl="1" indent="-57150" algn="l" defTabSz="444500">
            <a:lnSpc>
              <a:spcPct val="90000"/>
            </a:lnSpc>
            <a:spcBef>
              <a:spcPct val="0"/>
            </a:spcBef>
            <a:spcAft>
              <a:spcPct val="15000"/>
            </a:spcAft>
            <a:buChar char="•"/>
          </a:pPr>
          <a:r>
            <a:rPr lang="en-US" sz="1000" kern="1200" dirty="0"/>
            <a:t>Develop</a:t>
          </a:r>
        </a:p>
        <a:p>
          <a:pPr marL="57150" lvl="1" indent="-57150" algn="l" defTabSz="444500">
            <a:lnSpc>
              <a:spcPct val="90000"/>
            </a:lnSpc>
            <a:spcBef>
              <a:spcPct val="0"/>
            </a:spcBef>
            <a:spcAft>
              <a:spcPct val="15000"/>
            </a:spcAft>
            <a:buChar char="•"/>
          </a:pPr>
          <a:r>
            <a:rPr lang="en-US" sz="1000" u="sng" kern="1200" dirty="0"/>
            <a:t>Deploy</a:t>
          </a:r>
        </a:p>
      </dsp:txBody>
      <dsp:txXfrm>
        <a:off x="3286299" y="642977"/>
        <a:ext cx="1283860" cy="112537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1AFC3F-8D4D-491E-8BC7-DF8C5D36185D}">
      <dsp:nvSpPr>
        <dsp:cNvPr id="0" name=""/>
        <dsp:cNvSpPr/>
      </dsp:nvSpPr>
      <dsp:spPr>
        <a:xfrm rot="5400000">
          <a:off x="4455697" y="-1646066"/>
          <a:ext cx="1151002" cy="473524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rtl="0">
            <a:lnSpc>
              <a:spcPct val="90000"/>
            </a:lnSpc>
            <a:spcBef>
              <a:spcPct val="0"/>
            </a:spcBef>
            <a:spcAft>
              <a:spcPct val="15000"/>
            </a:spcAft>
            <a:buChar char="•"/>
          </a:pPr>
          <a:r>
            <a:rPr lang="en-US" sz="2000" kern="1200" dirty="0"/>
            <a:t>Session-based testing, </a:t>
          </a:r>
          <a:br>
            <a:rPr lang="en-US" sz="2000" kern="1200" dirty="0"/>
          </a:br>
          <a:r>
            <a:rPr lang="en-US" sz="2000" kern="1200" dirty="0"/>
            <a:t>agile test environments</a:t>
          </a:r>
        </a:p>
        <a:p>
          <a:pPr marL="228600" lvl="1" indent="-228600" algn="l" defTabSz="889000" rtl="0">
            <a:lnSpc>
              <a:spcPct val="90000"/>
            </a:lnSpc>
            <a:spcBef>
              <a:spcPct val="0"/>
            </a:spcBef>
            <a:spcAft>
              <a:spcPct val="15000"/>
            </a:spcAft>
            <a:buChar char="•"/>
          </a:pPr>
          <a:r>
            <a:rPr lang="en-US" sz="2000" kern="1200" dirty="0"/>
            <a:t>Informative workspace</a:t>
          </a:r>
        </a:p>
      </dsp:txBody>
      <dsp:txXfrm rot="-5400000">
        <a:off x="2663576" y="202242"/>
        <a:ext cx="4679059" cy="1038628"/>
      </dsp:txXfrm>
    </dsp:sp>
    <dsp:sp modelId="{F0A46D73-B33A-44FB-8826-53EA279FE424}">
      <dsp:nvSpPr>
        <dsp:cNvPr id="0" name=""/>
        <dsp:cNvSpPr/>
      </dsp:nvSpPr>
      <dsp:spPr>
        <a:xfrm>
          <a:off x="0" y="2179"/>
          <a:ext cx="2663575" cy="143875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rtl="0">
            <a:lnSpc>
              <a:spcPct val="90000"/>
            </a:lnSpc>
            <a:spcBef>
              <a:spcPct val="0"/>
            </a:spcBef>
            <a:spcAft>
              <a:spcPct val="35000"/>
            </a:spcAft>
            <a:buNone/>
          </a:pPr>
          <a:r>
            <a:rPr lang="en-US" sz="2800" kern="1200" dirty="0"/>
            <a:t>Foundation of critical practices</a:t>
          </a:r>
        </a:p>
      </dsp:txBody>
      <dsp:txXfrm>
        <a:off x="70234" y="72413"/>
        <a:ext cx="2523107" cy="1298285"/>
      </dsp:txXfrm>
    </dsp:sp>
    <dsp:sp modelId="{D9799DA5-11A2-4008-B4FB-B7E2FB3227DB}">
      <dsp:nvSpPr>
        <dsp:cNvPr id="0" name=""/>
        <dsp:cNvSpPr/>
      </dsp:nvSpPr>
      <dsp:spPr>
        <a:xfrm rot="5400000">
          <a:off x="4455697" y="-135375"/>
          <a:ext cx="1151002" cy="473524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rtl="0">
            <a:lnSpc>
              <a:spcPct val="90000"/>
            </a:lnSpc>
            <a:spcBef>
              <a:spcPct val="0"/>
            </a:spcBef>
            <a:spcAft>
              <a:spcPct val="15000"/>
            </a:spcAft>
            <a:buChar char="•"/>
          </a:pPr>
          <a:r>
            <a:rPr lang="en-US" sz="2000" kern="1200" dirty="0"/>
            <a:t>Collaborate with customers</a:t>
          </a:r>
        </a:p>
        <a:p>
          <a:pPr marL="228600" lvl="1" indent="-228600" algn="l" defTabSz="889000" rtl="0">
            <a:lnSpc>
              <a:spcPct val="90000"/>
            </a:lnSpc>
            <a:spcBef>
              <a:spcPct val="0"/>
            </a:spcBef>
            <a:spcAft>
              <a:spcPct val="15000"/>
            </a:spcAft>
            <a:buChar char="•"/>
          </a:pPr>
          <a:r>
            <a:rPr lang="en-US" sz="2000" kern="1200" dirty="0"/>
            <a:t>Collaborate within team</a:t>
          </a:r>
        </a:p>
      </dsp:txBody>
      <dsp:txXfrm rot="-5400000">
        <a:off x="2663576" y="1712933"/>
        <a:ext cx="4679059" cy="1038628"/>
      </dsp:txXfrm>
    </dsp:sp>
    <dsp:sp modelId="{5D76A62E-0A96-4BB3-A5AB-67752DBE829B}">
      <dsp:nvSpPr>
        <dsp:cNvPr id="0" name=""/>
        <dsp:cNvSpPr/>
      </dsp:nvSpPr>
      <dsp:spPr>
        <a:xfrm>
          <a:off x="0" y="1512871"/>
          <a:ext cx="2663575" cy="143875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rtl="0">
            <a:lnSpc>
              <a:spcPct val="90000"/>
            </a:lnSpc>
            <a:spcBef>
              <a:spcPct val="0"/>
            </a:spcBef>
            <a:spcAft>
              <a:spcPct val="35000"/>
            </a:spcAft>
            <a:buNone/>
          </a:pPr>
          <a:r>
            <a:rPr lang="en-US" sz="2800" kern="1200" dirty="0"/>
            <a:t>Collaborate</a:t>
          </a:r>
        </a:p>
      </dsp:txBody>
      <dsp:txXfrm>
        <a:off x="70234" y="1583105"/>
        <a:ext cx="2523107" cy="1298285"/>
      </dsp:txXfrm>
    </dsp:sp>
    <dsp:sp modelId="{C48F28A3-B0B5-4C16-B008-3E2AA5A89BE7}">
      <dsp:nvSpPr>
        <dsp:cNvPr id="0" name=""/>
        <dsp:cNvSpPr/>
      </dsp:nvSpPr>
      <dsp:spPr>
        <a:xfrm rot="5400000">
          <a:off x="4455697" y="1375316"/>
          <a:ext cx="1151002" cy="473524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rtl="0">
            <a:lnSpc>
              <a:spcPct val="90000"/>
            </a:lnSpc>
            <a:spcBef>
              <a:spcPct val="0"/>
            </a:spcBef>
            <a:spcAft>
              <a:spcPct val="15000"/>
            </a:spcAft>
            <a:buChar char="•"/>
          </a:pPr>
          <a:r>
            <a:rPr lang="en-US" sz="2000" kern="1200" dirty="0"/>
            <a:t>Team retrospectives</a:t>
          </a:r>
        </a:p>
        <a:p>
          <a:pPr marL="228600" lvl="1" indent="-228600" algn="l" defTabSz="889000" rtl="0">
            <a:lnSpc>
              <a:spcPct val="90000"/>
            </a:lnSpc>
            <a:spcBef>
              <a:spcPct val="0"/>
            </a:spcBef>
            <a:spcAft>
              <a:spcPct val="15000"/>
            </a:spcAft>
            <a:buChar char="•"/>
          </a:pPr>
          <a:r>
            <a:rPr lang="en-US" sz="2000" kern="1200" dirty="0"/>
            <a:t>Personal training: reading, blogs, QAI, local QA groups</a:t>
          </a:r>
        </a:p>
      </dsp:txBody>
      <dsp:txXfrm rot="-5400000">
        <a:off x="2663576" y="3223625"/>
        <a:ext cx="4679059" cy="1038628"/>
      </dsp:txXfrm>
    </dsp:sp>
    <dsp:sp modelId="{F631AD0B-014A-4DBF-88A6-EF74EE3DCC31}">
      <dsp:nvSpPr>
        <dsp:cNvPr id="0" name=""/>
        <dsp:cNvSpPr/>
      </dsp:nvSpPr>
      <dsp:spPr>
        <a:xfrm>
          <a:off x="0" y="3023562"/>
          <a:ext cx="2663575" cy="143875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rtl="0">
            <a:lnSpc>
              <a:spcPct val="90000"/>
            </a:lnSpc>
            <a:spcBef>
              <a:spcPct val="0"/>
            </a:spcBef>
            <a:spcAft>
              <a:spcPct val="35000"/>
            </a:spcAft>
            <a:buNone/>
          </a:pPr>
          <a:r>
            <a:rPr lang="en-US" sz="2800" kern="1200" dirty="0"/>
            <a:t>Continually improve</a:t>
          </a:r>
        </a:p>
      </dsp:txBody>
      <dsp:txXfrm>
        <a:off x="70234" y="3093796"/>
        <a:ext cx="2523107" cy="129828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7B8704-69AA-4609-B561-CCC0AC9D3910}">
      <dsp:nvSpPr>
        <dsp:cNvPr id="0" name=""/>
        <dsp:cNvSpPr/>
      </dsp:nvSpPr>
      <dsp:spPr>
        <a:xfrm>
          <a:off x="398621" y="0"/>
          <a:ext cx="4517707" cy="3143250"/>
        </a:xfrm>
        <a:prstGeom prst="rightArrow">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093801B-B398-4FCB-97B7-FA898751BEAD}">
      <dsp:nvSpPr>
        <dsp:cNvPr id="0" name=""/>
        <dsp:cNvSpPr/>
      </dsp:nvSpPr>
      <dsp:spPr>
        <a:xfrm>
          <a:off x="2335" y="942975"/>
          <a:ext cx="1021207" cy="1257300"/>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t" anchorCtr="0">
          <a:noAutofit/>
        </a:bodyPr>
        <a:lstStyle/>
        <a:p>
          <a:pPr marL="0" lvl="0" indent="0" algn="l" defTabSz="400050">
            <a:lnSpc>
              <a:spcPct val="90000"/>
            </a:lnSpc>
            <a:spcBef>
              <a:spcPct val="0"/>
            </a:spcBef>
            <a:spcAft>
              <a:spcPct val="35000"/>
            </a:spcAft>
            <a:buNone/>
          </a:pPr>
          <a:r>
            <a:rPr lang="en-US" sz="900" kern="1200" dirty="0"/>
            <a:t>Requirements</a:t>
          </a:r>
        </a:p>
        <a:p>
          <a:pPr marL="57150" lvl="1" indent="-57150" algn="l" defTabSz="311150">
            <a:lnSpc>
              <a:spcPct val="90000"/>
            </a:lnSpc>
            <a:spcBef>
              <a:spcPct val="0"/>
            </a:spcBef>
            <a:spcAft>
              <a:spcPct val="15000"/>
            </a:spcAft>
            <a:buChar char="•"/>
          </a:pPr>
          <a:r>
            <a:rPr lang="en-US" sz="700" kern="1200" dirty="0"/>
            <a:t>Business Requirements</a:t>
          </a:r>
        </a:p>
        <a:p>
          <a:pPr marL="57150" lvl="1" indent="-57150" algn="l" defTabSz="311150">
            <a:lnSpc>
              <a:spcPct val="90000"/>
            </a:lnSpc>
            <a:spcBef>
              <a:spcPct val="0"/>
            </a:spcBef>
            <a:spcAft>
              <a:spcPct val="15000"/>
            </a:spcAft>
            <a:buChar char="•"/>
          </a:pPr>
          <a:r>
            <a:rPr lang="en-US" sz="700" kern="1200" dirty="0"/>
            <a:t>Technical Requirements</a:t>
          </a:r>
        </a:p>
      </dsp:txBody>
      <dsp:txXfrm>
        <a:off x="52186" y="992826"/>
        <a:ext cx="921505" cy="1157598"/>
      </dsp:txXfrm>
    </dsp:sp>
    <dsp:sp modelId="{BED20197-362F-41DF-8019-B2EADA9FD447}">
      <dsp:nvSpPr>
        <dsp:cNvPr id="0" name=""/>
        <dsp:cNvSpPr/>
      </dsp:nvSpPr>
      <dsp:spPr>
        <a:xfrm>
          <a:off x="1074603" y="942975"/>
          <a:ext cx="1021207" cy="1257300"/>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t" anchorCtr="0">
          <a:noAutofit/>
        </a:bodyPr>
        <a:lstStyle/>
        <a:p>
          <a:pPr marL="0" lvl="0" indent="0" algn="l" defTabSz="400050">
            <a:lnSpc>
              <a:spcPct val="90000"/>
            </a:lnSpc>
            <a:spcBef>
              <a:spcPct val="0"/>
            </a:spcBef>
            <a:spcAft>
              <a:spcPct val="35000"/>
            </a:spcAft>
            <a:buNone/>
          </a:pPr>
          <a:r>
            <a:rPr lang="en-US" sz="900" kern="1200" dirty="0"/>
            <a:t>Analysis &amp; Design</a:t>
          </a:r>
        </a:p>
        <a:p>
          <a:pPr marL="57150" lvl="1" indent="-57150" algn="l" defTabSz="311150">
            <a:lnSpc>
              <a:spcPct val="90000"/>
            </a:lnSpc>
            <a:spcBef>
              <a:spcPct val="0"/>
            </a:spcBef>
            <a:spcAft>
              <a:spcPct val="15000"/>
            </a:spcAft>
            <a:buChar char="•"/>
          </a:pPr>
          <a:r>
            <a:rPr lang="en-US" sz="700" kern="1200" dirty="0"/>
            <a:t>System Specifications</a:t>
          </a:r>
        </a:p>
        <a:p>
          <a:pPr marL="57150" lvl="1" indent="-57150" algn="l" defTabSz="311150">
            <a:lnSpc>
              <a:spcPct val="90000"/>
            </a:lnSpc>
            <a:spcBef>
              <a:spcPct val="0"/>
            </a:spcBef>
            <a:spcAft>
              <a:spcPct val="15000"/>
            </a:spcAft>
            <a:buChar char="•"/>
          </a:pPr>
          <a:r>
            <a:rPr lang="en-US" sz="700" kern="1200" dirty="0"/>
            <a:t>Component Specifications</a:t>
          </a:r>
        </a:p>
      </dsp:txBody>
      <dsp:txXfrm>
        <a:off x="1124454" y="992826"/>
        <a:ext cx="921505" cy="1157598"/>
      </dsp:txXfrm>
    </dsp:sp>
    <dsp:sp modelId="{51F9EB86-59D8-417D-9EB6-D60D278FEAC2}">
      <dsp:nvSpPr>
        <dsp:cNvPr id="0" name=""/>
        <dsp:cNvSpPr/>
      </dsp:nvSpPr>
      <dsp:spPr>
        <a:xfrm>
          <a:off x="2146871" y="942975"/>
          <a:ext cx="1021207" cy="1257300"/>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t" anchorCtr="0">
          <a:noAutofit/>
        </a:bodyPr>
        <a:lstStyle/>
        <a:p>
          <a:pPr marL="0" lvl="0" indent="0" algn="l" defTabSz="400050">
            <a:lnSpc>
              <a:spcPct val="90000"/>
            </a:lnSpc>
            <a:spcBef>
              <a:spcPct val="0"/>
            </a:spcBef>
            <a:spcAft>
              <a:spcPct val="35000"/>
            </a:spcAft>
            <a:buNone/>
          </a:pPr>
          <a:r>
            <a:rPr lang="en-US" sz="900" kern="1200" dirty="0"/>
            <a:t>Code</a:t>
          </a:r>
        </a:p>
        <a:p>
          <a:pPr marL="57150" lvl="1" indent="-57150" algn="l" defTabSz="311150">
            <a:lnSpc>
              <a:spcPct val="90000"/>
            </a:lnSpc>
            <a:spcBef>
              <a:spcPct val="0"/>
            </a:spcBef>
            <a:spcAft>
              <a:spcPct val="15000"/>
            </a:spcAft>
            <a:buChar char="•"/>
          </a:pPr>
          <a:r>
            <a:rPr lang="en-US" sz="700" kern="1200" dirty="0"/>
            <a:t>C#, C, C++ etc.</a:t>
          </a:r>
        </a:p>
        <a:p>
          <a:pPr marL="57150" lvl="1" indent="-57150" algn="l" defTabSz="311150">
            <a:lnSpc>
              <a:spcPct val="90000"/>
            </a:lnSpc>
            <a:spcBef>
              <a:spcPct val="0"/>
            </a:spcBef>
            <a:spcAft>
              <a:spcPct val="15000"/>
            </a:spcAft>
            <a:buChar char="•"/>
          </a:pPr>
          <a:r>
            <a:rPr lang="en-US" sz="700" kern="1200" dirty="0"/>
            <a:t>Big-Bang Integration</a:t>
          </a:r>
        </a:p>
      </dsp:txBody>
      <dsp:txXfrm>
        <a:off x="2196722" y="992826"/>
        <a:ext cx="921505" cy="1157598"/>
      </dsp:txXfrm>
    </dsp:sp>
    <dsp:sp modelId="{D992062F-FC1A-413E-8617-22A87C649BAF}">
      <dsp:nvSpPr>
        <dsp:cNvPr id="0" name=""/>
        <dsp:cNvSpPr/>
      </dsp:nvSpPr>
      <dsp:spPr>
        <a:xfrm>
          <a:off x="3219139" y="942975"/>
          <a:ext cx="1021207" cy="1257300"/>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t" anchorCtr="0">
          <a:noAutofit/>
        </a:bodyPr>
        <a:lstStyle/>
        <a:p>
          <a:pPr marL="0" lvl="0" indent="0" algn="l" defTabSz="400050">
            <a:lnSpc>
              <a:spcPct val="90000"/>
            </a:lnSpc>
            <a:spcBef>
              <a:spcPct val="0"/>
            </a:spcBef>
            <a:spcAft>
              <a:spcPct val="35000"/>
            </a:spcAft>
            <a:buNone/>
          </a:pPr>
          <a:r>
            <a:rPr lang="en-US" sz="900" kern="1200" dirty="0"/>
            <a:t>Test</a:t>
          </a:r>
        </a:p>
        <a:p>
          <a:pPr marL="57150" lvl="1" indent="-57150" algn="l" defTabSz="311150">
            <a:lnSpc>
              <a:spcPct val="90000"/>
            </a:lnSpc>
            <a:spcBef>
              <a:spcPct val="0"/>
            </a:spcBef>
            <a:spcAft>
              <a:spcPct val="15000"/>
            </a:spcAft>
            <a:buChar char="•"/>
          </a:pPr>
          <a:r>
            <a:rPr lang="en-US" sz="700" kern="1200" dirty="0"/>
            <a:t>Validation Tests</a:t>
          </a:r>
        </a:p>
        <a:p>
          <a:pPr marL="57150" lvl="1" indent="-57150" algn="l" defTabSz="311150">
            <a:lnSpc>
              <a:spcPct val="90000"/>
            </a:lnSpc>
            <a:spcBef>
              <a:spcPct val="0"/>
            </a:spcBef>
            <a:spcAft>
              <a:spcPct val="15000"/>
            </a:spcAft>
            <a:buChar char="•"/>
          </a:pPr>
          <a:r>
            <a:rPr lang="en-US" sz="700" kern="1200" dirty="0"/>
            <a:t>Verification Tests</a:t>
          </a:r>
        </a:p>
      </dsp:txBody>
      <dsp:txXfrm>
        <a:off x="3268990" y="992826"/>
        <a:ext cx="921505" cy="1157598"/>
      </dsp:txXfrm>
    </dsp:sp>
    <dsp:sp modelId="{F2862C66-462D-4E76-A641-D85EB2BEBC27}">
      <dsp:nvSpPr>
        <dsp:cNvPr id="0" name=""/>
        <dsp:cNvSpPr/>
      </dsp:nvSpPr>
      <dsp:spPr>
        <a:xfrm>
          <a:off x="4291406" y="942975"/>
          <a:ext cx="1021207" cy="1257300"/>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t" anchorCtr="0">
          <a:noAutofit/>
        </a:bodyPr>
        <a:lstStyle/>
        <a:p>
          <a:pPr marL="0" lvl="0" indent="0" algn="l" defTabSz="400050">
            <a:lnSpc>
              <a:spcPct val="90000"/>
            </a:lnSpc>
            <a:spcBef>
              <a:spcPct val="0"/>
            </a:spcBef>
            <a:spcAft>
              <a:spcPct val="35000"/>
            </a:spcAft>
            <a:buNone/>
          </a:pPr>
          <a:r>
            <a:rPr lang="en-US" sz="900" kern="1200" dirty="0"/>
            <a:t>Deploy</a:t>
          </a:r>
        </a:p>
        <a:p>
          <a:pPr marL="57150" lvl="1" indent="-57150" algn="l" defTabSz="311150">
            <a:lnSpc>
              <a:spcPct val="90000"/>
            </a:lnSpc>
            <a:spcBef>
              <a:spcPct val="0"/>
            </a:spcBef>
            <a:spcAft>
              <a:spcPct val="15000"/>
            </a:spcAft>
            <a:buChar char="•"/>
          </a:pPr>
          <a:endParaRPr lang="en-US" sz="700" kern="1200" dirty="0"/>
        </a:p>
      </dsp:txBody>
      <dsp:txXfrm>
        <a:off x="4341257" y="992826"/>
        <a:ext cx="921505" cy="115759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E55BFE-053B-4FC5-ACEE-749A8DE06D55}">
      <dsp:nvSpPr>
        <dsp:cNvPr id="0" name=""/>
        <dsp:cNvSpPr/>
      </dsp:nvSpPr>
      <dsp:spPr>
        <a:xfrm>
          <a:off x="3376" y="538554"/>
          <a:ext cx="1213879" cy="303469"/>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Iteration 1</a:t>
          </a:r>
        </a:p>
      </dsp:txBody>
      <dsp:txXfrm>
        <a:off x="12264" y="547442"/>
        <a:ext cx="1196103" cy="285693"/>
      </dsp:txXfrm>
    </dsp:sp>
    <dsp:sp modelId="{7C83A923-E34E-4EC9-9EBD-B62C3CD45DA2}">
      <dsp:nvSpPr>
        <dsp:cNvPr id="0" name=""/>
        <dsp:cNvSpPr/>
      </dsp:nvSpPr>
      <dsp:spPr>
        <a:xfrm rot="5400000">
          <a:off x="583762" y="868577"/>
          <a:ext cx="53107" cy="53107"/>
        </a:xfrm>
        <a:prstGeom prst="rightArrow">
          <a:avLst>
            <a:gd name="adj1" fmla="val 667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2F9889D8-5373-4460-A46D-27FDBA6D6478}">
      <dsp:nvSpPr>
        <dsp:cNvPr id="0" name=""/>
        <dsp:cNvSpPr/>
      </dsp:nvSpPr>
      <dsp:spPr>
        <a:xfrm>
          <a:off x="3376" y="948238"/>
          <a:ext cx="1213879" cy="303469"/>
        </a:xfrm>
        <a:prstGeom prst="roundRect">
          <a:avLst>
            <a:gd name="adj" fmla="val 10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Requirements</a:t>
          </a:r>
        </a:p>
      </dsp:txBody>
      <dsp:txXfrm>
        <a:off x="12264" y="957126"/>
        <a:ext cx="1196103" cy="285693"/>
      </dsp:txXfrm>
    </dsp:sp>
    <dsp:sp modelId="{81B26DF5-2AA0-4E1D-91E7-3BC0911D0816}">
      <dsp:nvSpPr>
        <dsp:cNvPr id="0" name=""/>
        <dsp:cNvSpPr/>
      </dsp:nvSpPr>
      <dsp:spPr>
        <a:xfrm rot="5400000">
          <a:off x="583762" y="1278262"/>
          <a:ext cx="53107" cy="53107"/>
        </a:xfrm>
        <a:prstGeom prst="rightArrow">
          <a:avLst>
            <a:gd name="adj1" fmla="val 667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5B861B74-4242-44EE-AA89-E3E3567CD93E}">
      <dsp:nvSpPr>
        <dsp:cNvPr id="0" name=""/>
        <dsp:cNvSpPr/>
      </dsp:nvSpPr>
      <dsp:spPr>
        <a:xfrm>
          <a:off x="3376" y="1357922"/>
          <a:ext cx="1213879" cy="303469"/>
        </a:xfrm>
        <a:prstGeom prst="roundRect">
          <a:avLst>
            <a:gd name="adj" fmla="val 10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Analysis &amp; Design</a:t>
          </a:r>
        </a:p>
      </dsp:txBody>
      <dsp:txXfrm>
        <a:off x="12264" y="1366810"/>
        <a:ext cx="1196103" cy="285693"/>
      </dsp:txXfrm>
    </dsp:sp>
    <dsp:sp modelId="{1EFB7766-F03E-494F-8713-7CBC7A2D5FE6}">
      <dsp:nvSpPr>
        <dsp:cNvPr id="0" name=""/>
        <dsp:cNvSpPr/>
      </dsp:nvSpPr>
      <dsp:spPr>
        <a:xfrm rot="5400000">
          <a:off x="583762" y="1687946"/>
          <a:ext cx="53107" cy="53107"/>
        </a:xfrm>
        <a:prstGeom prst="rightArrow">
          <a:avLst>
            <a:gd name="adj1" fmla="val 667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AB125660-EBBC-47B3-BF6F-BF5D457DDEF3}">
      <dsp:nvSpPr>
        <dsp:cNvPr id="0" name=""/>
        <dsp:cNvSpPr/>
      </dsp:nvSpPr>
      <dsp:spPr>
        <a:xfrm>
          <a:off x="3376" y="1767607"/>
          <a:ext cx="1213879" cy="303469"/>
        </a:xfrm>
        <a:prstGeom prst="roundRect">
          <a:avLst>
            <a:gd name="adj" fmla="val 10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Code</a:t>
          </a:r>
        </a:p>
      </dsp:txBody>
      <dsp:txXfrm>
        <a:off x="12264" y="1776495"/>
        <a:ext cx="1196103" cy="285693"/>
      </dsp:txXfrm>
    </dsp:sp>
    <dsp:sp modelId="{B0A4CAB2-44C2-4CA8-88DB-1284ABFEAB48}">
      <dsp:nvSpPr>
        <dsp:cNvPr id="0" name=""/>
        <dsp:cNvSpPr/>
      </dsp:nvSpPr>
      <dsp:spPr>
        <a:xfrm rot="5400000">
          <a:off x="583762" y="2097630"/>
          <a:ext cx="53107" cy="53107"/>
        </a:xfrm>
        <a:prstGeom prst="rightArrow">
          <a:avLst>
            <a:gd name="adj1" fmla="val 667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65634971-4BE9-4904-88F4-DB8E95B7E1D8}">
      <dsp:nvSpPr>
        <dsp:cNvPr id="0" name=""/>
        <dsp:cNvSpPr/>
      </dsp:nvSpPr>
      <dsp:spPr>
        <a:xfrm>
          <a:off x="3376" y="2177291"/>
          <a:ext cx="1213879" cy="303469"/>
        </a:xfrm>
        <a:prstGeom prst="roundRect">
          <a:avLst>
            <a:gd name="adj" fmla="val 10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Test</a:t>
          </a:r>
        </a:p>
      </dsp:txBody>
      <dsp:txXfrm>
        <a:off x="12264" y="2186179"/>
        <a:ext cx="1196103" cy="285693"/>
      </dsp:txXfrm>
    </dsp:sp>
    <dsp:sp modelId="{62B5F1B3-722B-455E-BDF2-6DEF4C1EB0F8}">
      <dsp:nvSpPr>
        <dsp:cNvPr id="0" name=""/>
        <dsp:cNvSpPr/>
      </dsp:nvSpPr>
      <dsp:spPr>
        <a:xfrm>
          <a:off x="1387199" y="538554"/>
          <a:ext cx="1213879" cy="303469"/>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Iteration 2</a:t>
          </a:r>
        </a:p>
      </dsp:txBody>
      <dsp:txXfrm>
        <a:off x="1396087" y="547442"/>
        <a:ext cx="1196103" cy="285693"/>
      </dsp:txXfrm>
    </dsp:sp>
    <dsp:sp modelId="{1DB120DB-2DD6-413D-B685-0AD3F113BA0A}">
      <dsp:nvSpPr>
        <dsp:cNvPr id="0" name=""/>
        <dsp:cNvSpPr/>
      </dsp:nvSpPr>
      <dsp:spPr>
        <a:xfrm rot="5400000">
          <a:off x="1967585" y="868577"/>
          <a:ext cx="53107" cy="53107"/>
        </a:xfrm>
        <a:prstGeom prst="rightArrow">
          <a:avLst>
            <a:gd name="adj1" fmla="val 667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7021357D-F7A4-41AE-B70E-CD9FC813B0EB}">
      <dsp:nvSpPr>
        <dsp:cNvPr id="0" name=""/>
        <dsp:cNvSpPr/>
      </dsp:nvSpPr>
      <dsp:spPr>
        <a:xfrm>
          <a:off x="1387199" y="948238"/>
          <a:ext cx="1213879" cy="303469"/>
        </a:xfrm>
        <a:prstGeom prst="roundRect">
          <a:avLst>
            <a:gd name="adj" fmla="val 10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Requirements</a:t>
          </a:r>
        </a:p>
      </dsp:txBody>
      <dsp:txXfrm>
        <a:off x="1396087" y="957126"/>
        <a:ext cx="1196103" cy="285693"/>
      </dsp:txXfrm>
    </dsp:sp>
    <dsp:sp modelId="{24A72795-5CEA-4084-9C47-24DFCDC792E0}">
      <dsp:nvSpPr>
        <dsp:cNvPr id="0" name=""/>
        <dsp:cNvSpPr/>
      </dsp:nvSpPr>
      <dsp:spPr>
        <a:xfrm rot="5400000">
          <a:off x="1967585" y="1278262"/>
          <a:ext cx="53107" cy="53107"/>
        </a:xfrm>
        <a:prstGeom prst="rightArrow">
          <a:avLst>
            <a:gd name="adj1" fmla="val 667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7DEA6F50-83F3-4D9C-88CA-DAC6D07BC613}">
      <dsp:nvSpPr>
        <dsp:cNvPr id="0" name=""/>
        <dsp:cNvSpPr/>
      </dsp:nvSpPr>
      <dsp:spPr>
        <a:xfrm>
          <a:off x="1387199" y="1357922"/>
          <a:ext cx="1213879" cy="303469"/>
        </a:xfrm>
        <a:prstGeom prst="roundRect">
          <a:avLst>
            <a:gd name="adj" fmla="val 10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Analysis &amp; Design</a:t>
          </a:r>
        </a:p>
      </dsp:txBody>
      <dsp:txXfrm>
        <a:off x="1396087" y="1366810"/>
        <a:ext cx="1196103" cy="285693"/>
      </dsp:txXfrm>
    </dsp:sp>
    <dsp:sp modelId="{28FFC4D8-7A56-4D4C-B9C9-139E4B9DA404}">
      <dsp:nvSpPr>
        <dsp:cNvPr id="0" name=""/>
        <dsp:cNvSpPr/>
      </dsp:nvSpPr>
      <dsp:spPr>
        <a:xfrm rot="5400000">
          <a:off x="1967585" y="1687946"/>
          <a:ext cx="53107" cy="53107"/>
        </a:xfrm>
        <a:prstGeom prst="rightArrow">
          <a:avLst>
            <a:gd name="adj1" fmla="val 667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093E462F-B609-414C-A78D-9458B9DE854B}">
      <dsp:nvSpPr>
        <dsp:cNvPr id="0" name=""/>
        <dsp:cNvSpPr/>
      </dsp:nvSpPr>
      <dsp:spPr>
        <a:xfrm>
          <a:off x="1387199" y="1767607"/>
          <a:ext cx="1213879" cy="303469"/>
        </a:xfrm>
        <a:prstGeom prst="roundRect">
          <a:avLst>
            <a:gd name="adj" fmla="val 10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Code</a:t>
          </a:r>
        </a:p>
      </dsp:txBody>
      <dsp:txXfrm>
        <a:off x="1396087" y="1776495"/>
        <a:ext cx="1196103" cy="285693"/>
      </dsp:txXfrm>
    </dsp:sp>
    <dsp:sp modelId="{48E64D28-7EA1-4BC9-8F14-5ABFD388E660}">
      <dsp:nvSpPr>
        <dsp:cNvPr id="0" name=""/>
        <dsp:cNvSpPr/>
      </dsp:nvSpPr>
      <dsp:spPr>
        <a:xfrm rot="5400000">
          <a:off x="1967585" y="2097630"/>
          <a:ext cx="53107" cy="53107"/>
        </a:xfrm>
        <a:prstGeom prst="rightArrow">
          <a:avLst>
            <a:gd name="adj1" fmla="val 667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982F5870-5B13-47D9-B2A9-07A212F6B50D}">
      <dsp:nvSpPr>
        <dsp:cNvPr id="0" name=""/>
        <dsp:cNvSpPr/>
      </dsp:nvSpPr>
      <dsp:spPr>
        <a:xfrm>
          <a:off x="1387199" y="2177291"/>
          <a:ext cx="1213879" cy="303469"/>
        </a:xfrm>
        <a:prstGeom prst="roundRect">
          <a:avLst>
            <a:gd name="adj" fmla="val 10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Test</a:t>
          </a:r>
        </a:p>
      </dsp:txBody>
      <dsp:txXfrm>
        <a:off x="1396087" y="2186179"/>
        <a:ext cx="1196103" cy="285693"/>
      </dsp:txXfrm>
    </dsp:sp>
    <dsp:sp modelId="{C292C430-607F-45A5-A3F1-8F9641A0AEAF}">
      <dsp:nvSpPr>
        <dsp:cNvPr id="0" name=""/>
        <dsp:cNvSpPr/>
      </dsp:nvSpPr>
      <dsp:spPr>
        <a:xfrm>
          <a:off x="2771021" y="538554"/>
          <a:ext cx="1213879" cy="303469"/>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Iteration 3</a:t>
          </a:r>
        </a:p>
      </dsp:txBody>
      <dsp:txXfrm>
        <a:off x="2779909" y="547442"/>
        <a:ext cx="1196103" cy="285693"/>
      </dsp:txXfrm>
    </dsp:sp>
    <dsp:sp modelId="{E8433B54-9030-421A-9938-1B10568B2B40}">
      <dsp:nvSpPr>
        <dsp:cNvPr id="0" name=""/>
        <dsp:cNvSpPr/>
      </dsp:nvSpPr>
      <dsp:spPr>
        <a:xfrm rot="5400000">
          <a:off x="3351407" y="868577"/>
          <a:ext cx="53107" cy="53107"/>
        </a:xfrm>
        <a:prstGeom prst="rightArrow">
          <a:avLst>
            <a:gd name="adj1" fmla="val 667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742849A2-4EFC-4517-911D-416B7F0F1C06}">
      <dsp:nvSpPr>
        <dsp:cNvPr id="0" name=""/>
        <dsp:cNvSpPr/>
      </dsp:nvSpPr>
      <dsp:spPr>
        <a:xfrm>
          <a:off x="2771021" y="948238"/>
          <a:ext cx="1213879" cy="303469"/>
        </a:xfrm>
        <a:prstGeom prst="roundRect">
          <a:avLst>
            <a:gd name="adj" fmla="val 10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Requirements</a:t>
          </a:r>
        </a:p>
      </dsp:txBody>
      <dsp:txXfrm>
        <a:off x="2779909" y="957126"/>
        <a:ext cx="1196103" cy="285693"/>
      </dsp:txXfrm>
    </dsp:sp>
    <dsp:sp modelId="{283EA6FE-11FE-4110-9DC0-4543F0E7768E}">
      <dsp:nvSpPr>
        <dsp:cNvPr id="0" name=""/>
        <dsp:cNvSpPr/>
      </dsp:nvSpPr>
      <dsp:spPr>
        <a:xfrm rot="5400000">
          <a:off x="3351407" y="1278262"/>
          <a:ext cx="53107" cy="53107"/>
        </a:xfrm>
        <a:prstGeom prst="rightArrow">
          <a:avLst>
            <a:gd name="adj1" fmla="val 667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718887B2-CFB7-4E2D-85D2-3E2DA3808DAC}">
      <dsp:nvSpPr>
        <dsp:cNvPr id="0" name=""/>
        <dsp:cNvSpPr/>
      </dsp:nvSpPr>
      <dsp:spPr>
        <a:xfrm>
          <a:off x="2771021" y="1357922"/>
          <a:ext cx="1213879" cy="303469"/>
        </a:xfrm>
        <a:prstGeom prst="roundRect">
          <a:avLst>
            <a:gd name="adj" fmla="val 10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Analysis &amp; Design</a:t>
          </a:r>
        </a:p>
      </dsp:txBody>
      <dsp:txXfrm>
        <a:off x="2779909" y="1366810"/>
        <a:ext cx="1196103" cy="285693"/>
      </dsp:txXfrm>
    </dsp:sp>
    <dsp:sp modelId="{2260D00C-37AF-4215-ABEA-7C68A7DEDF58}">
      <dsp:nvSpPr>
        <dsp:cNvPr id="0" name=""/>
        <dsp:cNvSpPr/>
      </dsp:nvSpPr>
      <dsp:spPr>
        <a:xfrm rot="5400000">
          <a:off x="3351407" y="1687946"/>
          <a:ext cx="53107" cy="53107"/>
        </a:xfrm>
        <a:prstGeom prst="rightArrow">
          <a:avLst>
            <a:gd name="adj1" fmla="val 667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055E86BC-0290-46BD-939E-440D1F038972}">
      <dsp:nvSpPr>
        <dsp:cNvPr id="0" name=""/>
        <dsp:cNvSpPr/>
      </dsp:nvSpPr>
      <dsp:spPr>
        <a:xfrm>
          <a:off x="2771021" y="1767607"/>
          <a:ext cx="1213879" cy="303469"/>
        </a:xfrm>
        <a:prstGeom prst="roundRect">
          <a:avLst>
            <a:gd name="adj" fmla="val 10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Code</a:t>
          </a:r>
        </a:p>
      </dsp:txBody>
      <dsp:txXfrm>
        <a:off x="2779909" y="1776495"/>
        <a:ext cx="1196103" cy="285693"/>
      </dsp:txXfrm>
    </dsp:sp>
    <dsp:sp modelId="{F3E275E2-4601-45DF-ACF8-A47144A19534}">
      <dsp:nvSpPr>
        <dsp:cNvPr id="0" name=""/>
        <dsp:cNvSpPr/>
      </dsp:nvSpPr>
      <dsp:spPr>
        <a:xfrm rot="5400000">
          <a:off x="3351407" y="2097630"/>
          <a:ext cx="53107" cy="53107"/>
        </a:xfrm>
        <a:prstGeom prst="rightArrow">
          <a:avLst>
            <a:gd name="adj1" fmla="val 667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F4FB6460-A648-421A-983E-193C674064BC}">
      <dsp:nvSpPr>
        <dsp:cNvPr id="0" name=""/>
        <dsp:cNvSpPr/>
      </dsp:nvSpPr>
      <dsp:spPr>
        <a:xfrm>
          <a:off x="2771021" y="2177291"/>
          <a:ext cx="1213879" cy="303469"/>
        </a:xfrm>
        <a:prstGeom prst="roundRect">
          <a:avLst>
            <a:gd name="adj" fmla="val 10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Test</a:t>
          </a:r>
        </a:p>
      </dsp:txBody>
      <dsp:txXfrm>
        <a:off x="2779909" y="2186179"/>
        <a:ext cx="1196103" cy="285693"/>
      </dsp:txXfrm>
    </dsp:sp>
    <dsp:sp modelId="{40A22BB9-7466-4D51-899E-42D3734CADE3}">
      <dsp:nvSpPr>
        <dsp:cNvPr id="0" name=""/>
        <dsp:cNvSpPr/>
      </dsp:nvSpPr>
      <dsp:spPr>
        <a:xfrm>
          <a:off x="4154844" y="538554"/>
          <a:ext cx="1213879" cy="303469"/>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Iteration 4</a:t>
          </a:r>
        </a:p>
      </dsp:txBody>
      <dsp:txXfrm>
        <a:off x="4163732" y="547442"/>
        <a:ext cx="1196103" cy="285693"/>
      </dsp:txXfrm>
    </dsp:sp>
    <dsp:sp modelId="{A1E3E243-89A8-4401-83DE-EB46737987AC}">
      <dsp:nvSpPr>
        <dsp:cNvPr id="0" name=""/>
        <dsp:cNvSpPr/>
      </dsp:nvSpPr>
      <dsp:spPr>
        <a:xfrm rot="5400000">
          <a:off x="4735230" y="868577"/>
          <a:ext cx="53107" cy="53107"/>
        </a:xfrm>
        <a:prstGeom prst="rightArrow">
          <a:avLst>
            <a:gd name="adj1" fmla="val 667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B439DC38-6811-407A-AA7A-F85E636B9218}">
      <dsp:nvSpPr>
        <dsp:cNvPr id="0" name=""/>
        <dsp:cNvSpPr/>
      </dsp:nvSpPr>
      <dsp:spPr>
        <a:xfrm>
          <a:off x="4154844" y="948238"/>
          <a:ext cx="1213879" cy="303469"/>
        </a:xfrm>
        <a:prstGeom prst="roundRect">
          <a:avLst>
            <a:gd name="adj" fmla="val 10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Requirements</a:t>
          </a:r>
        </a:p>
      </dsp:txBody>
      <dsp:txXfrm>
        <a:off x="4163732" y="957126"/>
        <a:ext cx="1196103" cy="285693"/>
      </dsp:txXfrm>
    </dsp:sp>
    <dsp:sp modelId="{A5F8F1BD-13C1-4AE9-987F-852BDA92AADC}">
      <dsp:nvSpPr>
        <dsp:cNvPr id="0" name=""/>
        <dsp:cNvSpPr/>
      </dsp:nvSpPr>
      <dsp:spPr>
        <a:xfrm rot="5400000">
          <a:off x="4735230" y="1278262"/>
          <a:ext cx="53107" cy="53107"/>
        </a:xfrm>
        <a:prstGeom prst="rightArrow">
          <a:avLst>
            <a:gd name="adj1" fmla="val 667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9721B923-B1F8-4AA7-AA1E-11EF1DCC336A}">
      <dsp:nvSpPr>
        <dsp:cNvPr id="0" name=""/>
        <dsp:cNvSpPr/>
      </dsp:nvSpPr>
      <dsp:spPr>
        <a:xfrm>
          <a:off x="4154844" y="1357922"/>
          <a:ext cx="1213879" cy="303469"/>
        </a:xfrm>
        <a:prstGeom prst="roundRect">
          <a:avLst>
            <a:gd name="adj" fmla="val 10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Analysis &amp; Design</a:t>
          </a:r>
        </a:p>
      </dsp:txBody>
      <dsp:txXfrm>
        <a:off x="4163732" y="1366810"/>
        <a:ext cx="1196103" cy="285693"/>
      </dsp:txXfrm>
    </dsp:sp>
    <dsp:sp modelId="{6AAC9A51-1DBB-4183-893D-DDF5A7B0AD32}">
      <dsp:nvSpPr>
        <dsp:cNvPr id="0" name=""/>
        <dsp:cNvSpPr/>
      </dsp:nvSpPr>
      <dsp:spPr>
        <a:xfrm rot="5400000">
          <a:off x="4735230" y="1687946"/>
          <a:ext cx="53107" cy="53107"/>
        </a:xfrm>
        <a:prstGeom prst="rightArrow">
          <a:avLst>
            <a:gd name="adj1" fmla="val 667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BE663722-FB14-47AC-9B33-C55B58A2BB07}">
      <dsp:nvSpPr>
        <dsp:cNvPr id="0" name=""/>
        <dsp:cNvSpPr/>
      </dsp:nvSpPr>
      <dsp:spPr>
        <a:xfrm>
          <a:off x="4154844" y="1767607"/>
          <a:ext cx="1213879" cy="303469"/>
        </a:xfrm>
        <a:prstGeom prst="roundRect">
          <a:avLst>
            <a:gd name="adj" fmla="val 10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Code</a:t>
          </a:r>
        </a:p>
      </dsp:txBody>
      <dsp:txXfrm>
        <a:off x="4163732" y="1776495"/>
        <a:ext cx="1196103" cy="285693"/>
      </dsp:txXfrm>
    </dsp:sp>
    <dsp:sp modelId="{CCC092AB-F437-425A-932D-9C81B399B743}">
      <dsp:nvSpPr>
        <dsp:cNvPr id="0" name=""/>
        <dsp:cNvSpPr/>
      </dsp:nvSpPr>
      <dsp:spPr>
        <a:xfrm rot="5400000">
          <a:off x="4735230" y="2097630"/>
          <a:ext cx="53107" cy="53107"/>
        </a:xfrm>
        <a:prstGeom prst="rightArrow">
          <a:avLst>
            <a:gd name="adj1" fmla="val 667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C27432F7-5F17-4BC9-99E8-BFD2B2494477}">
      <dsp:nvSpPr>
        <dsp:cNvPr id="0" name=""/>
        <dsp:cNvSpPr/>
      </dsp:nvSpPr>
      <dsp:spPr>
        <a:xfrm>
          <a:off x="4154844" y="2177291"/>
          <a:ext cx="1213879" cy="303469"/>
        </a:xfrm>
        <a:prstGeom prst="roundRect">
          <a:avLst>
            <a:gd name="adj" fmla="val 10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Test</a:t>
          </a:r>
        </a:p>
      </dsp:txBody>
      <dsp:txXfrm>
        <a:off x="4163732" y="2186179"/>
        <a:ext cx="1196103" cy="285693"/>
      </dsp:txXfrm>
    </dsp:sp>
    <dsp:sp modelId="{8EC170FE-B912-4CBE-94CE-E68A9D4709AB}">
      <dsp:nvSpPr>
        <dsp:cNvPr id="0" name=""/>
        <dsp:cNvSpPr/>
      </dsp:nvSpPr>
      <dsp:spPr>
        <a:xfrm rot="5400000">
          <a:off x="4735230" y="2507314"/>
          <a:ext cx="53107" cy="53107"/>
        </a:xfrm>
        <a:prstGeom prst="rightArrow">
          <a:avLst>
            <a:gd name="adj1" fmla="val 667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EF4EB7FA-E0CB-43FF-ACAD-F97E253F04FE}">
      <dsp:nvSpPr>
        <dsp:cNvPr id="0" name=""/>
        <dsp:cNvSpPr/>
      </dsp:nvSpPr>
      <dsp:spPr>
        <a:xfrm>
          <a:off x="4154844" y="2586975"/>
          <a:ext cx="1213879" cy="303469"/>
        </a:xfrm>
        <a:prstGeom prst="roundRect">
          <a:avLst>
            <a:gd name="adj" fmla="val 10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Deploy</a:t>
          </a:r>
        </a:p>
      </dsp:txBody>
      <dsp:txXfrm>
        <a:off x="4163732" y="2595863"/>
        <a:ext cx="1196103" cy="285693"/>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FB6152-D9CF-4C71-BEB7-5B0E035ED567}">
      <dsp:nvSpPr>
        <dsp:cNvPr id="0" name=""/>
        <dsp:cNvSpPr/>
      </dsp:nvSpPr>
      <dsp:spPr>
        <a:xfrm rot="16200000">
          <a:off x="642937" y="-642937"/>
          <a:ext cx="1457325" cy="2743200"/>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br>
            <a:rPr lang="en-US" sz="1800" kern="1200" dirty="0"/>
          </a:br>
          <a:r>
            <a:rPr lang="en-US" sz="1800" kern="1200" dirty="0"/>
            <a:t>Functional Tests</a:t>
          </a:r>
        </a:p>
        <a:p>
          <a:pPr marL="0" lvl="0" indent="0" algn="ctr" defTabSz="800100">
            <a:lnSpc>
              <a:spcPct val="90000"/>
            </a:lnSpc>
            <a:spcBef>
              <a:spcPct val="0"/>
            </a:spcBef>
            <a:spcAft>
              <a:spcPct val="35000"/>
            </a:spcAft>
            <a:buNone/>
          </a:pPr>
          <a:r>
            <a:rPr lang="en-US" sz="1800" kern="1200" dirty="0"/>
            <a:t>Customer Tests</a:t>
          </a:r>
        </a:p>
        <a:p>
          <a:pPr marL="0" lvl="0" indent="0" algn="ctr" defTabSz="800100">
            <a:lnSpc>
              <a:spcPct val="90000"/>
            </a:lnSpc>
            <a:spcBef>
              <a:spcPct val="0"/>
            </a:spcBef>
            <a:spcAft>
              <a:spcPct val="35000"/>
            </a:spcAft>
            <a:buNone/>
          </a:pPr>
          <a:r>
            <a:rPr lang="en-US" sz="1800" kern="1200" dirty="0"/>
            <a:t>Story Tests/Examples</a:t>
          </a:r>
        </a:p>
      </dsp:txBody>
      <dsp:txXfrm rot="5400000">
        <a:off x="0" y="0"/>
        <a:ext cx="2743200" cy="1092993"/>
      </dsp:txXfrm>
    </dsp:sp>
    <dsp:sp modelId="{59347C24-6C12-4789-904A-748B5192DE3A}">
      <dsp:nvSpPr>
        <dsp:cNvPr id="0" name=""/>
        <dsp:cNvSpPr/>
      </dsp:nvSpPr>
      <dsp:spPr>
        <a:xfrm>
          <a:off x="2743200" y="0"/>
          <a:ext cx="2743200" cy="1457325"/>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br>
            <a:rPr lang="en-US" sz="1800" kern="1200" dirty="0"/>
          </a:br>
          <a:r>
            <a:rPr lang="en-US" sz="1800" kern="1200" dirty="0"/>
            <a:t>User Acceptance Tests</a:t>
          </a:r>
        </a:p>
        <a:p>
          <a:pPr marL="0" lvl="0" indent="0" algn="ctr" defTabSz="800100">
            <a:lnSpc>
              <a:spcPct val="90000"/>
            </a:lnSpc>
            <a:spcBef>
              <a:spcPct val="0"/>
            </a:spcBef>
            <a:spcAft>
              <a:spcPct val="35000"/>
            </a:spcAft>
            <a:buNone/>
          </a:pPr>
          <a:r>
            <a:rPr lang="en-US" sz="1800" kern="1200" dirty="0"/>
            <a:t>Exploratory Tests</a:t>
          </a:r>
        </a:p>
        <a:p>
          <a:pPr marL="0" lvl="0" indent="0" algn="ctr" defTabSz="800100">
            <a:lnSpc>
              <a:spcPct val="90000"/>
            </a:lnSpc>
            <a:spcBef>
              <a:spcPct val="0"/>
            </a:spcBef>
            <a:spcAft>
              <a:spcPct val="35000"/>
            </a:spcAft>
            <a:buNone/>
          </a:pPr>
          <a:r>
            <a:rPr lang="en-US" sz="1800" kern="1200" dirty="0"/>
            <a:t>Usability Tests</a:t>
          </a:r>
        </a:p>
      </dsp:txBody>
      <dsp:txXfrm>
        <a:off x="2743200" y="0"/>
        <a:ext cx="2743200" cy="1092993"/>
      </dsp:txXfrm>
    </dsp:sp>
    <dsp:sp modelId="{6CD24A75-18CE-4EAF-8885-21D4109B4A7A}">
      <dsp:nvSpPr>
        <dsp:cNvPr id="0" name=""/>
        <dsp:cNvSpPr/>
      </dsp:nvSpPr>
      <dsp:spPr>
        <a:xfrm rot="10800000">
          <a:off x="0" y="1457325"/>
          <a:ext cx="2743200" cy="1457325"/>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dirty="0"/>
            <a:t>Unit Tests</a:t>
          </a:r>
        </a:p>
        <a:p>
          <a:pPr marL="0" lvl="0" indent="0" algn="ctr" defTabSz="800100">
            <a:lnSpc>
              <a:spcPct val="90000"/>
            </a:lnSpc>
            <a:spcBef>
              <a:spcPct val="0"/>
            </a:spcBef>
            <a:spcAft>
              <a:spcPct val="35000"/>
            </a:spcAft>
            <a:buNone/>
          </a:pPr>
          <a:r>
            <a:rPr lang="en-US" sz="1800" kern="1200" dirty="0"/>
            <a:t>Integration Tests</a:t>
          </a:r>
        </a:p>
      </dsp:txBody>
      <dsp:txXfrm rot="10800000">
        <a:off x="0" y="1821656"/>
        <a:ext cx="2743200" cy="1092993"/>
      </dsp:txXfrm>
    </dsp:sp>
    <dsp:sp modelId="{EE231894-1C54-4C71-B0B6-D1ED27620DFA}">
      <dsp:nvSpPr>
        <dsp:cNvPr id="0" name=""/>
        <dsp:cNvSpPr/>
      </dsp:nvSpPr>
      <dsp:spPr>
        <a:xfrm rot="5400000">
          <a:off x="3386137" y="814387"/>
          <a:ext cx="1457325" cy="2743200"/>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dirty="0"/>
            <a:t>Performance Tests</a:t>
          </a:r>
        </a:p>
        <a:p>
          <a:pPr marL="0" lvl="0" indent="0" algn="ctr" defTabSz="800100">
            <a:lnSpc>
              <a:spcPct val="90000"/>
            </a:lnSpc>
            <a:spcBef>
              <a:spcPct val="0"/>
            </a:spcBef>
            <a:spcAft>
              <a:spcPct val="35000"/>
            </a:spcAft>
            <a:buNone/>
          </a:pPr>
          <a:r>
            <a:rPr lang="en-US" sz="1800" kern="1200" dirty="0"/>
            <a:t>Load Tests</a:t>
          </a:r>
        </a:p>
      </dsp:txBody>
      <dsp:txXfrm rot="-5400000">
        <a:off x="2743200" y="1821656"/>
        <a:ext cx="2743200" cy="1092993"/>
      </dsp:txXfrm>
    </dsp:sp>
    <dsp:sp modelId="{9282CE7C-0EEB-4712-BE9F-B22C0A0BA10B}">
      <dsp:nvSpPr>
        <dsp:cNvPr id="0" name=""/>
        <dsp:cNvSpPr/>
      </dsp:nvSpPr>
      <dsp:spPr>
        <a:xfrm flipV="1">
          <a:off x="1371597" y="1428750"/>
          <a:ext cx="2743205" cy="57148"/>
        </a:xfrm>
        <a:prstGeom prst="roundRect">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endParaRPr lang="en-US" sz="1800" kern="1200" dirty="0"/>
        </a:p>
      </dsp:txBody>
      <dsp:txXfrm rot="10800000">
        <a:off x="1374387" y="1431540"/>
        <a:ext cx="2737625" cy="51568"/>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FB6152-D9CF-4C71-BEB7-5B0E035ED567}">
      <dsp:nvSpPr>
        <dsp:cNvPr id="0" name=""/>
        <dsp:cNvSpPr/>
      </dsp:nvSpPr>
      <dsp:spPr>
        <a:xfrm rot="16200000">
          <a:off x="642937" y="-642937"/>
          <a:ext cx="1457325" cy="2743200"/>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br>
            <a:rPr lang="en-US" sz="2400" kern="1200" dirty="0"/>
          </a:br>
          <a:br>
            <a:rPr lang="en-US" sz="2400" kern="1200" dirty="0"/>
          </a:br>
          <a:r>
            <a:rPr lang="en-US" sz="1600" kern="1200" dirty="0"/>
            <a:t>Product Specifications</a:t>
          </a:r>
        </a:p>
        <a:p>
          <a:pPr marL="0" lvl="0" indent="0" algn="ctr" defTabSz="1066800">
            <a:lnSpc>
              <a:spcPct val="90000"/>
            </a:lnSpc>
            <a:spcBef>
              <a:spcPct val="0"/>
            </a:spcBef>
            <a:spcAft>
              <a:spcPct val="35000"/>
            </a:spcAft>
            <a:buNone/>
          </a:pPr>
          <a:r>
            <a:rPr lang="en-US" sz="1600" kern="1200" dirty="0"/>
            <a:t>Test Ideas</a:t>
          </a:r>
        </a:p>
        <a:p>
          <a:pPr marL="0" lvl="0" indent="0" algn="ctr" defTabSz="1066800">
            <a:lnSpc>
              <a:spcPct val="90000"/>
            </a:lnSpc>
            <a:spcBef>
              <a:spcPct val="0"/>
            </a:spcBef>
            <a:spcAft>
              <a:spcPct val="35000"/>
            </a:spcAft>
            <a:buNone/>
          </a:pPr>
          <a:r>
            <a:rPr lang="en-US" sz="1600" kern="1200" dirty="0"/>
            <a:t>Testing</a:t>
          </a:r>
        </a:p>
      </dsp:txBody>
      <dsp:txXfrm rot="5400000">
        <a:off x="0" y="0"/>
        <a:ext cx="2743200" cy="1092993"/>
      </dsp:txXfrm>
    </dsp:sp>
    <dsp:sp modelId="{59347C24-6C12-4789-904A-748B5192DE3A}">
      <dsp:nvSpPr>
        <dsp:cNvPr id="0" name=""/>
        <dsp:cNvSpPr/>
      </dsp:nvSpPr>
      <dsp:spPr>
        <a:xfrm>
          <a:off x="2743200" y="0"/>
          <a:ext cx="2743200" cy="1457325"/>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br>
            <a:rPr lang="en-US" sz="2800" kern="1200" dirty="0"/>
          </a:br>
          <a:br>
            <a:rPr lang="en-US" sz="2800" kern="1200" dirty="0"/>
          </a:br>
          <a:r>
            <a:rPr lang="en-US" sz="1800" kern="1200" dirty="0"/>
            <a:t>UAT Design</a:t>
          </a:r>
        </a:p>
        <a:p>
          <a:pPr marL="0" lvl="0" indent="0" algn="ctr" defTabSz="1244600">
            <a:lnSpc>
              <a:spcPct val="90000"/>
            </a:lnSpc>
            <a:spcBef>
              <a:spcPct val="0"/>
            </a:spcBef>
            <a:spcAft>
              <a:spcPct val="35000"/>
            </a:spcAft>
            <a:buNone/>
          </a:pPr>
          <a:r>
            <a:rPr lang="en-US" sz="1800" kern="1200" dirty="0"/>
            <a:t>Exploratory Testing</a:t>
          </a:r>
        </a:p>
        <a:p>
          <a:pPr marL="0" lvl="0" indent="0" algn="ctr" defTabSz="1244600">
            <a:lnSpc>
              <a:spcPct val="90000"/>
            </a:lnSpc>
            <a:spcBef>
              <a:spcPct val="0"/>
            </a:spcBef>
            <a:spcAft>
              <a:spcPct val="35000"/>
            </a:spcAft>
            <a:buNone/>
          </a:pPr>
          <a:r>
            <a:rPr lang="en-US" sz="1800" kern="1200" dirty="0"/>
            <a:t>Usability Testing</a:t>
          </a:r>
        </a:p>
      </dsp:txBody>
      <dsp:txXfrm>
        <a:off x="2743200" y="0"/>
        <a:ext cx="2743200" cy="1092993"/>
      </dsp:txXfrm>
    </dsp:sp>
    <dsp:sp modelId="{6CD24A75-18CE-4EAF-8885-21D4109B4A7A}">
      <dsp:nvSpPr>
        <dsp:cNvPr id="0" name=""/>
        <dsp:cNvSpPr/>
      </dsp:nvSpPr>
      <dsp:spPr>
        <a:xfrm rot="10800000">
          <a:off x="0" y="1457325"/>
          <a:ext cx="2743200" cy="1457325"/>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t>Test Ideas</a:t>
          </a:r>
        </a:p>
        <a:p>
          <a:pPr marL="0" lvl="0" indent="0" algn="ctr" defTabSz="711200">
            <a:lnSpc>
              <a:spcPct val="90000"/>
            </a:lnSpc>
            <a:spcBef>
              <a:spcPct val="0"/>
            </a:spcBef>
            <a:spcAft>
              <a:spcPct val="35000"/>
            </a:spcAft>
            <a:buNone/>
          </a:pPr>
          <a:r>
            <a:rPr lang="en-US" sz="1600" kern="1200" dirty="0"/>
            <a:t>Test Development</a:t>
          </a:r>
        </a:p>
        <a:p>
          <a:pPr marL="0" lvl="0" indent="0" algn="ctr" defTabSz="711200">
            <a:lnSpc>
              <a:spcPct val="90000"/>
            </a:lnSpc>
            <a:spcBef>
              <a:spcPct val="0"/>
            </a:spcBef>
            <a:spcAft>
              <a:spcPct val="35000"/>
            </a:spcAft>
            <a:buNone/>
          </a:pPr>
          <a:r>
            <a:rPr lang="en-US" sz="1600" kern="1200" dirty="0"/>
            <a:t>Testing</a:t>
          </a:r>
          <a:br>
            <a:rPr lang="en-US" sz="2800" kern="1200" dirty="0"/>
          </a:br>
          <a:br>
            <a:rPr lang="en-US" sz="2800" kern="1200" dirty="0"/>
          </a:br>
          <a:endParaRPr lang="en-US" sz="2800" kern="1200" dirty="0"/>
        </a:p>
      </dsp:txBody>
      <dsp:txXfrm rot="10800000">
        <a:off x="0" y="1821656"/>
        <a:ext cx="2743200" cy="1092993"/>
      </dsp:txXfrm>
    </dsp:sp>
    <dsp:sp modelId="{EE231894-1C54-4C71-B0B6-D1ED27620DFA}">
      <dsp:nvSpPr>
        <dsp:cNvPr id="0" name=""/>
        <dsp:cNvSpPr/>
      </dsp:nvSpPr>
      <dsp:spPr>
        <a:xfrm rot="5400000">
          <a:off x="3386137" y="814387"/>
          <a:ext cx="1457325" cy="2743200"/>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dirty="0"/>
            <a:t>Test Scripts</a:t>
          </a:r>
        </a:p>
        <a:p>
          <a:pPr marL="0" lvl="0" indent="0" algn="ctr" defTabSz="800100">
            <a:lnSpc>
              <a:spcPct val="90000"/>
            </a:lnSpc>
            <a:spcBef>
              <a:spcPct val="0"/>
            </a:spcBef>
            <a:spcAft>
              <a:spcPct val="35000"/>
            </a:spcAft>
            <a:buNone/>
          </a:pPr>
          <a:r>
            <a:rPr lang="en-US" sz="1800" kern="1200" dirty="0"/>
            <a:t>Testing</a:t>
          </a:r>
        </a:p>
        <a:p>
          <a:pPr marL="0" lvl="0" indent="0" algn="ctr" defTabSz="800100">
            <a:lnSpc>
              <a:spcPct val="90000"/>
            </a:lnSpc>
            <a:spcBef>
              <a:spcPct val="0"/>
            </a:spcBef>
            <a:spcAft>
              <a:spcPct val="35000"/>
            </a:spcAft>
            <a:buNone/>
          </a:pPr>
          <a:r>
            <a:rPr lang="en-US" sz="1800" kern="1200" dirty="0"/>
            <a:t>Test Analysis</a:t>
          </a:r>
          <a:br>
            <a:rPr lang="en-US" sz="2800" kern="1200" dirty="0"/>
          </a:br>
          <a:endParaRPr lang="en-US" sz="2800" kern="1200" dirty="0"/>
        </a:p>
      </dsp:txBody>
      <dsp:txXfrm rot="-5400000">
        <a:off x="2743200" y="1821656"/>
        <a:ext cx="2743200" cy="1092993"/>
      </dsp:txXfrm>
    </dsp:sp>
    <dsp:sp modelId="{9282CE7C-0EEB-4712-BE9F-B22C0A0BA10B}">
      <dsp:nvSpPr>
        <dsp:cNvPr id="0" name=""/>
        <dsp:cNvSpPr/>
      </dsp:nvSpPr>
      <dsp:spPr>
        <a:xfrm flipV="1">
          <a:off x="1371597" y="1428750"/>
          <a:ext cx="2743205" cy="57148"/>
        </a:xfrm>
        <a:prstGeom prst="roundRect">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endParaRPr lang="en-US" sz="3200" kern="1200" dirty="0"/>
        </a:p>
      </dsp:txBody>
      <dsp:txXfrm rot="10800000">
        <a:off x="1374387" y="1431540"/>
        <a:ext cx="2737625" cy="51568"/>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90ED1D-3FF0-4417-8193-9190BC7F0E21}">
      <dsp:nvSpPr>
        <dsp:cNvPr id="0" name=""/>
        <dsp:cNvSpPr/>
      </dsp:nvSpPr>
      <dsp:spPr>
        <a:xfrm>
          <a:off x="0" y="0"/>
          <a:ext cx="2232248" cy="43697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rtl="0">
            <a:lnSpc>
              <a:spcPct val="90000"/>
            </a:lnSpc>
            <a:spcBef>
              <a:spcPct val="0"/>
            </a:spcBef>
            <a:spcAft>
              <a:spcPct val="35000"/>
            </a:spcAft>
            <a:buNone/>
          </a:pPr>
          <a:r>
            <a:rPr lang="en-US" sz="1100" kern="1200" dirty="0"/>
            <a:t>Find bugs fast</a:t>
          </a:r>
        </a:p>
      </dsp:txBody>
      <dsp:txXfrm>
        <a:off x="21331" y="21331"/>
        <a:ext cx="2189586" cy="394314"/>
      </dsp:txXfrm>
    </dsp:sp>
    <dsp:sp modelId="{07665729-5B3A-4D5E-B5E9-DB7B2C5BA8C6}">
      <dsp:nvSpPr>
        <dsp:cNvPr id="0" name=""/>
        <dsp:cNvSpPr/>
      </dsp:nvSpPr>
      <dsp:spPr>
        <a:xfrm>
          <a:off x="0" y="482682"/>
          <a:ext cx="2232248" cy="43697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rtl="0">
            <a:lnSpc>
              <a:spcPct val="90000"/>
            </a:lnSpc>
            <a:spcBef>
              <a:spcPct val="0"/>
            </a:spcBef>
            <a:spcAft>
              <a:spcPct val="35000"/>
            </a:spcAft>
            <a:buNone/>
          </a:pPr>
          <a:r>
            <a:rPr lang="en-US" sz="1100" kern="1200" dirty="0"/>
            <a:t>Fix bugs fast – through rapid testing feedback</a:t>
          </a:r>
        </a:p>
      </dsp:txBody>
      <dsp:txXfrm>
        <a:off x="21331" y="504013"/>
        <a:ext cx="2189586" cy="394314"/>
      </dsp:txXfrm>
    </dsp:sp>
    <dsp:sp modelId="{AF8EA56A-7273-4F24-8822-1BB78CC902BB}">
      <dsp:nvSpPr>
        <dsp:cNvPr id="0" name=""/>
        <dsp:cNvSpPr/>
      </dsp:nvSpPr>
      <dsp:spPr>
        <a:xfrm>
          <a:off x="0" y="951338"/>
          <a:ext cx="2232248" cy="43697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rtl="0">
            <a:lnSpc>
              <a:spcPct val="90000"/>
            </a:lnSpc>
            <a:spcBef>
              <a:spcPct val="0"/>
            </a:spcBef>
            <a:spcAft>
              <a:spcPct val="35000"/>
            </a:spcAft>
            <a:buNone/>
          </a:pPr>
          <a:r>
            <a:rPr lang="en-US" sz="1100" kern="1200" dirty="0"/>
            <a:t>Visibility</a:t>
          </a:r>
        </a:p>
      </dsp:txBody>
      <dsp:txXfrm>
        <a:off x="21331" y="972669"/>
        <a:ext cx="2189586" cy="394314"/>
      </dsp:txXfrm>
    </dsp:sp>
    <dsp:sp modelId="{90BA9304-BA07-489E-8727-2FE22D241796}">
      <dsp:nvSpPr>
        <dsp:cNvPr id="0" name=""/>
        <dsp:cNvSpPr/>
      </dsp:nvSpPr>
      <dsp:spPr>
        <a:xfrm>
          <a:off x="0" y="1419995"/>
          <a:ext cx="2232248" cy="43697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rtl="0">
            <a:lnSpc>
              <a:spcPct val="90000"/>
            </a:lnSpc>
            <a:spcBef>
              <a:spcPct val="0"/>
            </a:spcBef>
            <a:spcAft>
              <a:spcPct val="35000"/>
            </a:spcAft>
            <a:buNone/>
          </a:pPr>
          <a:r>
            <a:rPr lang="en-US" sz="1100" kern="1200" dirty="0"/>
            <a:t>Transparency</a:t>
          </a:r>
        </a:p>
      </dsp:txBody>
      <dsp:txXfrm>
        <a:off x="21331" y="1441326"/>
        <a:ext cx="2189586" cy="394314"/>
      </dsp:txXfrm>
    </dsp:sp>
    <dsp:sp modelId="{1217868A-E140-43DC-A07D-5EB7D7935997}">
      <dsp:nvSpPr>
        <dsp:cNvPr id="0" name=""/>
        <dsp:cNvSpPr/>
      </dsp:nvSpPr>
      <dsp:spPr>
        <a:xfrm>
          <a:off x="0" y="1888652"/>
          <a:ext cx="2232248" cy="43697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rtl="0">
            <a:lnSpc>
              <a:spcPct val="90000"/>
            </a:lnSpc>
            <a:spcBef>
              <a:spcPct val="0"/>
            </a:spcBef>
            <a:spcAft>
              <a:spcPct val="35000"/>
            </a:spcAft>
            <a:buNone/>
          </a:pPr>
          <a:r>
            <a:rPr lang="en-US" sz="1100" kern="1200" dirty="0"/>
            <a:t>Auditability</a:t>
          </a:r>
        </a:p>
      </dsp:txBody>
      <dsp:txXfrm>
        <a:off x="21331" y="1909983"/>
        <a:ext cx="2189586" cy="394314"/>
      </dsp:txXfrm>
    </dsp:sp>
    <dsp:sp modelId="{AEC16343-DC92-4B6D-A549-6C0CA71E980D}">
      <dsp:nvSpPr>
        <dsp:cNvPr id="0" name=""/>
        <dsp:cNvSpPr/>
      </dsp:nvSpPr>
      <dsp:spPr>
        <a:xfrm>
          <a:off x="0" y="2357308"/>
          <a:ext cx="2232248" cy="43697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rtl="0">
            <a:lnSpc>
              <a:spcPct val="90000"/>
            </a:lnSpc>
            <a:spcBef>
              <a:spcPct val="0"/>
            </a:spcBef>
            <a:spcAft>
              <a:spcPct val="35000"/>
            </a:spcAft>
            <a:buNone/>
          </a:pPr>
          <a:r>
            <a:rPr lang="en-US" sz="1100" kern="1200" dirty="0"/>
            <a:t>Maximize testing value</a:t>
          </a:r>
        </a:p>
      </dsp:txBody>
      <dsp:txXfrm>
        <a:off x="21331" y="2378639"/>
        <a:ext cx="2189586" cy="394314"/>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BCD665-680E-4807-947B-18DD955052D9}">
      <dsp:nvSpPr>
        <dsp:cNvPr id="0" name=""/>
        <dsp:cNvSpPr/>
      </dsp:nvSpPr>
      <dsp:spPr>
        <a:xfrm>
          <a:off x="457758" y="1297"/>
          <a:ext cx="1831030" cy="5672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US" sz="1100" kern="1200" dirty="0"/>
            <a:t>“What’s the status of testing?”</a:t>
          </a:r>
        </a:p>
      </dsp:txBody>
      <dsp:txXfrm>
        <a:off x="485449" y="28988"/>
        <a:ext cx="1775648" cy="511874"/>
      </dsp:txXfrm>
    </dsp:sp>
    <dsp:sp modelId="{150A9BB8-C5AA-4BB1-AE82-C05A75848CB2}">
      <dsp:nvSpPr>
        <dsp:cNvPr id="0" name=""/>
        <dsp:cNvSpPr/>
      </dsp:nvSpPr>
      <dsp:spPr>
        <a:xfrm>
          <a:off x="457758" y="596916"/>
          <a:ext cx="1831030" cy="5672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US" sz="1100" kern="1200" dirty="0"/>
            <a:t>“What are you doing today?”</a:t>
          </a:r>
        </a:p>
      </dsp:txBody>
      <dsp:txXfrm>
        <a:off x="485449" y="624607"/>
        <a:ext cx="1775648" cy="511874"/>
      </dsp:txXfrm>
    </dsp:sp>
    <dsp:sp modelId="{39BED9C5-1A1D-4EB3-B564-E10F4CBA997D}">
      <dsp:nvSpPr>
        <dsp:cNvPr id="0" name=""/>
        <dsp:cNvSpPr/>
      </dsp:nvSpPr>
      <dsp:spPr>
        <a:xfrm>
          <a:off x="457758" y="1192535"/>
          <a:ext cx="1831030" cy="5672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US" sz="1100" kern="1200" dirty="0"/>
            <a:t>“When will you be finished?”</a:t>
          </a:r>
        </a:p>
      </dsp:txBody>
      <dsp:txXfrm>
        <a:off x="485449" y="1220226"/>
        <a:ext cx="1775648" cy="511874"/>
      </dsp:txXfrm>
    </dsp:sp>
    <dsp:sp modelId="{8E814065-F02E-4CB7-8FF0-47902D01FC00}">
      <dsp:nvSpPr>
        <dsp:cNvPr id="0" name=""/>
        <dsp:cNvSpPr/>
      </dsp:nvSpPr>
      <dsp:spPr>
        <a:xfrm>
          <a:off x="457758" y="1788155"/>
          <a:ext cx="1831030" cy="5672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US" sz="1100" kern="1200" dirty="0"/>
            <a:t>“Why is it taking so long?”</a:t>
          </a:r>
        </a:p>
      </dsp:txBody>
      <dsp:txXfrm>
        <a:off x="485449" y="1815846"/>
        <a:ext cx="1775648" cy="511874"/>
      </dsp:txXfrm>
    </dsp:sp>
    <dsp:sp modelId="{BE2A4B8A-215A-43B5-94F3-598B7A8955A3}">
      <dsp:nvSpPr>
        <dsp:cNvPr id="0" name=""/>
        <dsp:cNvSpPr/>
      </dsp:nvSpPr>
      <dsp:spPr>
        <a:xfrm>
          <a:off x="457758" y="2383774"/>
          <a:ext cx="1831030" cy="5672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US" sz="1100" kern="1200" dirty="0"/>
            <a:t>“Have you tested _______, yet?”</a:t>
          </a:r>
        </a:p>
      </dsp:txBody>
      <dsp:txXfrm>
        <a:off x="485449" y="2411465"/>
        <a:ext cx="1775648" cy="511874"/>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3B9348-173B-440C-9C0E-54926ADFDC44}">
      <dsp:nvSpPr>
        <dsp:cNvPr id="0" name=""/>
        <dsp:cNvSpPr/>
      </dsp:nvSpPr>
      <dsp:spPr>
        <a:xfrm>
          <a:off x="148014" y="1329"/>
          <a:ext cx="2368267" cy="58109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Report test cycle progress in a simple, structured way...</a:t>
          </a:r>
        </a:p>
      </dsp:txBody>
      <dsp:txXfrm>
        <a:off x="176381" y="29696"/>
        <a:ext cx="2311533" cy="524357"/>
      </dsp:txXfrm>
    </dsp:sp>
    <dsp:sp modelId="{60045A20-B30E-4293-8357-3948BA756DD3}">
      <dsp:nvSpPr>
        <dsp:cNvPr id="0" name=""/>
        <dsp:cNvSpPr/>
      </dsp:nvSpPr>
      <dsp:spPr>
        <a:xfrm>
          <a:off x="148014" y="611475"/>
          <a:ext cx="2368267" cy="58109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17145" rIns="34290" bIns="17145" numCol="1" spcCol="1270" anchor="ctr" anchorCtr="0">
          <a:noAutofit/>
        </a:bodyPr>
        <a:lstStyle/>
        <a:p>
          <a:pPr marL="0" lvl="0" indent="0" algn="ctr" defTabSz="400050">
            <a:lnSpc>
              <a:spcPct val="90000"/>
            </a:lnSpc>
            <a:spcBef>
              <a:spcPct val="0"/>
            </a:spcBef>
            <a:spcAft>
              <a:spcPct val="35000"/>
            </a:spcAft>
            <a:buNone/>
          </a:pPr>
          <a:r>
            <a:rPr lang="en-US" sz="900" kern="1200" dirty="0"/>
            <a:t>...that shows progress toward a goal...</a:t>
          </a:r>
        </a:p>
      </dsp:txBody>
      <dsp:txXfrm>
        <a:off x="176381" y="639842"/>
        <a:ext cx="2311533" cy="524357"/>
      </dsp:txXfrm>
    </dsp:sp>
    <dsp:sp modelId="{4CFF1790-CD7F-4C4C-8092-6BD2690B70C1}">
      <dsp:nvSpPr>
        <dsp:cNvPr id="0" name=""/>
        <dsp:cNvSpPr/>
      </dsp:nvSpPr>
      <dsp:spPr>
        <a:xfrm>
          <a:off x="148014" y="1221622"/>
          <a:ext cx="2368267" cy="58109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17145" rIns="34290" bIns="17145" numCol="1" spcCol="1270" anchor="ctr" anchorCtr="0">
          <a:noAutofit/>
        </a:bodyPr>
        <a:lstStyle/>
        <a:p>
          <a:pPr marL="0" lvl="0" indent="0" algn="ctr" defTabSz="400050">
            <a:lnSpc>
              <a:spcPct val="90000"/>
            </a:lnSpc>
            <a:spcBef>
              <a:spcPct val="0"/>
            </a:spcBef>
            <a:spcAft>
              <a:spcPct val="35000"/>
            </a:spcAft>
            <a:buNone/>
          </a:pPr>
          <a:r>
            <a:rPr lang="en-US" sz="900" kern="1200" dirty="0"/>
            <a:t>... manages expectations...</a:t>
          </a:r>
        </a:p>
      </dsp:txBody>
      <dsp:txXfrm>
        <a:off x="176381" y="1249989"/>
        <a:ext cx="2311533" cy="524357"/>
      </dsp:txXfrm>
    </dsp:sp>
    <dsp:sp modelId="{A7868B05-7457-4AF6-B4DD-15779F4869FB}">
      <dsp:nvSpPr>
        <dsp:cNvPr id="0" name=""/>
        <dsp:cNvSpPr/>
      </dsp:nvSpPr>
      <dsp:spPr>
        <a:xfrm>
          <a:off x="148014" y="1831768"/>
          <a:ext cx="2368267" cy="58109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17145" rIns="34290" bIns="17145" numCol="1" spcCol="1270" anchor="ctr" anchorCtr="0">
          <a:noAutofit/>
        </a:bodyPr>
        <a:lstStyle/>
        <a:p>
          <a:pPr marL="0" lvl="0" indent="0" algn="ctr" defTabSz="400050">
            <a:lnSpc>
              <a:spcPct val="90000"/>
            </a:lnSpc>
            <a:spcBef>
              <a:spcPct val="0"/>
            </a:spcBef>
            <a:spcAft>
              <a:spcPct val="35000"/>
            </a:spcAft>
            <a:buNone/>
          </a:pPr>
          <a:r>
            <a:rPr lang="en-US" sz="900" kern="1200" dirty="0"/>
            <a:t>...and inspires support...</a:t>
          </a:r>
        </a:p>
      </dsp:txBody>
      <dsp:txXfrm>
        <a:off x="176381" y="1860135"/>
        <a:ext cx="2311533" cy="524357"/>
      </dsp:txXfrm>
    </dsp:sp>
    <dsp:sp modelId="{390D8AA9-5CE3-413F-B803-526096633BC2}">
      <dsp:nvSpPr>
        <dsp:cNvPr id="0" name=""/>
        <dsp:cNvSpPr/>
      </dsp:nvSpPr>
      <dsp:spPr>
        <a:xfrm>
          <a:off x="148014" y="2441915"/>
          <a:ext cx="2368267" cy="58109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17145" rIns="34290" bIns="17145" numCol="1" spcCol="1270" anchor="ctr" anchorCtr="0">
          <a:noAutofit/>
        </a:bodyPr>
        <a:lstStyle/>
        <a:p>
          <a:pPr marL="0" lvl="0" indent="0" algn="ctr" defTabSz="400050">
            <a:lnSpc>
              <a:spcPct val="90000"/>
            </a:lnSpc>
            <a:spcBef>
              <a:spcPct val="0"/>
            </a:spcBef>
            <a:spcAft>
              <a:spcPct val="35000"/>
            </a:spcAft>
            <a:buNone/>
          </a:pPr>
          <a:r>
            <a:rPr lang="en-US" sz="900" kern="1200" dirty="0"/>
            <a:t>...for an effective test process.</a:t>
          </a:r>
        </a:p>
      </dsp:txBody>
      <dsp:txXfrm>
        <a:off x="176381" y="2470282"/>
        <a:ext cx="2311533" cy="524357"/>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1D0463-4497-454F-A194-4F90AB3B9DA4}">
      <dsp:nvSpPr>
        <dsp:cNvPr id="0" name=""/>
        <dsp:cNvSpPr/>
      </dsp:nvSpPr>
      <dsp:spPr>
        <a:xfrm>
          <a:off x="1378" y="443007"/>
          <a:ext cx="2129730" cy="851892"/>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12065" rIns="0" bIns="12065" numCol="1" spcCol="1270" anchor="ctr" anchorCtr="0">
          <a:noAutofit/>
        </a:bodyPr>
        <a:lstStyle/>
        <a:p>
          <a:pPr marL="0" lvl="0" indent="0" algn="ctr" defTabSz="844550">
            <a:lnSpc>
              <a:spcPct val="90000"/>
            </a:lnSpc>
            <a:spcBef>
              <a:spcPct val="0"/>
            </a:spcBef>
            <a:spcAft>
              <a:spcPct val="35000"/>
            </a:spcAft>
            <a:buNone/>
          </a:pPr>
          <a:r>
            <a:rPr lang="en-US" sz="1900" kern="1200" dirty="0"/>
            <a:t>UI Tests</a:t>
          </a:r>
        </a:p>
      </dsp:txBody>
      <dsp:txXfrm>
        <a:off x="427324" y="443007"/>
        <a:ext cx="1277838" cy="851892"/>
      </dsp:txXfrm>
    </dsp:sp>
    <dsp:sp modelId="{A861580F-440D-47E3-ADFD-9FA15D9C33C4}">
      <dsp:nvSpPr>
        <dsp:cNvPr id="0" name=""/>
        <dsp:cNvSpPr/>
      </dsp:nvSpPr>
      <dsp:spPr>
        <a:xfrm>
          <a:off x="1854243" y="515418"/>
          <a:ext cx="1767676" cy="70707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Through UI</a:t>
          </a:r>
        </a:p>
      </dsp:txBody>
      <dsp:txXfrm>
        <a:off x="2207778" y="515418"/>
        <a:ext cx="1060606" cy="707070"/>
      </dsp:txXfrm>
    </dsp:sp>
    <dsp:sp modelId="{2DC30617-2820-4AB0-A46C-F5742D1BAE4B}">
      <dsp:nvSpPr>
        <dsp:cNvPr id="0" name=""/>
        <dsp:cNvSpPr/>
      </dsp:nvSpPr>
      <dsp:spPr>
        <a:xfrm>
          <a:off x="3374445" y="515418"/>
          <a:ext cx="1767676" cy="70707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TestComplete</a:t>
          </a:r>
        </a:p>
        <a:p>
          <a:pPr marL="0" lvl="0" indent="0" algn="ctr" defTabSz="533400">
            <a:lnSpc>
              <a:spcPct val="90000"/>
            </a:lnSpc>
            <a:spcBef>
              <a:spcPct val="0"/>
            </a:spcBef>
            <a:spcAft>
              <a:spcPct val="35000"/>
            </a:spcAft>
            <a:buNone/>
          </a:pPr>
          <a:r>
            <a:rPr lang="en-US" sz="1200" kern="1200" dirty="0"/>
            <a:t>SilkTest</a:t>
          </a:r>
        </a:p>
        <a:p>
          <a:pPr marL="0" lvl="0" indent="0" algn="ctr" defTabSz="533400">
            <a:lnSpc>
              <a:spcPct val="90000"/>
            </a:lnSpc>
            <a:spcBef>
              <a:spcPct val="0"/>
            </a:spcBef>
            <a:spcAft>
              <a:spcPct val="35000"/>
            </a:spcAft>
            <a:buNone/>
          </a:pPr>
          <a:r>
            <a:rPr lang="en-US" sz="1200" kern="1200" dirty="0"/>
            <a:t>TestDirector</a:t>
          </a:r>
        </a:p>
      </dsp:txBody>
      <dsp:txXfrm>
        <a:off x="3727980" y="515418"/>
        <a:ext cx="1060606" cy="707070"/>
      </dsp:txXfrm>
    </dsp:sp>
    <dsp:sp modelId="{8674B3CF-7DAA-4567-AC12-24E81FD3DC1A}">
      <dsp:nvSpPr>
        <dsp:cNvPr id="0" name=""/>
        <dsp:cNvSpPr/>
      </dsp:nvSpPr>
      <dsp:spPr>
        <a:xfrm>
          <a:off x="1378" y="1414164"/>
          <a:ext cx="2129730" cy="851892"/>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12065" rIns="0" bIns="12065" numCol="1" spcCol="1270" anchor="ctr" anchorCtr="0">
          <a:noAutofit/>
        </a:bodyPr>
        <a:lstStyle/>
        <a:p>
          <a:pPr marL="0" lvl="0" indent="0" algn="ctr" defTabSz="844550">
            <a:lnSpc>
              <a:spcPct val="90000"/>
            </a:lnSpc>
            <a:spcBef>
              <a:spcPct val="0"/>
            </a:spcBef>
            <a:spcAft>
              <a:spcPct val="35000"/>
            </a:spcAft>
            <a:buNone/>
          </a:pPr>
          <a:r>
            <a:rPr lang="en-US" sz="1900" kern="1200" dirty="0"/>
            <a:t>Functional Tests</a:t>
          </a:r>
        </a:p>
      </dsp:txBody>
      <dsp:txXfrm>
        <a:off x="427324" y="1414164"/>
        <a:ext cx="1277838" cy="851892"/>
      </dsp:txXfrm>
    </dsp:sp>
    <dsp:sp modelId="{E6A0D213-DD32-440C-95DD-FA1822462689}">
      <dsp:nvSpPr>
        <dsp:cNvPr id="0" name=""/>
        <dsp:cNvSpPr/>
      </dsp:nvSpPr>
      <dsp:spPr>
        <a:xfrm>
          <a:off x="1854243" y="1486575"/>
          <a:ext cx="1767676" cy="70707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In business language</a:t>
          </a:r>
        </a:p>
      </dsp:txBody>
      <dsp:txXfrm>
        <a:off x="2207778" y="1486575"/>
        <a:ext cx="1060606" cy="707070"/>
      </dsp:txXfrm>
    </dsp:sp>
    <dsp:sp modelId="{7610C866-F6A5-48C7-93D0-153676A8C665}">
      <dsp:nvSpPr>
        <dsp:cNvPr id="0" name=""/>
        <dsp:cNvSpPr/>
      </dsp:nvSpPr>
      <dsp:spPr>
        <a:xfrm>
          <a:off x="3374445" y="1486575"/>
          <a:ext cx="1767676" cy="70707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Fit/FitNesse</a:t>
          </a:r>
        </a:p>
      </dsp:txBody>
      <dsp:txXfrm>
        <a:off x="3727980" y="1486575"/>
        <a:ext cx="1060606" cy="707070"/>
      </dsp:txXfrm>
    </dsp:sp>
    <dsp:sp modelId="{E2E51B3C-AF33-4CCD-9531-7EA698AB704A}">
      <dsp:nvSpPr>
        <dsp:cNvPr id="0" name=""/>
        <dsp:cNvSpPr/>
      </dsp:nvSpPr>
      <dsp:spPr>
        <a:xfrm>
          <a:off x="1378" y="2385321"/>
          <a:ext cx="2129730" cy="851892"/>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12065" rIns="0" bIns="12065" numCol="1" spcCol="1270" anchor="ctr" anchorCtr="0">
          <a:noAutofit/>
        </a:bodyPr>
        <a:lstStyle/>
        <a:p>
          <a:pPr marL="0" lvl="0" indent="0" algn="ctr" defTabSz="844550">
            <a:lnSpc>
              <a:spcPct val="90000"/>
            </a:lnSpc>
            <a:spcBef>
              <a:spcPct val="0"/>
            </a:spcBef>
            <a:spcAft>
              <a:spcPct val="35000"/>
            </a:spcAft>
            <a:buNone/>
          </a:pPr>
          <a:r>
            <a:rPr lang="en-US" sz="1900" kern="1200" dirty="0"/>
            <a:t>Unit Tests</a:t>
          </a:r>
        </a:p>
      </dsp:txBody>
      <dsp:txXfrm>
        <a:off x="427324" y="2385321"/>
        <a:ext cx="1277838" cy="851892"/>
      </dsp:txXfrm>
    </dsp:sp>
    <dsp:sp modelId="{6772B257-20DA-4DAA-8EED-2113AE518C21}">
      <dsp:nvSpPr>
        <dsp:cNvPr id="0" name=""/>
        <dsp:cNvSpPr/>
      </dsp:nvSpPr>
      <dsp:spPr>
        <a:xfrm>
          <a:off x="1854243" y="2457732"/>
          <a:ext cx="1767676" cy="70707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In same language as system</a:t>
          </a:r>
        </a:p>
      </dsp:txBody>
      <dsp:txXfrm>
        <a:off x="2207778" y="2457732"/>
        <a:ext cx="1060606" cy="707070"/>
      </dsp:txXfrm>
    </dsp:sp>
    <dsp:sp modelId="{D792EB1C-EFA5-442E-A360-3FA6F4F5FA07}">
      <dsp:nvSpPr>
        <dsp:cNvPr id="0" name=""/>
        <dsp:cNvSpPr/>
      </dsp:nvSpPr>
      <dsp:spPr>
        <a:xfrm>
          <a:off x="3374445" y="2457732"/>
          <a:ext cx="1767676" cy="70707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xUnit</a:t>
          </a:r>
        </a:p>
      </dsp:txBody>
      <dsp:txXfrm>
        <a:off x="3727980" y="2457732"/>
        <a:ext cx="1060606" cy="70707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E6C6AA-4523-4E1B-8231-1885F43130EC}">
      <dsp:nvSpPr>
        <dsp:cNvPr id="0" name=""/>
        <dsp:cNvSpPr/>
      </dsp:nvSpPr>
      <dsp:spPr>
        <a:xfrm rot="5400000">
          <a:off x="285566" y="995917"/>
          <a:ext cx="854625" cy="1422078"/>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A3AA46C-F283-456E-94B4-E982EB18C004}">
      <dsp:nvSpPr>
        <dsp:cNvPr id="0" name=""/>
        <dsp:cNvSpPr/>
      </dsp:nvSpPr>
      <dsp:spPr>
        <a:xfrm>
          <a:off x="142908" y="1420812"/>
          <a:ext cx="1283860" cy="11253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kern="1200" dirty="0"/>
            <a:t>Release 1</a:t>
          </a:r>
        </a:p>
        <a:p>
          <a:pPr marL="57150" lvl="1" indent="-57150" algn="l" defTabSz="444500">
            <a:lnSpc>
              <a:spcPct val="90000"/>
            </a:lnSpc>
            <a:spcBef>
              <a:spcPct val="0"/>
            </a:spcBef>
            <a:spcAft>
              <a:spcPct val="15000"/>
            </a:spcAft>
            <a:buChar char="•"/>
          </a:pPr>
          <a:r>
            <a:rPr lang="en-US" sz="1000" kern="1200" dirty="0"/>
            <a:t>Design</a:t>
          </a:r>
        </a:p>
        <a:p>
          <a:pPr marL="57150" lvl="1" indent="-57150" algn="l" defTabSz="444500">
            <a:lnSpc>
              <a:spcPct val="90000"/>
            </a:lnSpc>
            <a:spcBef>
              <a:spcPct val="0"/>
            </a:spcBef>
            <a:spcAft>
              <a:spcPct val="15000"/>
            </a:spcAft>
            <a:buChar char="•"/>
          </a:pPr>
          <a:r>
            <a:rPr lang="en-US" sz="1000" kern="1200" dirty="0"/>
            <a:t>Develop</a:t>
          </a:r>
        </a:p>
        <a:p>
          <a:pPr marL="57150" lvl="1" indent="-57150" algn="l" defTabSz="444500">
            <a:lnSpc>
              <a:spcPct val="90000"/>
            </a:lnSpc>
            <a:spcBef>
              <a:spcPct val="0"/>
            </a:spcBef>
            <a:spcAft>
              <a:spcPct val="15000"/>
            </a:spcAft>
            <a:buChar char="•"/>
          </a:pPr>
          <a:r>
            <a:rPr lang="en-US" sz="1000" u="sng" kern="1200" dirty="0"/>
            <a:t>Deploy</a:t>
          </a:r>
        </a:p>
      </dsp:txBody>
      <dsp:txXfrm>
        <a:off x="142908" y="1420812"/>
        <a:ext cx="1283860" cy="1125378"/>
      </dsp:txXfrm>
    </dsp:sp>
    <dsp:sp modelId="{07090AD9-E572-4EAB-91A1-47AEE17AFF49}">
      <dsp:nvSpPr>
        <dsp:cNvPr id="0" name=""/>
        <dsp:cNvSpPr/>
      </dsp:nvSpPr>
      <dsp:spPr>
        <a:xfrm rot="16200000">
          <a:off x="1184530" y="891222"/>
          <a:ext cx="242237" cy="242237"/>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DF0808E-D4A8-4681-9191-CBC2959B6917}">
      <dsp:nvSpPr>
        <dsp:cNvPr id="0" name=""/>
        <dsp:cNvSpPr/>
      </dsp:nvSpPr>
      <dsp:spPr>
        <a:xfrm rot="5400000">
          <a:off x="1857262" y="607000"/>
          <a:ext cx="854625" cy="1422078"/>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2FBD1D4-013A-486A-B10C-88950BE6DEAB}">
      <dsp:nvSpPr>
        <dsp:cNvPr id="0" name=""/>
        <dsp:cNvSpPr/>
      </dsp:nvSpPr>
      <dsp:spPr>
        <a:xfrm>
          <a:off x="1714603" y="1031895"/>
          <a:ext cx="1283860" cy="11253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kern="1200" dirty="0"/>
            <a:t>Release 2</a:t>
          </a:r>
        </a:p>
        <a:p>
          <a:pPr marL="57150" lvl="1" indent="-57150" algn="l" defTabSz="444500">
            <a:lnSpc>
              <a:spcPct val="90000"/>
            </a:lnSpc>
            <a:spcBef>
              <a:spcPct val="0"/>
            </a:spcBef>
            <a:spcAft>
              <a:spcPct val="15000"/>
            </a:spcAft>
            <a:buChar char="•"/>
          </a:pPr>
          <a:r>
            <a:rPr lang="en-US" sz="1000" kern="1200" dirty="0"/>
            <a:t>Design/Refactor</a:t>
          </a:r>
        </a:p>
        <a:p>
          <a:pPr marL="57150" lvl="1" indent="-57150" algn="l" defTabSz="444500">
            <a:lnSpc>
              <a:spcPct val="90000"/>
            </a:lnSpc>
            <a:spcBef>
              <a:spcPct val="0"/>
            </a:spcBef>
            <a:spcAft>
              <a:spcPct val="15000"/>
            </a:spcAft>
            <a:buChar char="•"/>
          </a:pPr>
          <a:r>
            <a:rPr lang="en-US" sz="1000" kern="1200" dirty="0"/>
            <a:t>Develop</a:t>
          </a:r>
        </a:p>
        <a:p>
          <a:pPr marL="57150" lvl="1" indent="-57150" algn="l" defTabSz="444500">
            <a:lnSpc>
              <a:spcPct val="90000"/>
            </a:lnSpc>
            <a:spcBef>
              <a:spcPct val="0"/>
            </a:spcBef>
            <a:spcAft>
              <a:spcPct val="15000"/>
            </a:spcAft>
            <a:buChar char="•"/>
          </a:pPr>
          <a:r>
            <a:rPr lang="en-US" sz="1000" u="sng" kern="1200" dirty="0"/>
            <a:t>Deploy</a:t>
          </a:r>
        </a:p>
      </dsp:txBody>
      <dsp:txXfrm>
        <a:off x="1714603" y="1031895"/>
        <a:ext cx="1283860" cy="1125378"/>
      </dsp:txXfrm>
    </dsp:sp>
    <dsp:sp modelId="{175FA4E2-FB2B-4B09-B52E-220453014EF6}">
      <dsp:nvSpPr>
        <dsp:cNvPr id="0" name=""/>
        <dsp:cNvSpPr/>
      </dsp:nvSpPr>
      <dsp:spPr>
        <a:xfrm rot="16200000">
          <a:off x="2756226" y="502305"/>
          <a:ext cx="242237" cy="242237"/>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DDD43F9-0967-4DB6-97A7-E19276369394}">
      <dsp:nvSpPr>
        <dsp:cNvPr id="0" name=""/>
        <dsp:cNvSpPr/>
      </dsp:nvSpPr>
      <dsp:spPr>
        <a:xfrm rot="5400000">
          <a:off x="3428957" y="218082"/>
          <a:ext cx="854625" cy="1422078"/>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5EA32A1-7A40-4305-B996-6DDAFF2E72AB}">
      <dsp:nvSpPr>
        <dsp:cNvPr id="0" name=""/>
        <dsp:cNvSpPr/>
      </dsp:nvSpPr>
      <dsp:spPr>
        <a:xfrm>
          <a:off x="3286299" y="642977"/>
          <a:ext cx="1283860" cy="11253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kern="1200" dirty="0"/>
            <a:t>Release 3</a:t>
          </a:r>
        </a:p>
        <a:p>
          <a:pPr marL="57150" lvl="1" indent="-57150" algn="l" defTabSz="444500">
            <a:lnSpc>
              <a:spcPct val="90000"/>
            </a:lnSpc>
            <a:spcBef>
              <a:spcPct val="0"/>
            </a:spcBef>
            <a:spcAft>
              <a:spcPct val="15000"/>
            </a:spcAft>
            <a:buChar char="•"/>
          </a:pPr>
          <a:r>
            <a:rPr lang="en-US" sz="1000" kern="1200" dirty="0"/>
            <a:t>Design/Refactor</a:t>
          </a:r>
        </a:p>
        <a:p>
          <a:pPr marL="57150" lvl="1" indent="-57150" algn="l" defTabSz="444500">
            <a:lnSpc>
              <a:spcPct val="90000"/>
            </a:lnSpc>
            <a:spcBef>
              <a:spcPct val="0"/>
            </a:spcBef>
            <a:spcAft>
              <a:spcPct val="15000"/>
            </a:spcAft>
            <a:buChar char="•"/>
          </a:pPr>
          <a:r>
            <a:rPr lang="en-US" sz="1000" kern="1200" dirty="0"/>
            <a:t>Develop</a:t>
          </a:r>
        </a:p>
        <a:p>
          <a:pPr marL="57150" lvl="1" indent="-57150" algn="l" defTabSz="444500">
            <a:lnSpc>
              <a:spcPct val="90000"/>
            </a:lnSpc>
            <a:spcBef>
              <a:spcPct val="0"/>
            </a:spcBef>
            <a:spcAft>
              <a:spcPct val="15000"/>
            </a:spcAft>
            <a:buChar char="•"/>
          </a:pPr>
          <a:r>
            <a:rPr lang="en-US" sz="1000" u="sng" kern="1200" dirty="0"/>
            <a:t>Deploy</a:t>
          </a:r>
        </a:p>
      </dsp:txBody>
      <dsp:txXfrm>
        <a:off x="3286299" y="642977"/>
        <a:ext cx="1283860" cy="112537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E6C6AA-4523-4E1B-8231-1885F43130EC}">
      <dsp:nvSpPr>
        <dsp:cNvPr id="0" name=""/>
        <dsp:cNvSpPr/>
      </dsp:nvSpPr>
      <dsp:spPr>
        <a:xfrm rot="5400000">
          <a:off x="285566" y="995917"/>
          <a:ext cx="854625" cy="1422078"/>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A3AA46C-F283-456E-94B4-E982EB18C004}">
      <dsp:nvSpPr>
        <dsp:cNvPr id="0" name=""/>
        <dsp:cNvSpPr/>
      </dsp:nvSpPr>
      <dsp:spPr>
        <a:xfrm>
          <a:off x="142908" y="1420812"/>
          <a:ext cx="1283860" cy="11253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kern="1200" dirty="0"/>
            <a:t>Release 1</a:t>
          </a:r>
        </a:p>
        <a:p>
          <a:pPr marL="57150" lvl="1" indent="-57150" algn="l" defTabSz="444500">
            <a:lnSpc>
              <a:spcPct val="90000"/>
            </a:lnSpc>
            <a:spcBef>
              <a:spcPct val="0"/>
            </a:spcBef>
            <a:spcAft>
              <a:spcPct val="15000"/>
            </a:spcAft>
            <a:buChar char="•"/>
          </a:pPr>
          <a:r>
            <a:rPr lang="en-US" sz="1000" kern="1200" dirty="0"/>
            <a:t>Design</a:t>
          </a:r>
        </a:p>
        <a:p>
          <a:pPr marL="57150" lvl="1" indent="-57150" algn="l" defTabSz="444500">
            <a:lnSpc>
              <a:spcPct val="90000"/>
            </a:lnSpc>
            <a:spcBef>
              <a:spcPct val="0"/>
            </a:spcBef>
            <a:spcAft>
              <a:spcPct val="15000"/>
            </a:spcAft>
            <a:buChar char="•"/>
          </a:pPr>
          <a:r>
            <a:rPr lang="en-US" sz="1000" kern="1200" dirty="0"/>
            <a:t>Develop</a:t>
          </a:r>
        </a:p>
        <a:p>
          <a:pPr marL="57150" lvl="1" indent="-57150" algn="l" defTabSz="444500">
            <a:lnSpc>
              <a:spcPct val="90000"/>
            </a:lnSpc>
            <a:spcBef>
              <a:spcPct val="0"/>
            </a:spcBef>
            <a:spcAft>
              <a:spcPct val="15000"/>
            </a:spcAft>
            <a:buChar char="•"/>
          </a:pPr>
          <a:r>
            <a:rPr lang="en-US" sz="1000" u="sng" kern="1200" dirty="0"/>
            <a:t>Deploy</a:t>
          </a:r>
        </a:p>
      </dsp:txBody>
      <dsp:txXfrm>
        <a:off x="142908" y="1420812"/>
        <a:ext cx="1283860" cy="1125378"/>
      </dsp:txXfrm>
    </dsp:sp>
    <dsp:sp modelId="{07090AD9-E572-4EAB-91A1-47AEE17AFF49}">
      <dsp:nvSpPr>
        <dsp:cNvPr id="0" name=""/>
        <dsp:cNvSpPr/>
      </dsp:nvSpPr>
      <dsp:spPr>
        <a:xfrm rot="16200000">
          <a:off x="1184530" y="891222"/>
          <a:ext cx="242237" cy="242237"/>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DF0808E-D4A8-4681-9191-CBC2959B6917}">
      <dsp:nvSpPr>
        <dsp:cNvPr id="0" name=""/>
        <dsp:cNvSpPr/>
      </dsp:nvSpPr>
      <dsp:spPr>
        <a:xfrm rot="5400000">
          <a:off x="1857262" y="607000"/>
          <a:ext cx="854625" cy="1422078"/>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2FBD1D4-013A-486A-B10C-88950BE6DEAB}">
      <dsp:nvSpPr>
        <dsp:cNvPr id="0" name=""/>
        <dsp:cNvSpPr/>
      </dsp:nvSpPr>
      <dsp:spPr>
        <a:xfrm>
          <a:off x="1714603" y="1031895"/>
          <a:ext cx="1283860" cy="11253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kern="1200" dirty="0"/>
            <a:t>Release 2</a:t>
          </a:r>
        </a:p>
        <a:p>
          <a:pPr marL="57150" lvl="1" indent="-57150" algn="l" defTabSz="444500">
            <a:lnSpc>
              <a:spcPct val="90000"/>
            </a:lnSpc>
            <a:spcBef>
              <a:spcPct val="0"/>
            </a:spcBef>
            <a:spcAft>
              <a:spcPct val="15000"/>
            </a:spcAft>
            <a:buChar char="•"/>
          </a:pPr>
          <a:r>
            <a:rPr lang="en-US" sz="1000" kern="1200" dirty="0"/>
            <a:t>Design/Refactor</a:t>
          </a:r>
        </a:p>
        <a:p>
          <a:pPr marL="57150" lvl="1" indent="-57150" algn="l" defTabSz="444500">
            <a:lnSpc>
              <a:spcPct val="90000"/>
            </a:lnSpc>
            <a:spcBef>
              <a:spcPct val="0"/>
            </a:spcBef>
            <a:spcAft>
              <a:spcPct val="15000"/>
            </a:spcAft>
            <a:buChar char="•"/>
          </a:pPr>
          <a:r>
            <a:rPr lang="en-US" sz="1000" kern="1200" dirty="0"/>
            <a:t>Develop</a:t>
          </a:r>
        </a:p>
        <a:p>
          <a:pPr marL="57150" lvl="1" indent="-57150" algn="l" defTabSz="444500">
            <a:lnSpc>
              <a:spcPct val="90000"/>
            </a:lnSpc>
            <a:spcBef>
              <a:spcPct val="0"/>
            </a:spcBef>
            <a:spcAft>
              <a:spcPct val="15000"/>
            </a:spcAft>
            <a:buChar char="•"/>
          </a:pPr>
          <a:r>
            <a:rPr lang="en-US" sz="1000" u="sng" kern="1200" dirty="0"/>
            <a:t>Deploy</a:t>
          </a:r>
        </a:p>
      </dsp:txBody>
      <dsp:txXfrm>
        <a:off x="1714603" y="1031895"/>
        <a:ext cx="1283860" cy="1125378"/>
      </dsp:txXfrm>
    </dsp:sp>
    <dsp:sp modelId="{175FA4E2-FB2B-4B09-B52E-220453014EF6}">
      <dsp:nvSpPr>
        <dsp:cNvPr id="0" name=""/>
        <dsp:cNvSpPr/>
      </dsp:nvSpPr>
      <dsp:spPr>
        <a:xfrm rot="16200000">
          <a:off x="2756226" y="502305"/>
          <a:ext cx="242237" cy="242237"/>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DDD43F9-0967-4DB6-97A7-E19276369394}">
      <dsp:nvSpPr>
        <dsp:cNvPr id="0" name=""/>
        <dsp:cNvSpPr/>
      </dsp:nvSpPr>
      <dsp:spPr>
        <a:xfrm rot="5400000">
          <a:off x="3428957" y="218082"/>
          <a:ext cx="854625" cy="1422078"/>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5EA32A1-7A40-4305-B996-6DDAFF2E72AB}">
      <dsp:nvSpPr>
        <dsp:cNvPr id="0" name=""/>
        <dsp:cNvSpPr/>
      </dsp:nvSpPr>
      <dsp:spPr>
        <a:xfrm>
          <a:off x="3286299" y="642977"/>
          <a:ext cx="1283860" cy="11253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kern="1200" dirty="0"/>
            <a:t>Release 3</a:t>
          </a:r>
        </a:p>
        <a:p>
          <a:pPr marL="57150" lvl="1" indent="-57150" algn="l" defTabSz="444500">
            <a:lnSpc>
              <a:spcPct val="90000"/>
            </a:lnSpc>
            <a:spcBef>
              <a:spcPct val="0"/>
            </a:spcBef>
            <a:spcAft>
              <a:spcPct val="15000"/>
            </a:spcAft>
            <a:buChar char="•"/>
          </a:pPr>
          <a:r>
            <a:rPr lang="en-US" sz="1000" kern="1200" dirty="0"/>
            <a:t>Design/Refactor</a:t>
          </a:r>
        </a:p>
        <a:p>
          <a:pPr marL="57150" lvl="1" indent="-57150" algn="l" defTabSz="444500">
            <a:lnSpc>
              <a:spcPct val="90000"/>
            </a:lnSpc>
            <a:spcBef>
              <a:spcPct val="0"/>
            </a:spcBef>
            <a:spcAft>
              <a:spcPct val="15000"/>
            </a:spcAft>
            <a:buChar char="•"/>
          </a:pPr>
          <a:r>
            <a:rPr lang="en-US" sz="1000" kern="1200" dirty="0"/>
            <a:t>Develop</a:t>
          </a:r>
        </a:p>
        <a:p>
          <a:pPr marL="57150" lvl="1" indent="-57150" algn="l" defTabSz="444500">
            <a:lnSpc>
              <a:spcPct val="90000"/>
            </a:lnSpc>
            <a:spcBef>
              <a:spcPct val="0"/>
            </a:spcBef>
            <a:spcAft>
              <a:spcPct val="15000"/>
            </a:spcAft>
            <a:buChar char="•"/>
          </a:pPr>
          <a:r>
            <a:rPr lang="en-US" sz="1000" u="sng" kern="1200" dirty="0"/>
            <a:t>Deploy</a:t>
          </a:r>
        </a:p>
      </dsp:txBody>
      <dsp:txXfrm>
        <a:off x="3286299" y="642977"/>
        <a:ext cx="1283860" cy="112537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4ED8AB-E685-4214-B48C-6937F412BEDB}">
      <dsp:nvSpPr>
        <dsp:cNvPr id="0" name=""/>
        <dsp:cNvSpPr/>
      </dsp:nvSpPr>
      <dsp:spPr>
        <a:xfrm>
          <a:off x="365918" y="0"/>
          <a:ext cx="2697162" cy="2697162"/>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733550">
            <a:lnSpc>
              <a:spcPct val="90000"/>
            </a:lnSpc>
            <a:spcBef>
              <a:spcPct val="0"/>
            </a:spcBef>
            <a:spcAft>
              <a:spcPct val="35000"/>
            </a:spcAft>
            <a:buNone/>
          </a:pPr>
          <a:r>
            <a:rPr lang="en-US" sz="3900" kern="1200" dirty="0"/>
            <a:t>Product Owner</a:t>
          </a:r>
        </a:p>
      </dsp:txBody>
      <dsp:txXfrm>
        <a:off x="760908" y="394990"/>
        <a:ext cx="1907182" cy="190718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4ED8AB-E685-4214-B48C-6937F412BEDB}">
      <dsp:nvSpPr>
        <dsp:cNvPr id="0" name=""/>
        <dsp:cNvSpPr/>
      </dsp:nvSpPr>
      <dsp:spPr>
        <a:xfrm>
          <a:off x="365918" y="0"/>
          <a:ext cx="2697162" cy="2697162"/>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955800">
            <a:lnSpc>
              <a:spcPct val="90000"/>
            </a:lnSpc>
            <a:spcBef>
              <a:spcPct val="0"/>
            </a:spcBef>
            <a:spcAft>
              <a:spcPct val="35000"/>
            </a:spcAft>
            <a:buNone/>
          </a:pPr>
          <a:r>
            <a:rPr lang="en-US" sz="4400" kern="1200" dirty="0"/>
            <a:t>Scrum Master</a:t>
          </a:r>
        </a:p>
      </dsp:txBody>
      <dsp:txXfrm>
        <a:off x="760908" y="394990"/>
        <a:ext cx="1907182" cy="190718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7A7DC8-9FBB-4F79-93B3-9340D16E390E}">
      <dsp:nvSpPr>
        <dsp:cNvPr id="0" name=""/>
        <dsp:cNvSpPr/>
      </dsp:nvSpPr>
      <dsp:spPr>
        <a:xfrm>
          <a:off x="365918" y="0"/>
          <a:ext cx="2697162" cy="2697162"/>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044700">
            <a:lnSpc>
              <a:spcPct val="90000"/>
            </a:lnSpc>
            <a:spcBef>
              <a:spcPct val="0"/>
            </a:spcBef>
            <a:spcAft>
              <a:spcPct val="35000"/>
            </a:spcAft>
            <a:buNone/>
          </a:pPr>
          <a:r>
            <a:rPr lang="en-US" sz="4600" kern="1200" dirty="0"/>
            <a:t>Scrum Team</a:t>
          </a:r>
        </a:p>
      </dsp:txBody>
      <dsp:txXfrm>
        <a:off x="760908" y="394990"/>
        <a:ext cx="1907182" cy="190718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6DC10A-2B51-4D24-AC92-3101E160DF50}">
      <dsp:nvSpPr>
        <dsp:cNvPr id="0" name=""/>
        <dsp:cNvSpPr/>
      </dsp:nvSpPr>
      <dsp:spPr>
        <a:xfrm>
          <a:off x="1045781" y="27863"/>
          <a:ext cx="1337436" cy="1337436"/>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r>
            <a:rPr lang="en-US" sz="1500" kern="1200" dirty="0"/>
            <a:t>Customer</a:t>
          </a:r>
        </a:p>
      </dsp:txBody>
      <dsp:txXfrm>
        <a:off x="1224106" y="261914"/>
        <a:ext cx="980786" cy="601846"/>
      </dsp:txXfrm>
    </dsp:sp>
    <dsp:sp modelId="{F43BE87E-95CE-4EF1-B463-7836B08DA378}">
      <dsp:nvSpPr>
        <dsp:cNvPr id="0" name=""/>
        <dsp:cNvSpPr/>
      </dsp:nvSpPr>
      <dsp:spPr>
        <a:xfrm>
          <a:off x="1528373" y="863760"/>
          <a:ext cx="1337436" cy="1337436"/>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r>
            <a:rPr lang="en-US" sz="1500" kern="1200" dirty="0"/>
            <a:t>Product Owner</a:t>
          </a:r>
        </a:p>
      </dsp:txBody>
      <dsp:txXfrm>
        <a:off x="1937406" y="1209265"/>
        <a:ext cx="802461" cy="735589"/>
      </dsp:txXfrm>
    </dsp:sp>
    <dsp:sp modelId="{AA7884F9-5E2B-4D96-9B51-DC3F2A5FFE5B}">
      <dsp:nvSpPr>
        <dsp:cNvPr id="0" name=""/>
        <dsp:cNvSpPr/>
      </dsp:nvSpPr>
      <dsp:spPr>
        <a:xfrm>
          <a:off x="563190" y="863760"/>
          <a:ext cx="1337436" cy="1337436"/>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r>
            <a:rPr lang="en-US" sz="1500" kern="1200" dirty="0"/>
            <a:t>Scrum Team</a:t>
          </a:r>
        </a:p>
      </dsp:txBody>
      <dsp:txXfrm>
        <a:off x="689132" y="1209265"/>
        <a:ext cx="802461" cy="73558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33EF50-F10A-4F25-A078-A0AF7C552D13}">
      <dsp:nvSpPr>
        <dsp:cNvPr id="0" name=""/>
        <dsp:cNvSpPr/>
      </dsp:nvSpPr>
      <dsp:spPr>
        <a:xfrm>
          <a:off x="1942" y="179418"/>
          <a:ext cx="1698352" cy="1698352"/>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93466" tIns="20320" rIns="93466" bIns="20320" numCol="1" spcCol="1270" anchor="ctr" anchorCtr="0">
          <a:noAutofit/>
        </a:bodyPr>
        <a:lstStyle/>
        <a:p>
          <a:pPr marL="0" lvl="0" indent="0" algn="ctr" defTabSz="711200">
            <a:lnSpc>
              <a:spcPct val="90000"/>
            </a:lnSpc>
            <a:spcBef>
              <a:spcPct val="0"/>
            </a:spcBef>
            <a:spcAft>
              <a:spcPct val="35000"/>
            </a:spcAft>
            <a:buNone/>
          </a:pPr>
          <a:r>
            <a:rPr lang="en-US" sz="1600" kern="1200" dirty="0"/>
            <a:t>Customer</a:t>
          </a:r>
        </a:p>
      </dsp:txBody>
      <dsp:txXfrm>
        <a:off x="250660" y="428136"/>
        <a:ext cx="1200916" cy="1200916"/>
      </dsp:txXfrm>
    </dsp:sp>
    <dsp:sp modelId="{FD18FF4C-53D3-441C-9CF5-FA97DC1D9714}">
      <dsp:nvSpPr>
        <dsp:cNvPr id="0" name=""/>
        <dsp:cNvSpPr/>
      </dsp:nvSpPr>
      <dsp:spPr>
        <a:xfrm>
          <a:off x="1360623" y="179418"/>
          <a:ext cx="1698352" cy="1698352"/>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93466" tIns="20320" rIns="93466" bIns="20320" numCol="1" spcCol="1270" anchor="ctr" anchorCtr="0">
          <a:noAutofit/>
        </a:bodyPr>
        <a:lstStyle/>
        <a:p>
          <a:pPr marL="0" lvl="0" indent="0" algn="ctr" defTabSz="711200">
            <a:lnSpc>
              <a:spcPct val="90000"/>
            </a:lnSpc>
            <a:spcBef>
              <a:spcPct val="0"/>
            </a:spcBef>
            <a:spcAft>
              <a:spcPct val="35000"/>
            </a:spcAft>
            <a:buNone/>
          </a:pPr>
          <a:r>
            <a:rPr lang="en-US" sz="1600" kern="1200" dirty="0"/>
            <a:t>Product Owner</a:t>
          </a:r>
        </a:p>
      </dsp:txBody>
      <dsp:txXfrm>
        <a:off x="1609341" y="428136"/>
        <a:ext cx="1200916" cy="1200916"/>
      </dsp:txXfrm>
    </dsp:sp>
    <dsp:sp modelId="{F4FF31C3-F028-4016-BB9C-2D2723B3A733}">
      <dsp:nvSpPr>
        <dsp:cNvPr id="0" name=""/>
        <dsp:cNvSpPr/>
      </dsp:nvSpPr>
      <dsp:spPr>
        <a:xfrm>
          <a:off x="2719305" y="179418"/>
          <a:ext cx="1698352" cy="1698352"/>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93466" tIns="20320" rIns="93466" bIns="20320" numCol="1" spcCol="1270" anchor="ctr" anchorCtr="0">
          <a:noAutofit/>
        </a:bodyPr>
        <a:lstStyle/>
        <a:p>
          <a:pPr marL="0" lvl="0" indent="0" algn="ctr" defTabSz="711200">
            <a:lnSpc>
              <a:spcPct val="90000"/>
            </a:lnSpc>
            <a:spcBef>
              <a:spcPct val="0"/>
            </a:spcBef>
            <a:spcAft>
              <a:spcPct val="35000"/>
            </a:spcAft>
            <a:buNone/>
          </a:pPr>
          <a:r>
            <a:rPr lang="en-US" sz="1600" kern="1200" dirty="0"/>
            <a:t>Scrum Team</a:t>
          </a:r>
        </a:p>
      </dsp:txBody>
      <dsp:txXfrm>
        <a:off x="2968023" y="428136"/>
        <a:ext cx="1200916" cy="120091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A0F124-6DDA-45B3-8535-D22CB3C75689}">
      <dsp:nvSpPr>
        <dsp:cNvPr id="0" name=""/>
        <dsp:cNvSpPr/>
      </dsp:nvSpPr>
      <dsp:spPr>
        <a:xfrm rot="5400000">
          <a:off x="4748213" y="-1897163"/>
          <a:ext cx="859764" cy="4873501"/>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rtl="0">
            <a:lnSpc>
              <a:spcPct val="90000"/>
            </a:lnSpc>
            <a:spcBef>
              <a:spcPct val="0"/>
            </a:spcBef>
            <a:spcAft>
              <a:spcPct val="15000"/>
            </a:spcAft>
            <a:buChar char="•"/>
          </a:pPr>
          <a:r>
            <a:rPr lang="en-US" sz="1800" kern="1200" dirty="0"/>
            <a:t>Be cathedral builders not stone cutters</a:t>
          </a:r>
        </a:p>
        <a:p>
          <a:pPr marL="171450" lvl="1" indent="-171450" algn="l" defTabSz="800100" rtl="0">
            <a:lnSpc>
              <a:spcPct val="90000"/>
            </a:lnSpc>
            <a:spcBef>
              <a:spcPct val="0"/>
            </a:spcBef>
            <a:spcAft>
              <a:spcPct val="15000"/>
            </a:spcAft>
            <a:buChar char="•"/>
          </a:pPr>
          <a:r>
            <a:rPr lang="en-US" sz="1800" kern="1200" dirty="0"/>
            <a:t>Collective ownership</a:t>
          </a:r>
        </a:p>
      </dsp:txBody>
      <dsp:txXfrm rot="-5400000">
        <a:off x="2741345" y="151675"/>
        <a:ext cx="4831531" cy="775824"/>
      </dsp:txXfrm>
    </dsp:sp>
    <dsp:sp modelId="{0E8D0E00-445C-4B7E-A613-4DCF2C1683C2}">
      <dsp:nvSpPr>
        <dsp:cNvPr id="0" name=""/>
        <dsp:cNvSpPr/>
      </dsp:nvSpPr>
      <dsp:spPr>
        <a:xfrm>
          <a:off x="0" y="2234"/>
          <a:ext cx="2741344" cy="107470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US" sz="2400" kern="1200" dirty="0"/>
            <a:t>Testers are part of the team</a:t>
          </a:r>
        </a:p>
      </dsp:txBody>
      <dsp:txXfrm>
        <a:off x="52463" y="54697"/>
        <a:ext cx="2636418" cy="969779"/>
      </dsp:txXfrm>
    </dsp:sp>
    <dsp:sp modelId="{F4DA760B-EDCC-48E4-AA03-0F7A8DE0195C}">
      <dsp:nvSpPr>
        <dsp:cNvPr id="0" name=""/>
        <dsp:cNvSpPr/>
      </dsp:nvSpPr>
      <dsp:spPr>
        <a:xfrm rot="5400000">
          <a:off x="4748213" y="-768723"/>
          <a:ext cx="859764" cy="4873501"/>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rtl="0">
            <a:lnSpc>
              <a:spcPct val="90000"/>
            </a:lnSpc>
            <a:spcBef>
              <a:spcPct val="0"/>
            </a:spcBef>
            <a:spcAft>
              <a:spcPct val="15000"/>
            </a:spcAft>
            <a:buChar char="•"/>
          </a:pPr>
          <a:r>
            <a:rPr lang="en-US" sz="1800" kern="1200" dirty="0">
              <a:solidFill>
                <a:srgbClr val="000000">
                  <a:hueOff val="0"/>
                  <a:satOff val="0"/>
                  <a:lumOff val="0"/>
                  <a:alphaOff val="0"/>
                </a:srgbClr>
              </a:solidFill>
              <a:latin typeface="Verdana"/>
              <a:ea typeface="+mn-ea"/>
              <a:cs typeface="+mn-cs"/>
            </a:rPr>
            <a:t>Drop the “Quality Police” mindset</a:t>
          </a:r>
        </a:p>
        <a:p>
          <a:pPr marL="171450" lvl="1" indent="-171450" algn="l" defTabSz="800100" rtl="0">
            <a:lnSpc>
              <a:spcPct val="90000"/>
            </a:lnSpc>
            <a:spcBef>
              <a:spcPct val="0"/>
            </a:spcBef>
            <a:spcAft>
              <a:spcPct val="15000"/>
            </a:spcAft>
            <a:buChar char="•"/>
          </a:pPr>
          <a:r>
            <a:rPr lang="en-US" sz="1800" kern="1200" dirty="0">
              <a:solidFill>
                <a:srgbClr val="000000">
                  <a:hueOff val="0"/>
                  <a:satOff val="0"/>
                  <a:lumOff val="0"/>
                  <a:alphaOff val="0"/>
                </a:srgbClr>
              </a:solidFill>
              <a:latin typeface="Verdana"/>
              <a:ea typeface="+mn-ea"/>
              <a:cs typeface="+mn-cs"/>
            </a:rPr>
            <a:t>Focus on team goals &amp; </a:t>
          </a:r>
          <a:r>
            <a:rPr lang="en-US" sz="2000" kern="1200" dirty="0"/>
            <a:t>customer value</a:t>
          </a:r>
        </a:p>
      </dsp:txBody>
      <dsp:txXfrm rot="-5400000">
        <a:off x="2741345" y="1280115"/>
        <a:ext cx="4831531" cy="775824"/>
      </dsp:txXfrm>
    </dsp:sp>
    <dsp:sp modelId="{09D42559-622F-4A65-9971-90B8777C5D23}">
      <dsp:nvSpPr>
        <dsp:cNvPr id="0" name=""/>
        <dsp:cNvSpPr/>
      </dsp:nvSpPr>
      <dsp:spPr>
        <a:xfrm>
          <a:off x="0" y="1130675"/>
          <a:ext cx="2741344" cy="107470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US" sz="2400" kern="1200" dirty="0"/>
            <a:t>Agile testing mindset</a:t>
          </a:r>
        </a:p>
      </dsp:txBody>
      <dsp:txXfrm>
        <a:off x="52463" y="1183138"/>
        <a:ext cx="2636418" cy="969779"/>
      </dsp:txXfrm>
    </dsp:sp>
    <dsp:sp modelId="{033FFAF6-6223-4290-89C7-3AB05296A6FA}">
      <dsp:nvSpPr>
        <dsp:cNvPr id="0" name=""/>
        <dsp:cNvSpPr/>
      </dsp:nvSpPr>
      <dsp:spPr>
        <a:xfrm rot="5400000">
          <a:off x="4748213" y="359717"/>
          <a:ext cx="859764" cy="4873501"/>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rtl="0">
            <a:lnSpc>
              <a:spcPct val="90000"/>
            </a:lnSpc>
            <a:spcBef>
              <a:spcPct val="0"/>
            </a:spcBef>
            <a:spcAft>
              <a:spcPct val="15000"/>
            </a:spcAft>
            <a:buChar char="•"/>
          </a:pPr>
          <a:r>
            <a:rPr lang="en-US" sz="2000" kern="1200" dirty="0"/>
            <a:t>Automate tests wherever practical</a:t>
          </a:r>
        </a:p>
        <a:p>
          <a:pPr marL="228600" lvl="1" indent="-228600" algn="l" defTabSz="889000" rtl="0">
            <a:lnSpc>
              <a:spcPct val="90000"/>
            </a:lnSpc>
            <a:spcBef>
              <a:spcPct val="0"/>
            </a:spcBef>
            <a:spcAft>
              <a:spcPct val="15000"/>
            </a:spcAft>
            <a:buChar char="•"/>
          </a:pPr>
          <a:r>
            <a:rPr lang="en-US" sz="2000" kern="1200" dirty="0"/>
            <a:t>Need rapid feedback</a:t>
          </a:r>
        </a:p>
      </dsp:txBody>
      <dsp:txXfrm rot="-5400000">
        <a:off x="2741345" y="2408555"/>
        <a:ext cx="4831531" cy="775824"/>
      </dsp:txXfrm>
    </dsp:sp>
    <dsp:sp modelId="{62A5F900-49F2-4B83-A4DC-8A3CE0FCE05B}">
      <dsp:nvSpPr>
        <dsp:cNvPr id="0" name=""/>
        <dsp:cNvSpPr/>
      </dsp:nvSpPr>
      <dsp:spPr>
        <a:xfrm>
          <a:off x="0" y="2259115"/>
          <a:ext cx="2741344" cy="107470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US" sz="2400" kern="1200" dirty="0"/>
            <a:t>Automate tests</a:t>
          </a:r>
        </a:p>
      </dsp:txBody>
      <dsp:txXfrm>
        <a:off x="52463" y="2311578"/>
        <a:ext cx="2636418" cy="969779"/>
      </dsp:txXfrm>
    </dsp:sp>
    <dsp:sp modelId="{E08B3F25-810C-4FCA-B74C-1B9D5DCA7F2C}">
      <dsp:nvSpPr>
        <dsp:cNvPr id="0" name=""/>
        <dsp:cNvSpPr/>
      </dsp:nvSpPr>
      <dsp:spPr>
        <a:xfrm rot="5400000">
          <a:off x="4748213" y="1488158"/>
          <a:ext cx="859764" cy="4873501"/>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rtl="0">
            <a:lnSpc>
              <a:spcPct val="90000"/>
            </a:lnSpc>
            <a:spcBef>
              <a:spcPct val="0"/>
            </a:spcBef>
            <a:spcAft>
              <a:spcPct val="15000"/>
            </a:spcAft>
            <a:buChar char="•"/>
          </a:pPr>
          <a:r>
            <a:rPr lang="en-US" sz="2000" kern="1200" dirty="0"/>
            <a:t>Balance against developer focus on technical implementation</a:t>
          </a:r>
        </a:p>
        <a:p>
          <a:pPr marL="228600" lvl="1" indent="-228600" algn="l" defTabSz="889000" rtl="0">
            <a:lnSpc>
              <a:spcPct val="90000"/>
            </a:lnSpc>
            <a:spcBef>
              <a:spcPct val="0"/>
            </a:spcBef>
            <a:spcAft>
              <a:spcPct val="15000"/>
            </a:spcAft>
            <a:buChar char="•"/>
          </a:pPr>
          <a:r>
            <a:rPr lang="en-US" sz="2000" kern="1200" dirty="0"/>
            <a:t>Use agile test matrix as guide</a:t>
          </a:r>
        </a:p>
      </dsp:txBody>
      <dsp:txXfrm rot="-5400000">
        <a:off x="2741345" y="3536996"/>
        <a:ext cx="4831531" cy="775824"/>
      </dsp:txXfrm>
    </dsp:sp>
    <dsp:sp modelId="{9873D82E-601D-4EB8-B8E8-AAC23DEE7278}">
      <dsp:nvSpPr>
        <dsp:cNvPr id="0" name=""/>
        <dsp:cNvSpPr/>
      </dsp:nvSpPr>
      <dsp:spPr>
        <a:xfrm>
          <a:off x="0" y="3387556"/>
          <a:ext cx="2741344" cy="107470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US" sz="2400" kern="1200" dirty="0"/>
            <a:t>Look at the big picture</a:t>
          </a:r>
        </a:p>
      </dsp:txBody>
      <dsp:txXfrm>
        <a:off x="52463" y="3440019"/>
        <a:ext cx="2636418" cy="969779"/>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12.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14.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8.png"/></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4.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ußzeilenplatzhalter 5"/>
          <p:cNvSpPr>
            <a:spLocks noGrp="1"/>
          </p:cNvSpPr>
          <p:nvPr>
            <p:ph type="ftr" sz="quarter" idx="4"/>
          </p:nvPr>
        </p:nvSpPr>
        <p:spPr>
          <a:xfrm>
            <a:off x="487785" y="3165500"/>
            <a:ext cx="5925457" cy="216024"/>
          </a:xfrm>
          <a:prstGeom prst="rect">
            <a:avLst/>
          </a:prstGeom>
        </p:spPr>
        <p:txBody>
          <a:bodyPr vert="horz" lIns="0" tIns="0" rIns="0" bIns="0" rtlCol="0" anchor="b"/>
          <a:lstStyle>
            <a:lvl1pPr>
              <a:defRPr lang="de-DE" sz="1200" b="1">
                <a:solidFill>
                  <a:schemeClr val="accent1"/>
                </a:solidFill>
              </a:defRPr>
            </a:lvl1pPr>
          </a:lstStyle>
          <a:p>
            <a:pPr defTabSz="914377"/>
            <a:endParaRPr lang="de-DE" dirty="0"/>
          </a:p>
        </p:txBody>
      </p:sp>
      <p:sp>
        <p:nvSpPr>
          <p:cNvPr id="7" name="Foliennummernplatzhalter 6"/>
          <p:cNvSpPr>
            <a:spLocks noGrp="1"/>
          </p:cNvSpPr>
          <p:nvPr>
            <p:ph type="sldNum" sz="quarter" idx="5"/>
          </p:nvPr>
        </p:nvSpPr>
        <p:spPr>
          <a:xfrm>
            <a:off x="487785" y="8820474"/>
            <a:ext cx="648072" cy="207855"/>
          </a:xfrm>
          <a:prstGeom prst="rect">
            <a:avLst/>
          </a:prstGeom>
        </p:spPr>
        <p:txBody>
          <a:bodyPr vert="horz" lIns="0" tIns="0" rIns="0" bIns="0" rtlCol="0" anchor="b"/>
          <a:lstStyle>
            <a:lvl1pPr>
              <a:defRPr lang="de-DE" sz="1000" smtClean="0">
                <a:solidFill>
                  <a:schemeClr val="accent1"/>
                </a:solidFill>
              </a:defRPr>
            </a:lvl1pPr>
          </a:lstStyle>
          <a:p>
            <a:pPr defTabSz="914377"/>
            <a:fld id="{28182E2C-AC48-45A1-A539-1D63FC6BDE45}" type="slidenum">
              <a:rPr lang="de-DE" smtClean="0"/>
              <a:pPr defTabSz="914377"/>
              <a:t>‹#›</a:t>
            </a:fld>
            <a:endParaRPr lang="de-DE" dirty="0"/>
          </a:p>
        </p:txBody>
      </p:sp>
      <p:sp>
        <p:nvSpPr>
          <p:cNvPr id="9" name="Notes Placeholder 8"/>
          <p:cNvSpPr>
            <a:spLocks noGrp="1"/>
          </p:cNvSpPr>
          <p:nvPr>
            <p:ph type="body" sz="quarter" idx="3"/>
          </p:nvPr>
        </p:nvSpPr>
        <p:spPr>
          <a:xfrm>
            <a:off x="487785" y="3525540"/>
            <a:ext cx="5925457" cy="5159673"/>
          </a:xfrm>
          <a:prstGeom prst="rect">
            <a:avLst/>
          </a:prstGeom>
        </p:spPr>
        <p:txBody>
          <a:bodyPr vert="horz" lIns="0" tIns="36000" rIns="0" bIns="0" rtlCol="0"/>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180000" marR="0" lvl="1" indent="-180000" algn="l" defTabSz="914400" rtl="0" eaLnBrk="1" fontAlgn="auto" latinLnBrk="0" hangingPunct="1">
              <a:lnSpc>
                <a:spcPct val="100000"/>
              </a:lnSpc>
              <a:spcBef>
                <a:spcPts val="300"/>
              </a:spcBef>
              <a:spcAft>
                <a:spcPts val="300"/>
              </a:spcAft>
              <a:buClr>
                <a:srgbClr val="52328F"/>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360000" marR="0" lvl="2" indent="-180000" algn="l" defTabSz="914400" rtl="0" eaLnBrk="1" fontAlgn="auto" latinLnBrk="0" hangingPunct="1">
              <a:lnSpc>
                <a:spcPct val="100000"/>
              </a:lnSpc>
              <a:spcBef>
                <a:spcPts val="300"/>
              </a:spcBef>
              <a:spcAft>
                <a:spcPts val="300"/>
              </a:spcAft>
              <a:buClr>
                <a:srgbClr val="52328F"/>
              </a:buClr>
              <a:buSzTx/>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538163" marR="0" lvl="3" indent="-180000" algn="l" defTabSz="914400" rtl="0" eaLnBrk="1" fontAlgn="auto" latinLnBrk="0" hangingPunct="1">
              <a:lnSpc>
                <a:spcPct val="100000"/>
              </a:lnSpc>
              <a:spcBef>
                <a:spcPts val="300"/>
              </a:spcBef>
              <a:spcAft>
                <a:spcPts val="300"/>
              </a:spcAft>
              <a:buClr>
                <a:srgbClr val="28BECD"/>
              </a:buClr>
              <a:buSzTx/>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720725" marR="0" lvl="4" indent="-180000" algn="l" defTabSz="914400" rtl="0" eaLnBrk="1" fontAlgn="auto" latinLnBrk="0" hangingPunct="1">
              <a:lnSpc>
                <a:spcPct val="100000"/>
              </a:lnSpc>
              <a:spcBef>
                <a:spcPts val="300"/>
              </a:spcBef>
              <a:spcAft>
                <a:spcPts val="300"/>
              </a:spcAft>
              <a:buClr>
                <a:srgbClr val="28BECD"/>
              </a:buClr>
              <a:buSzTx/>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fth level</a:t>
            </a:r>
            <a:endParaRPr kumimoji="0" lang="de-DE"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 name="Slide Image Placeholder 9"/>
          <p:cNvSpPr>
            <a:spLocks noGrp="1" noRot="1" noChangeAspect="1"/>
          </p:cNvSpPr>
          <p:nvPr>
            <p:ph type="sldImg" idx="2"/>
          </p:nvPr>
        </p:nvSpPr>
        <p:spPr>
          <a:xfrm>
            <a:off x="488950" y="357188"/>
            <a:ext cx="4510088" cy="2538412"/>
          </a:xfrm>
          <a:prstGeom prst="rect">
            <a:avLst/>
          </a:prstGeom>
          <a:noFill/>
          <a:ln w="12700">
            <a:solidFill>
              <a:prstClr val="black"/>
            </a:solidFill>
          </a:ln>
        </p:spPr>
        <p:txBody>
          <a:bodyPr vert="horz" lIns="91440" tIns="45720" rIns="91440" bIns="45720" rtlCol="0" anchor="ctr"/>
          <a:lstStyle/>
          <a:p>
            <a:endParaRPr lang="de-DE" dirty="0"/>
          </a:p>
        </p:txBody>
      </p:sp>
    </p:spTree>
    <p:extLst>
      <p:ext uri="{BB962C8B-B14F-4D97-AF65-F5344CB8AC3E}">
        <p14:creationId xmlns:p14="http://schemas.microsoft.com/office/powerpoint/2010/main" val="3519153291"/>
      </p:ext>
    </p:extLst>
  </p:cSld>
  <p:clrMap bg1="lt1" tx1="dk1" bg2="lt2" tx2="dk2" accent1="accent1" accent2="accent2" accent3="accent3" accent4="accent4" accent5="accent5" accent6="accent6" hlink="hlink" folHlink="folHlink"/>
  <p:notes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sz="1200" kern="1200">
        <a:solidFill>
          <a:schemeClr val="tx1"/>
        </a:solidFill>
        <a:latin typeface="+mn-lt"/>
        <a:ea typeface="+mn-ea"/>
        <a:cs typeface="+mn-cs"/>
      </a:defRPr>
    </a:lvl1pPr>
    <a:lvl2pPr marL="180000" marR="0" indent="-180000" algn="l" defTabSz="914400" rtl="0" eaLnBrk="1" fontAlgn="auto" latinLnBrk="0" hangingPunct="1">
      <a:lnSpc>
        <a:spcPct val="100000"/>
      </a:lnSpc>
      <a:spcBef>
        <a:spcPts val="300"/>
      </a:spcBef>
      <a:spcAft>
        <a:spcPts val="300"/>
      </a:spcAft>
      <a:buClr>
        <a:srgbClr val="52328F"/>
      </a:buClr>
      <a:buSzTx/>
      <a:buFont typeface="Wingdings" panose="05000000000000000000" pitchFamily="2" charset="2"/>
      <a:buChar char=""/>
      <a:tabLst/>
      <a:defRPr sz="1200" kern="1200">
        <a:solidFill>
          <a:schemeClr val="tx1"/>
        </a:solidFill>
        <a:latin typeface="+mn-lt"/>
        <a:ea typeface="+mn-ea"/>
        <a:cs typeface="+mn-cs"/>
      </a:defRPr>
    </a:lvl2pPr>
    <a:lvl3pPr marL="360000" marR="0" indent="-180000" algn="l" defTabSz="914400" rtl="0" eaLnBrk="1" fontAlgn="auto" latinLnBrk="0" hangingPunct="1">
      <a:lnSpc>
        <a:spcPct val="100000"/>
      </a:lnSpc>
      <a:spcBef>
        <a:spcPts val="300"/>
      </a:spcBef>
      <a:spcAft>
        <a:spcPts val="300"/>
      </a:spcAft>
      <a:buClr>
        <a:srgbClr val="52328F"/>
      </a:buClr>
      <a:buSzTx/>
      <a:buFont typeface="Symbol" panose="05050102010706020507" pitchFamily="18" charset="2"/>
      <a:buChar char="-"/>
      <a:tabLst/>
      <a:defRPr sz="1200" kern="1200">
        <a:solidFill>
          <a:schemeClr val="tx1"/>
        </a:solidFill>
        <a:latin typeface="+mn-lt"/>
        <a:ea typeface="+mn-ea"/>
        <a:cs typeface="+mn-cs"/>
      </a:defRPr>
    </a:lvl3pPr>
    <a:lvl4pPr marL="538163" marR="0" indent="-180000" algn="l" defTabSz="914400" rtl="0" eaLnBrk="1" fontAlgn="auto" latinLnBrk="0" hangingPunct="1">
      <a:lnSpc>
        <a:spcPct val="100000"/>
      </a:lnSpc>
      <a:spcBef>
        <a:spcPts val="300"/>
      </a:spcBef>
      <a:spcAft>
        <a:spcPts val="300"/>
      </a:spcAft>
      <a:buClr>
        <a:srgbClr val="28BECD"/>
      </a:buClr>
      <a:buSzTx/>
      <a:buFont typeface="Symbol" panose="05050102010706020507" pitchFamily="18" charset="2"/>
      <a:buChar char="-"/>
      <a:tabLst/>
      <a:defRPr sz="1200" kern="1200">
        <a:solidFill>
          <a:schemeClr val="tx1"/>
        </a:solidFill>
        <a:latin typeface="+mn-lt"/>
        <a:ea typeface="+mn-ea"/>
        <a:cs typeface="+mn-cs"/>
      </a:defRPr>
    </a:lvl4pPr>
    <a:lvl5pPr marL="720725" marR="0" indent="-180000" algn="l" defTabSz="914400" rtl="0" eaLnBrk="1" fontAlgn="auto" latinLnBrk="0" hangingPunct="1">
      <a:lnSpc>
        <a:spcPct val="100000"/>
      </a:lnSpc>
      <a:spcBef>
        <a:spcPts val="300"/>
      </a:spcBef>
      <a:spcAft>
        <a:spcPts val="300"/>
      </a:spcAft>
      <a:buClr>
        <a:srgbClr val="28BECD"/>
      </a:buClr>
      <a:buSzTx/>
      <a:buFont typeface="Symbol" panose="05050102010706020507" pitchFamily="18" charset="2"/>
      <a:buChar char="-"/>
      <a:tabLs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2"/>
        <p:cNvGrpSpPr/>
        <p:nvPr/>
      </p:nvGrpSpPr>
      <p:grpSpPr>
        <a:xfrm>
          <a:off x="0" y="0"/>
          <a:ext cx="0" cy="0"/>
          <a:chOff x="0" y="0"/>
          <a:chExt cx="0" cy="0"/>
        </a:xfrm>
      </p:grpSpPr>
      <p:sp>
        <p:nvSpPr>
          <p:cNvPr id="1453" name="Shape 1453"/>
          <p:cNvSpPr txBox="1">
            <a:spLocks noGrp="1"/>
          </p:cNvSpPr>
          <p:nvPr>
            <p:ph type="body" idx="1"/>
          </p:nvPr>
        </p:nvSpPr>
        <p:spPr>
          <a:xfrm>
            <a:off x="498625" y="3584298"/>
            <a:ext cx="6057000" cy="52457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chemeClr val="dk1"/>
              </a:buClr>
              <a:buSzPct val="25000"/>
              <a:buFont typeface="Arial"/>
              <a:buNone/>
            </a:pPr>
            <a:endParaRPr sz="1200" b="0" i="0" u="none" strike="noStrike" cap="none">
              <a:solidFill>
                <a:schemeClr val="dk1"/>
              </a:solidFill>
              <a:latin typeface="Verdana"/>
              <a:ea typeface="Verdana"/>
              <a:cs typeface="Verdana"/>
              <a:sym typeface="Verdana"/>
            </a:endParaRPr>
          </a:p>
        </p:txBody>
      </p:sp>
      <p:sp>
        <p:nvSpPr>
          <p:cNvPr id="1454" name="Shape 1454"/>
          <p:cNvSpPr>
            <a:spLocks noGrp="1" noRot="1" noChangeAspect="1"/>
          </p:cNvSpPr>
          <p:nvPr>
            <p:ph type="sldImg" idx="2"/>
          </p:nvPr>
        </p:nvSpPr>
        <p:spPr>
          <a:xfrm>
            <a:off x="511175" y="363538"/>
            <a:ext cx="4586288" cy="2579687"/>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13606042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357188"/>
            <a:ext cx="4510088" cy="25384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6708FC0-F5F7-4CCF-AF3A-A0DD6811927A}" type="slidenum">
              <a:rPr lang="en-US" smtClean="0"/>
              <a:t>29</a:t>
            </a:fld>
            <a:endParaRPr lang="en-US"/>
          </a:p>
        </p:txBody>
      </p:sp>
    </p:spTree>
    <p:extLst>
      <p:ext uri="{BB962C8B-B14F-4D97-AF65-F5344CB8AC3E}">
        <p14:creationId xmlns:p14="http://schemas.microsoft.com/office/powerpoint/2010/main" val="6791798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14377"/>
            <a:fld id="{28182E2C-AC48-45A1-A539-1D63FC6BDE45}" type="slidenum">
              <a:rPr lang="de-DE" smtClean="0"/>
              <a:pPr defTabSz="914377"/>
              <a:t>44</a:t>
            </a:fld>
            <a:endParaRPr lang="de-DE" dirty="0"/>
          </a:p>
        </p:txBody>
      </p:sp>
    </p:spTree>
    <p:extLst>
      <p:ext uri="{BB962C8B-B14F-4D97-AF65-F5344CB8AC3E}">
        <p14:creationId xmlns:p14="http://schemas.microsoft.com/office/powerpoint/2010/main" val="3436028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AU" dirty="0"/>
          </a:p>
        </p:txBody>
      </p:sp>
      <p:sp>
        <p:nvSpPr>
          <p:cNvPr id="4" name="Slide Number Placeholder 3"/>
          <p:cNvSpPr>
            <a:spLocks noGrp="1"/>
          </p:cNvSpPr>
          <p:nvPr>
            <p:ph type="sldNum" sz="quarter" idx="10"/>
          </p:nvPr>
        </p:nvSpPr>
        <p:spPr/>
        <p:txBody>
          <a:bodyPr/>
          <a:lstStyle/>
          <a:p>
            <a:fld id="{8BFC7025-2691-4567-9E7E-38E3A7AE50D0}" type="slidenum">
              <a:rPr lang="en-AU" smtClean="0"/>
              <a:t>49</a:t>
            </a:fld>
            <a:endParaRPr lang="en-AU"/>
          </a:p>
        </p:txBody>
      </p:sp>
    </p:spTree>
    <p:extLst>
      <p:ext uri="{BB962C8B-B14F-4D97-AF65-F5344CB8AC3E}">
        <p14:creationId xmlns:p14="http://schemas.microsoft.com/office/powerpoint/2010/main" val="33891359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14377"/>
            <a:fld id="{28182E2C-AC48-45A1-A539-1D63FC6BDE45}" type="slidenum">
              <a:rPr lang="de-DE" smtClean="0"/>
              <a:pPr defTabSz="914377"/>
              <a:t>50</a:t>
            </a:fld>
            <a:endParaRPr lang="de-DE" dirty="0"/>
          </a:p>
        </p:txBody>
      </p:sp>
    </p:spTree>
    <p:extLst>
      <p:ext uri="{BB962C8B-B14F-4D97-AF65-F5344CB8AC3E}">
        <p14:creationId xmlns:p14="http://schemas.microsoft.com/office/powerpoint/2010/main" val="36424923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14377"/>
            <a:fld id="{28182E2C-AC48-45A1-A539-1D63FC6BDE45}" type="slidenum">
              <a:rPr lang="de-DE" smtClean="0"/>
              <a:pPr defTabSz="914377"/>
              <a:t>87</a:t>
            </a:fld>
            <a:endParaRPr lang="de-DE" dirty="0"/>
          </a:p>
        </p:txBody>
      </p:sp>
    </p:spTree>
    <p:extLst>
      <p:ext uri="{BB962C8B-B14F-4D97-AF65-F5344CB8AC3E}">
        <p14:creationId xmlns:p14="http://schemas.microsoft.com/office/powerpoint/2010/main" val="22853232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14377"/>
            <a:fld id="{28182E2C-AC48-45A1-A539-1D63FC6BDE45}" type="slidenum">
              <a:rPr lang="de-DE" smtClean="0"/>
              <a:pPr defTabSz="914377"/>
              <a:t>102</a:t>
            </a:fld>
            <a:endParaRPr lang="de-DE" dirty="0"/>
          </a:p>
        </p:txBody>
      </p:sp>
    </p:spTree>
    <p:extLst>
      <p:ext uri="{BB962C8B-B14F-4D97-AF65-F5344CB8AC3E}">
        <p14:creationId xmlns:p14="http://schemas.microsoft.com/office/powerpoint/2010/main" val="32317501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bwMode="auto">
          <a:xfrm>
            <a:off x="488950" y="357188"/>
            <a:ext cx="4510088" cy="2538412"/>
          </a:xfrm>
          <a:noFill/>
          <a:ln>
            <a:solidFill>
              <a:srgbClr val="000000"/>
            </a:solidFill>
            <a:miter lim="800000"/>
            <a:headEnd/>
            <a:tailEnd/>
          </a:ln>
        </p:spPr>
      </p:sp>
      <p:sp>
        <p:nvSpPr>
          <p:cNvPr id="9830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6861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68A3E29-1207-460F-9A25-1B706894712E}" type="slidenum">
              <a:rPr lang="en-US" smtClean="0"/>
              <a:pPr fontAlgn="base">
                <a:spcBef>
                  <a:spcPct val="0"/>
                </a:spcBef>
                <a:spcAft>
                  <a:spcPct val="0"/>
                </a:spcAft>
                <a:defRPr/>
              </a:pPr>
              <a:t>115</a:t>
            </a:fld>
            <a:endParaRPr lang="en-US" dirty="0"/>
          </a:p>
        </p:txBody>
      </p:sp>
    </p:spTree>
    <p:extLst>
      <p:ext uri="{BB962C8B-B14F-4D97-AF65-F5344CB8AC3E}">
        <p14:creationId xmlns:p14="http://schemas.microsoft.com/office/powerpoint/2010/main" val="12975355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bwMode="auto">
          <a:xfrm>
            <a:off x="488950" y="357188"/>
            <a:ext cx="4510088" cy="2538412"/>
          </a:xfrm>
          <a:noFill/>
          <a:ln>
            <a:solidFill>
              <a:srgbClr val="000000"/>
            </a:solidFill>
            <a:miter lim="800000"/>
            <a:headEnd/>
            <a:tailEnd/>
          </a:ln>
        </p:spPr>
      </p:sp>
      <p:sp>
        <p:nvSpPr>
          <p:cNvPr id="7270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
        <p:nvSpPr>
          <p:cNvPr id="8090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AAC30EE-94EB-480F-A969-5B0155413B42}" type="slidenum">
              <a:rPr lang="en-US" smtClean="0"/>
              <a:pPr fontAlgn="base">
                <a:spcBef>
                  <a:spcPct val="0"/>
                </a:spcBef>
                <a:spcAft>
                  <a:spcPct val="0"/>
                </a:spcAft>
                <a:defRPr/>
              </a:pPr>
              <a:t>117</a:t>
            </a:fld>
            <a:endParaRPr lang="en-US" dirty="0"/>
          </a:p>
        </p:txBody>
      </p:sp>
    </p:spTree>
    <p:extLst>
      <p:ext uri="{BB962C8B-B14F-4D97-AF65-F5344CB8AC3E}">
        <p14:creationId xmlns:p14="http://schemas.microsoft.com/office/powerpoint/2010/main" val="13913724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bwMode="auto">
          <a:xfrm>
            <a:off x="488950" y="357188"/>
            <a:ext cx="4510088" cy="2538412"/>
          </a:xfrm>
          <a:noFill/>
          <a:ln>
            <a:solidFill>
              <a:srgbClr val="000000"/>
            </a:solidFill>
            <a:miter lim="800000"/>
            <a:headEnd/>
            <a:tailEnd/>
          </a:ln>
        </p:spPr>
      </p:sp>
      <p:sp>
        <p:nvSpPr>
          <p:cNvPr id="7270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
        <p:nvSpPr>
          <p:cNvPr id="8090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AAC30EE-94EB-480F-A969-5B0155413B42}" type="slidenum">
              <a:rPr lang="en-US" smtClean="0"/>
              <a:pPr fontAlgn="base">
                <a:spcBef>
                  <a:spcPct val="0"/>
                </a:spcBef>
                <a:spcAft>
                  <a:spcPct val="0"/>
                </a:spcAft>
                <a:defRPr/>
              </a:pPr>
              <a:t>118</a:t>
            </a:fld>
            <a:endParaRPr lang="en-US" dirty="0"/>
          </a:p>
        </p:txBody>
      </p:sp>
    </p:spTree>
    <p:extLst>
      <p:ext uri="{BB962C8B-B14F-4D97-AF65-F5344CB8AC3E}">
        <p14:creationId xmlns:p14="http://schemas.microsoft.com/office/powerpoint/2010/main" val="1407280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bwMode="auto">
          <a:xfrm>
            <a:off x="488950" y="357188"/>
            <a:ext cx="4510088" cy="2538412"/>
          </a:xfrm>
          <a:noFill/>
          <a:ln>
            <a:solidFill>
              <a:srgbClr val="000000"/>
            </a:solidFill>
            <a:miter lim="800000"/>
            <a:headEnd/>
            <a:tailEnd/>
          </a:ln>
        </p:spPr>
      </p:sp>
      <p:sp>
        <p:nvSpPr>
          <p:cNvPr id="73731" name="Notes Placeholder 2"/>
          <p:cNvSpPr>
            <a:spLocks noGrp="1"/>
          </p:cNvSpPr>
          <p:nvPr>
            <p:ph type="body" idx="1"/>
          </p:nvPr>
        </p:nvSpPr>
        <p:spPr bwMode="auto">
          <a:noFill/>
        </p:spPr>
        <p:txBody>
          <a:bodyPr wrap="square" numCol="1" anchor="t" anchorCtr="0" compatLnSpc="1">
            <a:prstTxWarp prst="textNoShape">
              <a:avLst/>
            </a:prstTxWarp>
          </a:bodyPr>
          <a:lstStyle/>
          <a:p>
            <a:pPr lvl="1" eaLnBrk="1" hangingPunct="1">
              <a:spcBef>
                <a:spcPct val="0"/>
              </a:spcBef>
              <a:buFontTx/>
              <a:buChar char="•"/>
            </a:pPr>
            <a:endParaRPr lang="en-US" dirty="0"/>
          </a:p>
        </p:txBody>
      </p:sp>
      <p:sp>
        <p:nvSpPr>
          <p:cNvPr id="5325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5E3D1A1-11AC-4758-81FB-85E5047E28A6}" type="slidenum">
              <a:rPr lang="en-US" smtClean="0"/>
              <a:pPr fontAlgn="base">
                <a:spcBef>
                  <a:spcPct val="0"/>
                </a:spcBef>
                <a:spcAft>
                  <a:spcPct val="0"/>
                </a:spcAft>
                <a:defRPr/>
              </a:pPr>
              <a:t>119</a:t>
            </a:fld>
            <a:endParaRPr lang="en-US" dirty="0"/>
          </a:p>
        </p:txBody>
      </p:sp>
    </p:spTree>
    <p:extLst>
      <p:ext uri="{BB962C8B-B14F-4D97-AF65-F5344CB8AC3E}">
        <p14:creationId xmlns:p14="http://schemas.microsoft.com/office/powerpoint/2010/main" val="9226359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6708FC0-F5F7-4CCF-AF3A-A0DD6811927A}" type="slidenum">
              <a:rPr lang="en-US" smtClean="0"/>
              <a:t>7</a:t>
            </a:fld>
            <a:endParaRPr lang="en-US"/>
          </a:p>
        </p:txBody>
      </p:sp>
    </p:spTree>
    <p:extLst>
      <p:ext uri="{BB962C8B-B14F-4D97-AF65-F5344CB8AC3E}">
        <p14:creationId xmlns:p14="http://schemas.microsoft.com/office/powerpoint/2010/main" val="29093210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bwMode="auto">
          <a:xfrm>
            <a:off x="488950" y="357188"/>
            <a:ext cx="4510088" cy="2538412"/>
          </a:xfrm>
          <a:noFill/>
          <a:ln>
            <a:solidFill>
              <a:srgbClr val="000000"/>
            </a:solidFill>
            <a:miter lim="800000"/>
            <a:headEnd/>
            <a:tailEnd/>
          </a:ln>
        </p:spPr>
      </p:sp>
      <p:sp>
        <p:nvSpPr>
          <p:cNvPr id="747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a:t>This is the “perceived wisdom” – the way that we have been taught.</a:t>
            </a:r>
          </a:p>
          <a:p>
            <a:pPr eaLnBrk="1" hangingPunct="1">
              <a:spcBef>
                <a:spcPct val="0"/>
              </a:spcBef>
            </a:pPr>
            <a:endParaRPr lang="en-US"/>
          </a:p>
          <a:p>
            <a:pPr eaLnBrk="1" hangingPunct="1">
              <a:spcBef>
                <a:spcPct val="0"/>
              </a:spcBef>
            </a:pPr>
            <a:r>
              <a:rPr lang="en-US"/>
              <a:t>Get it right the first time.</a:t>
            </a:r>
          </a:p>
          <a:p>
            <a:pPr eaLnBrk="1" hangingPunct="1">
              <a:spcBef>
                <a:spcPct val="0"/>
              </a:spcBef>
            </a:pPr>
            <a:r>
              <a:rPr lang="en-US"/>
              <a:t>If only we did a better job of defining requirements then …</a:t>
            </a:r>
          </a:p>
        </p:txBody>
      </p:sp>
      <p:sp>
        <p:nvSpPr>
          <p:cNvPr id="5427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D2D673A-6A86-48B6-9AC1-46E0FD5E0BB7}" type="slidenum">
              <a:rPr lang="en-US" smtClean="0"/>
              <a:pPr fontAlgn="base">
                <a:spcBef>
                  <a:spcPct val="0"/>
                </a:spcBef>
                <a:spcAft>
                  <a:spcPct val="0"/>
                </a:spcAft>
                <a:defRPr/>
              </a:pPr>
              <a:t>120</a:t>
            </a:fld>
            <a:endParaRPr lang="en-US" dirty="0"/>
          </a:p>
        </p:txBody>
      </p:sp>
    </p:spTree>
    <p:extLst>
      <p:ext uri="{BB962C8B-B14F-4D97-AF65-F5344CB8AC3E}">
        <p14:creationId xmlns:p14="http://schemas.microsoft.com/office/powerpoint/2010/main" val="14966661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Slide Image Placeholder 1"/>
          <p:cNvSpPr>
            <a:spLocks noGrp="1" noRot="1" noChangeAspect="1" noTextEdit="1"/>
          </p:cNvSpPr>
          <p:nvPr>
            <p:ph type="sldImg"/>
          </p:nvPr>
        </p:nvSpPr>
        <p:spPr bwMode="auto">
          <a:xfrm>
            <a:off x="488950" y="357188"/>
            <a:ext cx="4510088" cy="2538412"/>
          </a:xfrm>
          <a:noFill/>
          <a:ln>
            <a:solidFill>
              <a:srgbClr val="000000"/>
            </a:solidFill>
            <a:miter lim="800000"/>
            <a:headEnd/>
            <a:tailEnd/>
          </a:ln>
        </p:spPr>
      </p:sp>
      <p:sp>
        <p:nvSpPr>
          <p:cNvPr id="3" name="Notes Placeholder 2"/>
          <p:cNvSpPr>
            <a:spLocks noGrp="1"/>
          </p:cNvSpPr>
          <p:nvPr>
            <p:ph type="body" idx="1"/>
          </p:nvPr>
        </p:nvSpPr>
        <p:spPr/>
        <p:txBody>
          <a:bodyPr>
            <a:normAutofit/>
          </a:bodyPr>
          <a:lstStyle/>
          <a:p>
            <a:pPr eaLnBrk="1" fontAlgn="auto" hangingPunct="1">
              <a:spcBef>
                <a:spcPts val="0"/>
              </a:spcBef>
              <a:spcAft>
                <a:spcPts val="0"/>
              </a:spcAft>
              <a:defRPr/>
            </a:pPr>
            <a:endParaRPr lang="en-US" dirty="0"/>
          </a:p>
          <a:p>
            <a:pPr eaLnBrk="1" fontAlgn="auto" hangingPunct="1">
              <a:spcBef>
                <a:spcPts val="0"/>
              </a:spcBef>
              <a:spcAft>
                <a:spcPts val="0"/>
              </a:spcAft>
              <a:defRPr/>
            </a:pPr>
            <a:endParaRPr lang="en-US" dirty="0"/>
          </a:p>
          <a:p>
            <a:pPr eaLnBrk="1" fontAlgn="auto" hangingPunct="1">
              <a:spcBef>
                <a:spcPts val="0"/>
              </a:spcBef>
              <a:spcAft>
                <a:spcPts val="0"/>
              </a:spcAft>
              <a:defRPr/>
            </a:pPr>
            <a:endParaRPr lang="en-US" dirty="0"/>
          </a:p>
          <a:p>
            <a:pPr eaLnBrk="1" fontAlgn="auto" hangingPunct="1">
              <a:spcBef>
                <a:spcPts val="0"/>
              </a:spcBef>
              <a:spcAft>
                <a:spcPts val="0"/>
              </a:spcAft>
              <a:defRPr/>
            </a:pPr>
            <a:br>
              <a:rPr lang="en-US" dirty="0"/>
            </a:br>
            <a:endParaRPr lang="en-US" dirty="0"/>
          </a:p>
          <a:p>
            <a:pPr eaLnBrk="1" fontAlgn="auto" hangingPunct="1">
              <a:spcBef>
                <a:spcPts val="0"/>
              </a:spcBef>
              <a:spcAft>
                <a:spcPts val="0"/>
              </a:spcAft>
              <a:defRPr/>
            </a:pPr>
            <a:r>
              <a:rPr lang="en-US" b="1" dirty="0"/>
              <a:t>* Tests on right hand side feed into stories/tasks for left hand side</a:t>
            </a:r>
          </a:p>
          <a:p>
            <a:pPr eaLnBrk="1" fontAlgn="auto" hangingPunct="1">
              <a:spcBef>
                <a:spcPts val="0"/>
              </a:spcBef>
              <a:spcAft>
                <a:spcPts val="0"/>
              </a:spcAft>
              <a:defRPr/>
            </a:pPr>
            <a:endParaRPr lang="en-US" dirty="0"/>
          </a:p>
          <a:p>
            <a:pPr eaLnBrk="1" fontAlgn="auto" hangingPunct="1">
              <a:spcBef>
                <a:spcPts val="0"/>
              </a:spcBef>
              <a:spcAft>
                <a:spcPts val="0"/>
              </a:spcAft>
              <a:defRPr/>
            </a:pPr>
            <a:endParaRPr lang="en-US" dirty="0"/>
          </a:p>
          <a:p>
            <a:pPr eaLnBrk="1" fontAlgn="auto" hangingPunct="1">
              <a:spcBef>
                <a:spcPts val="0"/>
              </a:spcBef>
              <a:spcAft>
                <a:spcPts val="0"/>
              </a:spcAft>
              <a:defRPr/>
            </a:pPr>
            <a:endParaRPr lang="en-US" dirty="0"/>
          </a:p>
          <a:p>
            <a:pPr eaLnBrk="1" fontAlgn="auto" hangingPunct="1">
              <a:spcBef>
                <a:spcPts val="0"/>
              </a:spcBef>
              <a:spcAft>
                <a:spcPts val="0"/>
              </a:spcAft>
              <a:defRPr/>
            </a:pPr>
            <a:endParaRPr lang="en-US" dirty="0"/>
          </a:p>
          <a:p>
            <a:pPr eaLnBrk="1" fontAlgn="auto" hangingPunct="1">
              <a:spcBef>
                <a:spcPts val="0"/>
              </a:spcBef>
              <a:spcAft>
                <a:spcPts val="0"/>
              </a:spcAft>
              <a:defRPr/>
            </a:pPr>
            <a:endParaRPr lang="en-US" dirty="0"/>
          </a:p>
        </p:txBody>
      </p:sp>
      <p:sp>
        <p:nvSpPr>
          <p:cNvPr id="7373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A94ED19-6150-4359-9A9B-392245E0C15F}" type="slidenum">
              <a:rPr lang="en-US" smtClean="0"/>
              <a:pPr fontAlgn="base">
                <a:spcBef>
                  <a:spcPct val="0"/>
                </a:spcBef>
                <a:spcAft>
                  <a:spcPct val="0"/>
                </a:spcAft>
                <a:defRPr/>
              </a:pPr>
              <a:t>121</a:t>
            </a:fld>
            <a:endParaRPr lang="en-US" dirty="0"/>
          </a:p>
        </p:txBody>
      </p:sp>
    </p:spTree>
    <p:extLst>
      <p:ext uri="{BB962C8B-B14F-4D97-AF65-F5344CB8AC3E}">
        <p14:creationId xmlns:p14="http://schemas.microsoft.com/office/powerpoint/2010/main" val="35858593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p:cNvSpPr>
            <a:spLocks noGrp="1" noRot="1" noChangeAspect="1" noTextEdit="1"/>
          </p:cNvSpPr>
          <p:nvPr>
            <p:ph type="sldImg"/>
          </p:nvPr>
        </p:nvSpPr>
        <p:spPr bwMode="auto">
          <a:xfrm>
            <a:off x="488950" y="357188"/>
            <a:ext cx="4510088" cy="2538412"/>
          </a:xfrm>
          <a:noFill/>
          <a:ln>
            <a:solidFill>
              <a:srgbClr val="000000"/>
            </a:solidFill>
            <a:miter lim="800000"/>
            <a:headEnd/>
            <a:tailEnd/>
          </a:ln>
        </p:spPr>
      </p:sp>
      <p:sp>
        <p:nvSpPr>
          <p:cNvPr id="3" name="Notes Placeholder 2"/>
          <p:cNvSpPr>
            <a:spLocks noGrp="1"/>
          </p:cNvSpPr>
          <p:nvPr>
            <p:ph type="body" idx="1"/>
          </p:nvPr>
        </p:nvSpPr>
        <p:spPr/>
        <p:txBody>
          <a:bodyPr>
            <a:normAutofit/>
          </a:bodyPr>
          <a:lstStyle/>
          <a:p>
            <a:pPr eaLnBrk="1" fontAlgn="auto" hangingPunct="1">
              <a:spcBef>
                <a:spcPts val="0"/>
              </a:spcBef>
              <a:spcAft>
                <a:spcPts val="0"/>
              </a:spcAft>
              <a:defRPr/>
            </a:pPr>
            <a:endParaRPr lang="en-US" dirty="0"/>
          </a:p>
        </p:txBody>
      </p:sp>
      <p:sp>
        <p:nvSpPr>
          <p:cNvPr id="7373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099FD97-47A2-4346-B073-1FBDA063FBBB}" type="slidenum">
              <a:rPr lang="en-US" smtClean="0"/>
              <a:pPr fontAlgn="base">
                <a:spcBef>
                  <a:spcPct val="0"/>
                </a:spcBef>
                <a:spcAft>
                  <a:spcPct val="0"/>
                </a:spcAft>
                <a:defRPr/>
              </a:pPr>
              <a:t>122</a:t>
            </a:fld>
            <a:endParaRPr lang="en-US" dirty="0"/>
          </a:p>
        </p:txBody>
      </p:sp>
    </p:spTree>
    <p:extLst>
      <p:ext uri="{BB962C8B-B14F-4D97-AF65-F5344CB8AC3E}">
        <p14:creationId xmlns:p14="http://schemas.microsoft.com/office/powerpoint/2010/main" val="4286099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Slide Image Placeholder 1"/>
          <p:cNvSpPr>
            <a:spLocks noGrp="1" noRot="1" noChangeAspect="1" noTextEdit="1"/>
          </p:cNvSpPr>
          <p:nvPr>
            <p:ph type="sldImg"/>
          </p:nvPr>
        </p:nvSpPr>
        <p:spPr bwMode="auto">
          <a:xfrm>
            <a:off x="488950" y="357188"/>
            <a:ext cx="4510088" cy="2538412"/>
          </a:xfrm>
          <a:noFill/>
          <a:ln>
            <a:solidFill>
              <a:srgbClr val="000000"/>
            </a:solidFill>
            <a:miter lim="800000"/>
            <a:headEnd/>
            <a:tailEnd/>
          </a:ln>
        </p:spPr>
      </p:sp>
      <p:sp>
        <p:nvSpPr>
          <p:cNvPr id="11161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t>Exploratory</a:t>
            </a:r>
            <a:r>
              <a:rPr lang="en-US" baseline="0" dirty="0"/>
              <a:t> testing can provide immediate rapid feedback on areas not fully specified.</a:t>
            </a:r>
          </a:p>
          <a:p>
            <a:pPr eaLnBrk="1" hangingPunct="1">
              <a:spcBef>
                <a:spcPct val="0"/>
              </a:spcBef>
            </a:pPr>
            <a:r>
              <a:rPr lang="en-US" baseline="0" dirty="0"/>
              <a:t>Automated tests provide feedback that previously validated work still works as expected</a:t>
            </a:r>
            <a:endParaRPr lang="en-US" dirty="0"/>
          </a:p>
        </p:txBody>
      </p:sp>
      <p:sp>
        <p:nvSpPr>
          <p:cNvPr id="768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5F17A34-8EF5-4A5C-BAC0-782CEDE9168E}" type="slidenum">
              <a:rPr lang="en-US" smtClean="0"/>
              <a:pPr fontAlgn="base">
                <a:spcBef>
                  <a:spcPct val="0"/>
                </a:spcBef>
                <a:spcAft>
                  <a:spcPct val="0"/>
                </a:spcAft>
                <a:defRPr/>
              </a:pPr>
              <a:t>124</a:t>
            </a:fld>
            <a:endParaRPr lang="en-US" dirty="0"/>
          </a:p>
        </p:txBody>
      </p:sp>
    </p:spTree>
    <p:extLst>
      <p:ext uri="{BB962C8B-B14F-4D97-AF65-F5344CB8AC3E}">
        <p14:creationId xmlns:p14="http://schemas.microsoft.com/office/powerpoint/2010/main" val="7325738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6708FC0-F5F7-4CCF-AF3A-A0DD6811927A}" type="slidenum">
              <a:rPr lang="en-US" smtClean="0"/>
              <a:t>11</a:t>
            </a:fld>
            <a:endParaRPr lang="en-US"/>
          </a:p>
        </p:txBody>
      </p:sp>
    </p:spTree>
    <p:extLst>
      <p:ext uri="{BB962C8B-B14F-4D97-AF65-F5344CB8AC3E}">
        <p14:creationId xmlns:p14="http://schemas.microsoft.com/office/powerpoint/2010/main" val="737848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6708FC0-F5F7-4CCF-AF3A-A0DD6811927A}" type="slidenum">
              <a:rPr lang="en-US" smtClean="0"/>
              <a:t>13</a:t>
            </a:fld>
            <a:endParaRPr lang="en-US"/>
          </a:p>
        </p:txBody>
      </p:sp>
    </p:spTree>
    <p:extLst>
      <p:ext uri="{BB962C8B-B14F-4D97-AF65-F5344CB8AC3E}">
        <p14:creationId xmlns:p14="http://schemas.microsoft.com/office/powerpoint/2010/main" val="388204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6708FC0-F5F7-4CCF-AF3A-A0DD6811927A}" type="slidenum">
              <a:rPr lang="en-US" smtClean="0"/>
              <a:t>14</a:t>
            </a:fld>
            <a:endParaRPr lang="en-US"/>
          </a:p>
        </p:txBody>
      </p:sp>
    </p:spTree>
    <p:extLst>
      <p:ext uri="{BB962C8B-B14F-4D97-AF65-F5344CB8AC3E}">
        <p14:creationId xmlns:p14="http://schemas.microsoft.com/office/powerpoint/2010/main" val="4876648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6708FC0-F5F7-4CCF-AF3A-A0DD6811927A}" type="slidenum">
              <a:rPr lang="en-US" smtClean="0"/>
              <a:t>15</a:t>
            </a:fld>
            <a:endParaRPr lang="en-US"/>
          </a:p>
        </p:txBody>
      </p:sp>
    </p:spTree>
    <p:extLst>
      <p:ext uri="{BB962C8B-B14F-4D97-AF65-F5344CB8AC3E}">
        <p14:creationId xmlns:p14="http://schemas.microsoft.com/office/powerpoint/2010/main" val="35570351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6708FC0-F5F7-4CCF-AF3A-A0DD6811927A}" type="slidenum">
              <a:rPr lang="en-US" smtClean="0"/>
              <a:t>18</a:t>
            </a:fld>
            <a:endParaRPr lang="en-US"/>
          </a:p>
        </p:txBody>
      </p:sp>
    </p:spTree>
    <p:extLst>
      <p:ext uri="{BB962C8B-B14F-4D97-AF65-F5344CB8AC3E}">
        <p14:creationId xmlns:p14="http://schemas.microsoft.com/office/powerpoint/2010/main" val="18941086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357188"/>
            <a:ext cx="4510088" cy="25384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6708FC0-F5F7-4CCF-AF3A-A0DD6811927A}" type="slidenum">
              <a:rPr lang="en-US" smtClean="0"/>
              <a:t>27</a:t>
            </a:fld>
            <a:endParaRPr lang="en-US"/>
          </a:p>
        </p:txBody>
      </p:sp>
    </p:spTree>
    <p:extLst>
      <p:ext uri="{BB962C8B-B14F-4D97-AF65-F5344CB8AC3E}">
        <p14:creationId xmlns:p14="http://schemas.microsoft.com/office/powerpoint/2010/main" val="34557419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357188"/>
            <a:ext cx="4510088" cy="25384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6708FC0-F5F7-4CCF-AF3A-A0DD6811927A}" type="slidenum">
              <a:rPr lang="en-US" smtClean="0"/>
              <a:t>28</a:t>
            </a:fld>
            <a:endParaRPr lang="en-US"/>
          </a:p>
        </p:txBody>
      </p:sp>
    </p:spTree>
    <p:extLst>
      <p:ext uri="{BB962C8B-B14F-4D97-AF65-F5344CB8AC3E}">
        <p14:creationId xmlns:p14="http://schemas.microsoft.com/office/powerpoint/2010/main" val="38932980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ynthetic">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881"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6" name="Rectangle 5"/>
          <p:cNvSpPr/>
          <p:nvPr userDrawn="1"/>
        </p:nvSpPr>
        <p:spPr bwMode="gray">
          <a:xfrm>
            <a:off x="1" y="2"/>
            <a:ext cx="12192000" cy="6858001"/>
          </a:xfrm>
          <a:prstGeom prst="rect">
            <a:avLst/>
          </a:prstGeom>
          <a:solidFill>
            <a:srgbClr val="2DBECD"/>
          </a:solidFill>
          <a:ln w="9525" cap="flat" cmpd="sng" algn="ctr">
            <a:noFill/>
            <a:prstDash val="solid"/>
          </a:ln>
          <a:effectLst/>
        </p:spPr>
        <p:txBody>
          <a:bodyPr rtlCol="0" anchor="ctr" anchorCtr="0"/>
          <a:lstStyle/>
          <a:p>
            <a:pPr marL="0" indent="0" algn="ctr">
              <a:spcBef>
                <a:spcPts val="225"/>
              </a:spcBef>
              <a:spcAft>
                <a:spcPts val="225"/>
              </a:spcAft>
              <a:buClr>
                <a:schemeClr val="bg1"/>
              </a:buClr>
              <a:buSzPct val="100000"/>
              <a:buFont typeface="Arial" panose="020B0604020202020204" pitchFamily="34" charset="0"/>
              <a:buNone/>
            </a:pPr>
            <a:endParaRPr lang="en-US" sz="1050" kern="0">
              <a:solidFill>
                <a:srgbClr val="FFFFFF"/>
              </a:solidFill>
              <a:latin typeface="Verdana"/>
            </a:endParaRPr>
          </a:p>
        </p:txBody>
      </p:sp>
      <p:grpSp>
        <p:nvGrpSpPr>
          <p:cNvPr id="5" name="Gruppieren 4"/>
          <p:cNvGrpSpPr/>
          <p:nvPr userDrawn="1"/>
        </p:nvGrpSpPr>
        <p:grpSpPr bwMode="gray">
          <a:xfrm>
            <a:off x="2" y="1885412"/>
            <a:ext cx="3967700" cy="2613421"/>
            <a:chOff x="1" y="1885410"/>
            <a:chExt cx="3967700" cy="2613421"/>
          </a:xfrm>
        </p:grpSpPr>
        <p:sp>
          <p:nvSpPr>
            <p:cNvPr id="8" name="Rectlangle 2"/>
            <p:cNvSpPr/>
            <p:nvPr userDrawn="1"/>
          </p:nvSpPr>
          <p:spPr bwMode="gray">
            <a:xfrm>
              <a:off x="1" y="1885410"/>
              <a:ext cx="1552255" cy="818268"/>
            </a:xfrm>
            <a:custGeom>
              <a:avLst/>
              <a:gdLst/>
              <a:ahLst/>
              <a:cxnLst/>
              <a:rect l="l" t="t" r="r" b="b"/>
              <a:pathLst>
                <a:path w="1552255" h="818268">
                  <a:moveTo>
                    <a:pt x="876974" y="0"/>
                  </a:moveTo>
                  <a:lnTo>
                    <a:pt x="891654" y="0"/>
                  </a:lnTo>
                  <a:lnTo>
                    <a:pt x="891959" y="0"/>
                  </a:lnTo>
                  <a:lnTo>
                    <a:pt x="992885" y="327"/>
                  </a:lnTo>
                  <a:lnTo>
                    <a:pt x="1100691" y="573"/>
                  </a:lnTo>
                  <a:cubicBezTo>
                    <a:pt x="1118277" y="573"/>
                    <a:pt x="1139838" y="12929"/>
                    <a:pt x="1148401" y="28230"/>
                  </a:cubicBezTo>
                  <a:lnTo>
                    <a:pt x="1260184" y="222241"/>
                  </a:lnTo>
                  <a:cubicBezTo>
                    <a:pt x="1268747" y="237460"/>
                    <a:pt x="1268747" y="262172"/>
                    <a:pt x="1259878" y="277473"/>
                  </a:cubicBezTo>
                  <a:lnTo>
                    <a:pt x="1184795" y="406759"/>
                  </a:lnTo>
                  <a:cubicBezTo>
                    <a:pt x="1179443" y="416169"/>
                    <a:pt x="1173938" y="425579"/>
                    <a:pt x="1168586" y="434989"/>
                  </a:cubicBezTo>
                  <a:cubicBezTo>
                    <a:pt x="1166445" y="438753"/>
                    <a:pt x="1164305" y="442435"/>
                    <a:pt x="1162164" y="446200"/>
                  </a:cubicBezTo>
                  <a:cubicBezTo>
                    <a:pt x="1153295" y="461419"/>
                    <a:pt x="1160329" y="473775"/>
                    <a:pt x="1177761" y="473775"/>
                  </a:cubicBezTo>
                  <a:lnTo>
                    <a:pt x="1439402" y="474675"/>
                  </a:lnTo>
                  <a:cubicBezTo>
                    <a:pt x="1456682" y="474675"/>
                    <a:pt x="1478243" y="487276"/>
                    <a:pt x="1487112" y="502578"/>
                  </a:cubicBezTo>
                  <a:lnTo>
                    <a:pt x="1552255" y="616398"/>
                  </a:lnTo>
                  <a:cubicBezTo>
                    <a:pt x="1561124" y="631618"/>
                    <a:pt x="1561124" y="656330"/>
                    <a:pt x="1552255" y="671631"/>
                  </a:cubicBezTo>
                  <a:lnTo>
                    <a:pt x="1486042" y="785124"/>
                  </a:lnTo>
                  <a:cubicBezTo>
                    <a:pt x="1477632" y="800344"/>
                    <a:pt x="1455917" y="812700"/>
                    <a:pt x="1438485" y="812700"/>
                  </a:cubicBezTo>
                  <a:lnTo>
                    <a:pt x="1307129" y="812127"/>
                  </a:lnTo>
                  <a:cubicBezTo>
                    <a:pt x="1289544" y="812127"/>
                    <a:pt x="1267982" y="799771"/>
                    <a:pt x="1259419" y="784470"/>
                  </a:cubicBezTo>
                  <a:lnTo>
                    <a:pt x="1193971" y="670731"/>
                  </a:lnTo>
                  <a:cubicBezTo>
                    <a:pt x="1185407" y="655430"/>
                    <a:pt x="1185407" y="630800"/>
                    <a:pt x="1194276" y="615498"/>
                  </a:cubicBezTo>
                  <a:lnTo>
                    <a:pt x="1245656" y="526717"/>
                  </a:lnTo>
                  <a:cubicBezTo>
                    <a:pt x="1254526" y="511497"/>
                    <a:pt x="1247491" y="499059"/>
                    <a:pt x="1229753" y="499059"/>
                  </a:cubicBezTo>
                  <a:lnTo>
                    <a:pt x="986615" y="498159"/>
                  </a:lnTo>
                  <a:lnTo>
                    <a:pt x="890736" y="498159"/>
                  </a:lnTo>
                  <a:cubicBezTo>
                    <a:pt x="890430" y="498159"/>
                    <a:pt x="889971" y="497914"/>
                    <a:pt x="889666" y="497914"/>
                  </a:cubicBezTo>
                  <a:lnTo>
                    <a:pt x="875903" y="497914"/>
                  </a:lnTo>
                  <a:cubicBezTo>
                    <a:pt x="858318" y="497914"/>
                    <a:pt x="836756" y="485231"/>
                    <a:pt x="828193" y="470256"/>
                  </a:cubicBezTo>
                  <a:lnTo>
                    <a:pt x="821312" y="458473"/>
                  </a:lnTo>
                  <a:lnTo>
                    <a:pt x="744700" y="325096"/>
                  </a:lnTo>
                  <a:cubicBezTo>
                    <a:pt x="731702" y="302676"/>
                    <a:pt x="710600" y="302676"/>
                    <a:pt x="697602" y="325096"/>
                  </a:cubicBezTo>
                  <a:lnTo>
                    <a:pt x="434279" y="777760"/>
                  </a:lnTo>
                  <a:cubicBezTo>
                    <a:pt x="421128" y="800344"/>
                    <a:pt x="389321" y="818591"/>
                    <a:pt x="363325" y="818264"/>
                  </a:cubicBezTo>
                  <a:lnTo>
                    <a:pt x="0" y="818035"/>
                  </a:lnTo>
                  <a:lnTo>
                    <a:pt x="0" y="86319"/>
                  </a:lnTo>
                  <a:lnTo>
                    <a:pt x="17274" y="81417"/>
                  </a:lnTo>
                  <a:cubicBezTo>
                    <a:pt x="65443" y="78717"/>
                    <a:pt x="234569" y="81581"/>
                    <a:pt x="343140" y="81663"/>
                  </a:cubicBezTo>
                  <a:lnTo>
                    <a:pt x="365160" y="81663"/>
                  </a:lnTo>
                  <a:cubicBezTo>
                    <a:pt x="391003" y="81990"/>
                    <a:pt x="422810" y="100156"/>
                    <a:pt x="435655" y="122903"/>
                  </a:cubicBezTo>
                  <a:lnTo>
                    <a:pt x="579856" y="373047"/>
                  </a:lnTo>
                  <a:cubicBezTo>
                    <a:pt x="592395" y="395303"/>
                    <a:pt x="613650" y="395303"/>
                    <a:pt x="626801" y="373047"/>
                  </a:cubicBezTo>
                  <a:lnTo>
                    <a:pt x="810608" y="59324"/>
                  </a:lnTo>
                  <a:lnTo>
                    <a:pt x="829111" y="27330"/>
                  </a:lnTo>
                  <a:cubicBezTo>
                    <a:pt x="837827" y="12356"/>
                    <a:pt x="859388" y="0"/>
                    <a:pt x="876974"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9" name="Freeform 37"/>
            <p:cNvSpPr>
              <a:spLocks/>
            </p:cNvSpPr>
            <p:nvPr userDrawn="1"/>
          </p:nvSpPr>
          <p:spPr bwMode="gray">
            <a:xfrm>
              <a:off x="495022" y="2449806"/>
              <a:ext cx="853273" cy="938466"/>
            </a:xfrm>
            <a:custGeom>
              <a:avLst/>
              <a:gdLst>
                <a:gd name="T0" fmla="*/ 2900 w 2953"/>
                <a:gd name="T1" fmla="*/ 2800 h 2900"/>
                <a:gd name="T2" fmla="*/ 2620 w 2953"/>
                <a:gd name="T3" fmla="*/ 2639 h 2900"/>
                <a:gd name="T4" fmla="*/ 1478 w 2953"/>
                <a:gd name="T5" fmla="*/ 2637 h 2900"/>
                <a:gd name="T6" fmla="*/ 1385 w 2953"/>
                <a:gd name="T7" fmla="*/ 2476 h 2900"/>
                <a:gd name="T8" fmla="*/ 2148 w 2953"/>
                <a:gd name="T9" fmla="*/ 1150 h 2900"/>
                <a:gd name="T10" fmla="*/ 2148 w 2953"/>
                <a:gd name="T11" fmla="*/ 828 h 2900"/>
                <a:gd name="T12" fmla="*/ 1764 w 2953"/>
                <a:gd name="T13" fmla="*/ 162 h 2900"/>
                <a:gd name="T14" fmla="*/ 1485 w 2953"/>
                <a:gd name="T15" fmla="*/ 0 h 2900"/>
                <a:gd name="T16" fmla="*/ 715 w 2953"/>
                <a:gd name="T17" fmla="*/ 0 h 2900"/>
                <a:gd name="T18" fmla="*/ 436 w 2953"/>
                <a:gd name="T19" fmla="*/ 161 h 2900"/>
                <a:gd name="T20" fmla="*/ 51 w 2953"/>
                <a:gd name="T21" fmla="*/ 827 h 2900"/>
                <a:gd name="T22" fmla="*/ 51 w 2953"/>
                <a:gd name="T23" fmla="*/ 1150 h 2900"/>
                <a:gd name="T24" fmla="*/ 436 w 2953"/>
                <a:gd name="T25" fmla="*/ 1816 h 2900"/>
                <a:gd name="T26" fmla="*/ 715 w 2953"/>
                <a:gd name="T27" fmla="*/ 1977 h 2900"/>
                <a:gd name="T28" fmla="*/ 1317 w 2953"/>
                <a:gd name="T29" fmla="*/ 1977 h 2900"/>
                <a:gd name="T30" fmla="*/ 1410 w 2953"/>
                <a:gd name="T31" fmla="*/ 2139 h 2900"/>
                <a:gd name="T32" fmla="*/ 972 w 2953"/>
                <a:gd name="T33" fmla="*/ 2900 h 2900"/>
                <a:gd name="T34" fmla="*/ 2953 w 2953"/>
                <a:gd name="T35" fmla="*/ 2893 h 2900"/>
                <a:gd name="T36" fmla="*/ 2900 w 2953"/>
                <a:gd name="T37" fmla="*/ 2800 h 2900"/>
                <a:gd name="connsiteX0" fmla="*/ 9648 w 9827"/>
                <a:gd name="connsiteY0" fmla="*/ 9655 h 11005"/>
                <a:gd name="connsiteX1" fmla="*/ 8699 w 9827"/>
                <a:gd name="connsiteY1" fmla="*/ 9100 h 11005"/>
                <a:gd name="connsiteX2" fmla="*/ 4832 w 9827"/>
                <a:gd name="connsiteY2" fmla="*/ 9093 h 11005"/>
                <a:gd name="connsiteX3" fmla="*/ 4517 w 9827"/>
                <a:gd name="connsiteY3" fmla="*/ 8538 h 11005"/>
                <a:gd name="connsiteX4" fmla="*/ 7101 w 9827"/>
                <a:gd name="connsiteY4" fmla="*/ 3966 h 11005"/>
                <a:gd name="connsiteX5" fmla="*/ 7101 w 9827"/>
                <a:gd name="connsiteY5" fmla="*/ 2855 h 11005"/>
                <a:gd name="connsiteX6" fmla="*/ 5801 w 9827"/>
                <a:gd name="connsiteY6" fmla="*/ 559 h 11005"/>
                <a:gd name="connsiteX7" fmla="*/ 4856 w 9827"/>
                <a:gd name="connsiteY7" fmla="*/ 0 h 11005"/>
                <a:gd name="connsiteX8" fmla="*/ 2248 w 9827"/>
                <a:gd name="connsiteY8" fmla="*/ 0 h 11005"/>
                <a:gd name="connsiteX9" fmla="*/ 1303 w 9827"/>
                <a:gd name="connsiteY9" fmla="*/ 555 h 11005"/>
                <a:gd name="connsiteX10" fmla="*/ 0 w 9827"/>
                <a:gd name="connsiteY10" fmla="*/ 2852 h 11005"/>
                <a:gd name="connsiteX11" fmla="*/ 0 w 9827"/>
                <a:gd name="connsiteY11" fmla="*/ 3966 h 11005"/>
                <a:gd name="connsiteX12" fmla="*/ 1303 w 9827"/>
                <a:gd name="connsiteY12" fmla="*/ 6262 h 11005"/>
                <a:gd name="connsiteX13" fmla="*/ 2248 w 9827"/>
                <a:gd name="connsiteY13" fmla="*/ 6817 h 11005"/>
                <a:gd name="connsiteX14" fmla="*/ 4287 w 9827"/>
                <a:gd name="connsiteY14" fmla="*/ 6817 h 11005"/>
                <a:gd name="connsiteX15" fmla="*/ 4602 w 9827"/>
                <a:gd name="connsiteY15" fmla="*/ 7376 h 11005"/>
                <a:gd name="connsiteX16" fmla="*/ 2497 w 9827"/>
                <a:gd name="connsiteY16" fmla="*/ 11005 h 11005"/>
                <a:gd name="connsiteX17" fmla="*/ 9827 w 9827"/>
                <a:gd name="connsiteY17" fmla="*/ 9976 h 11005"/>
                <a:gd name="connsiteX18" fmla="*/ 9648 w 9827"/>
                <a:gd name="connsiteY18" fmla="*/ 9655 h 1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27" h="11005">
                  <a:moveTo>
                    <a:pt x="9648" y="9655"/>
                  </a:moveTo>
                  <a:cubicBezTo>
                    <a:pt x="9471" y="9348"/>
                    <a:pt x="9048" y="9100"/>
                    <a:pt x="8699" y="9100"/>
                  </a:cubicBezTo>
                  <a:lnTo>
                    <a:pt x="4832" y="9093"/>
                  </a:lnTo>
                  <a:cubicBezTo>
                    <a:pt x="4487" y="9093"/>
                    <a:pt x="4344" y="8845"/>
                    <a:pt x="4517" y="8538"/>
                  </a:cubicBezTo>
                  <a:lnTo>
                    <a:pt x="7101" y="3966"/>
                  </a:lnTo>
                  <a:cubicBezTo>
                    <a:pt x="7277" y="3662"/>
                    <a:pt x="7277" y="3159"/>
                    <a:pt x="7101" y="2855"/>
                  </a:cubicBezTo>
                  <a:lnTo>
                    <a:pt x="5801" y="559"/>
                  </a:lnTo>
                  <a:cubicBezTo>
                    <a:pt x="5628" y="252"/>
                    <a:pt x="5201" y="0"/>
                    <a:pt x="4856" y="0"/>
                  </a:cubicBezTo>
                  <a:lnTo>
                    <a:pt x="2248" y="0"/>
                  </a:lnTo>
                  <a:cubicBezTo>
                    <a:pt x="1903" y="0"/>
                    <a:pt x="1476" y="252"/>
                    <a:pt x="1303" y="555"/>
                  </a:cubicBezTo>
                  <a:lnTo>
                    <a:pt x="0" y="2852"/>
                  </a:lnTo>
                  <a:cubicBezTo>
                    <a:pt x="-173" y="3159"/>
                    <a:pt x="-173" y="3659"/>
                    <a:pt x="0" y="3966"/>
                  </a:cubicBezTo>
                  <a:lnTo>
                    <a:pt x="1303" y="6262"/>
                  </a:lnTo>
                  <a:cubicBezTo>
                    <a:pt x="1476" y="6569"/>
                    <a:pt x="1903" y="6817"/>
                    <a:pt x="2248" y="6817"/>
                  </a:cubicBezTo>
                  <a:lnTo>
                    <a:pt x="4287" y="6817"/>
                  </a:lnTo>
                  <a:cubicBezTo>
                    <a:pt x="4632" y="6817"/>
                    <a:pt x="4900" y="6678"/>
                    <a:pt x="4602" y="7376"/>
                  </a:cubicBezTo>
                  <a:cubicBezTo>
                    <a:pt x="4304" y="8074"/>
                    <a:pt x="2497" y="11005"/>
                    <a:pt x="2497" y="11005"/>
                  </a:cubicBezTo>
                  <a:cubicBezTo>
                    <a:pt x="9205" y="10981"/>
                    <a:pt x="9827" y="9976"/>
                    <a:pt x="9827" y="9976"/>
                  </a:cubicBezTo>
                  <a:lnTo>
                    <a:pt x="9648" y="9655"/>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350" dirty="0"/>
            </a:p>
          </p:txBody>
        </p:sp>
        <p:sp>
          <p:nvSpPr>
            <p:cNvPr id="10" name="Freeform 34"/>
            <p:cNvSpPr>
              <a:spLocks/>
            </p:cNvSpPr>
            <p:nvPr userDrawn="1"/>
          </p:nvSpPr>
          <p:spPr bwMode="gray">
            <a:xfrm>
              <a:off x="3009726" y="3438341"/>
              <a:ext cx="957975" cy="1060490"/>
            </a:xfrm>
            <a:custGeom>
              <a:avLst/>
              <a:gdLst>
                <a:gd name="T0" fmla="*/ 1071 w 3325"/>
                <a:gd name="T1" fmla="*/ 3118 h 3410"/>
                <a:gd name="T2" fmla="*/ 1238 w 3325"/>
                <a:gd name="T3" fmla="*/ 3410 h 3410"/>
                <a:gd name="T4" fmla="*/ 1068 w 3325"/>
                <a:gd name="T5" fmla="*/ 3410 h 3410"/>
                <a:gd name="T6" fmla="*/ 52 w 3325"/>
                <a:gd name="T7" fmla="*/ 1638 h 3410"/>
                <a:gd name="T8" fmla="*/ 52 w 3325"/>
                <a:gd name="T9" fmla="*/ 1311 h 3410"/>
                <a:gd name="T10" fmla="*/ 719 w 3325"/>
                <a:gd name="T11" fmla="*/ 163 h 3410"/>
                <a:gd name="T12" fmla="*/ 1002 w 3325"/>
                <a:gd name="T13" fmla="*/ 0 h 3410"/>
                <a:gd name="T14" fmla="*/ 2330 w 3325"/>
                <a:gd name="T15" fmla="*/ 3 h 3410"/>
                <a:gd name="T16" fmla="*/ 2613 w 3325"/>
                <a:gd name="T17" fmla="*/ 167 h 3410"/>
                <a:gd name="T18" fmla="*/ 3274 w 3325"/>
                <a:gd name="T19" fmla="*/ 1318 h 3410"/>
                <a:gd name="T20" fmla="*/ 3273 w 3325"/>
                <a:gd name="T21" fmla="*/ 1645 h 3410"/>
                <a:gd name="T22" fmla="*/ 2607 w 3325"/>
                <a:gd name="T23" fmla="*/ 2793 h 3410"/>
                <a:gd name="T24" fmla="*/ 2323 w 3325"/>
                <a:gd name="T25" fmla="*/ 2956 h 3410"/>
                <a:gd name="T26" fmla="*/ 1166 w 3325"/>
                <a:gd name="T27" fmla="*/ 2955 h 3410"/>
                <a:gd name="T28" fmla="*/ 1071 w 3325"/>
                <a:gd name="T29" fmla="*/ 3118 h 3410"/>
                <a:gd name="connsiteX0" fmla="*/ 3065 w 9805"/>
                <a:gd name="connsiteY0" fmla="*/ 9144 h 10585"/>
                <a:gd name="connsiteX1" fmla="*/ 3567 w 9805"/>
                <a:gd name="connsiteY1" fmla="*/ 10000 h 10585"/>
                <a:gd name="connsiteX2" fmla="*/ 3674 w 9805"/>
                <a:gd name="connsiteY2" fmla="*/ 10460 h 10585"/>
                <a:gd name="connsiteX3" fmla="*/ 3056 w 9805"/>
                <a:gd name="connsiteY3" fmla="*/ 10000 h 10585"/>
                <a:gd name="connsiteX4" fmla="*/ 0 w 9805"/>
                <a:gd name="connsiteY4" fmla="*/ 4804 h 10585"/>
                <a:gd name="connsiteX5" fmla="*/ 0 w 9805"/>
                <a:gd name="connsiteY5" fmla="*/ 3845 h 10585"/>
                <a:gd name="connsiteX6" fmla="*/ 2006 w 9805"/>
                <a:gd name="connsiteY6" fmla="*/ 478 h 10585"/>
                <a:gd name="connsiteX7" fmla="*/ 2858 w 9805"/>
                <a:gd name="connsiteY7" fmla="*/ 0 h 10585"/>
                <a:gd name="connsiteX8" fmla="*/ 6852 w 9805"/>
                <a:gd name="connsiteY8" fmla="*/ 9 h 10585"/>
                <a:gd name="connsiteX9" fmla="*/ 7703 w 9805"/>
                <a:gd name="connsiteY9" fmla="*/ 490 h 10585"/>
                <a:gd name="connsiteX10" fmla="*/ 9691 w 9805"/>
                <a:gd name="connsiteY10" fmla="*/ 3865 h 10585"/>
                <a:gd name="connsiteX11" fmla="*/ 9688 w 9805"/>
                <a:gd name="connsiteY11" fmla="*/ 4824 h 10585"/>
                <a:gd name="connsiteX12" fmla="*/ 7685 w 9805"/>
                <a:gd name="connsiteY12" fmla="*/ 8191 h 10585"/>
                <a:gd name="connsiteX13" fmla="*/ 6830 w 9805"/>
                <a:gd name="connsiteY13" fmla="*/ 8669 h 10585"/>
                <a:gd name="connsiteX14" fmla="*/ 3351 w 9805"/>
                <a:gd name="connsiteY14" fmla="*/ 8666 h 10585"/>
                <a:gd name="connsiteX15" fmla="*/ 3065 w 9805"/>
                <a:gd name="connsiteY15" fmla="*/ 9144 h 1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805" h="10585">
                  <a:moveTo>
                    <a:pt x="3065" y="9144"/>
                  </a:moveTo>
                  <a:cubicBezTo>
                    <a:pt x="3567" y="10000"/>
                    <a:pt x="3466" y="9781"/>
                    <a:pt x="3567" y="10000"/>
                  </a:cubicBezTo>
                  <a:cubicBezTo>
                    <a:pt x="3668" y="10219"/>
                    <a:pt x="3768" y="10465"/>
                    <a:pt x="3674" y="10460"/>
                  </a:cubicBezTo>
                  <a:cubicBezTo>
                    <a:pt x="3598" y="10465"/>
                    <a:pt x="3668" y="10942"/>
                    <a:pt x="3056" y="10000"/>
                  </a:cubicBezTo>
                  <a:cubicBezTo>
                    <a:pt x="2444" y="9058"/>
                    <a:pt x="0" y="4804"/>
                    <a:pt x="0" y="4804"/>
                  </a:cubicBezTo>
                  <a:cubicBezTo>
                    <a:pt x="-156" y="4540"/>
                    <a:pt x="-156" y="4109"/>
                    <a:pt x="0" y="3845"/>
                  </a:cubicBezTo>
                  <a:lnTo>
                    <a:pt x="2006" y="478"/>
                  </a:lnTo>
                  <a:cubicBezTo>
                    <a:pt x="2163" y="214"/>
                    <a:pt x="2548" y="0"/>
                    <a:pt x="2858" y="0"/>
                  </a:cubicBezTo>
                  <a:lnTo>
                    <a:pt x="6852" y="9"/>
                  </a:lnTo>
                  <a:cubicBezTo>
                    <a:pt x="7164" y="9"/>
                    <a:pt x="7546" y="226"/>
                    <a:pt x="7703" y="490"/>
                  </a:cubicBezTo>
                  <a:lnTo>
                    <a:pt x="9691" y="3865"/>
                  </a:lnTo>
                  <a:cubicBezTo>
                    <a:pt x="9844" y="4129"/>
                    <a:pt x="9844" y="4560"/>
                    <a:pt x="9688" y="4824"/>
                  </a:cubicBezTo>
                  <a:lnTo>
                    <a:pt x="7685" y="8191"/>
                  </a:lnTo>
                  <a:cubicBezTo>
                    <a:pt x="7525" y="8455"/>
                    <a:pt x="7143" y="8669"/>
                    <a:pt x="6830" y="8669"/>
                  </a:cubicBezTo>
                  <a:lnTo>
                    <a:pt x="3351" y="8666"/>
                  </a:lnTo>
                  <a:cubicBezTo>
                    <a:pt x="3038" y="8663"/>
                    <a:pt x="2912" y="8880"/>
                    <a:pt x="3065" y="914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350" dirty="0"/>
            </a:p>
          </p:txBody>
        </p:sp>
      </p:grpSp>
      <p:sp>
        <p:nvSpPr>
          <p:cNvPr id="11" name="Rectangle 1"/>
          <p:cNvSpPr/>
          <p:nvPr userDrawn="1"/>
        </p:nvSpPr>
        <p:spPr bwMode="gray">
          <a:xfrm>
            <a:off x="1" y="2"/>
            <a:ext cx="12192000" cy="6858001"/>
          </a:xfrm>
          <a:custGeom>
            <a:avLst/>
            <a:gdLst/>
            <a:ahLst/>
            <a:cxnLst/>
            <a:rect l="l" t="t" r="r" b="b"/>
            <a:pathLst>
              <a:path w="12192000" h="6858001">
                <a:moveTo>
                  <a:pt x="4055910" y="2"/>
                </a:moveTo>
                <a:lnTo>
                  <a:pt x="4064211" y="14593"/>
                </a:lnTo>
                <a:cubicBezTo>
                  <a:pt x="4071842" y="28004"/>
                  <a:pt x="4080562" y="43331"/>
                  <a:pt x="4090528" y="60848"/>
                </a:cubicBezTo>
                <a:lnTo>
                  <a:pt x="4111980" y="98552"/>
                </a:lnTo>
                <a:lnTo>
                  <a:pt x="4110297" y="98553"/>
                </a:lnTo>
                <a:lnTo>
                  <a:pt x="4121274" y="117588"/>
                </a:lnTo>
                <a:cubicBezTo>
                  <a:pt x="4150392" y="168082"/>
                  <a:pt x="4186229" y="230229"/>
                  <a:pt x="4230336" y="306718"/>
                </a:cubicBezTo>
                <a:cubicBezTo>
                  <a:pt x="4230338" y="306722"/>
                  <a:pt x="4230365" y="306768"/>
                  <a:pt x="4230715" y="307375"/>
                </a:cubicBezTo>
                <a:lnTo>
                  <a:pt x="4233363" y="311972"/>
                </a:lnTo>
                <a:lnTo>
                  <a:pt x="4236606" y="317599"/>
                </a:lnTo>
                <a:lnTo>
                  <a:pt x="4256156" y="351961"/>
                </a:lnTo>
                <a:lnTo>
                  <a:pt x="4257049" y="353079"/>
                </a:lnTo>
                <a:lnTo>
                  <a:pt x="4277640" y="388816"/>
                </a:lnTo>
                <a:cubicBezTo>
                  <a:pt x="4306024" y="438073"/>
                  <a:pt x="4351436" y="516887"/>
                  <a:pt x="4424096" y="642989"/>
                </a:cubicBezTo>
                <a:cubicBezTo>
                  <a:pt x="4446431" y="681578"/>
                  <a:pt x="4428156" y="713204"/>
                  <a:pt x="4383488" y="713203"/>
                </a:cubicBezTo>
                <a:cubicBezTo>
                  <a:pt x="4383483" y="713203"/>
                  <a:pt x="4382282" y="713206"/>
                  <a:pt x="4118373" y="713783"/>
                </a:cubicBezTo>
                <a:cubicBezTo>
                  <a:pt x="4112860" y="713783"/>
                  <a:pt x="4107059" y="714364"/>
                  <a:pt x="4101259" y="715234"/>
                </a:cubicBezTo>
                <a:cubicBezTo>
                  <a:pt x="4060650" y="721907"/>
                  <a:pt x="4015980" y="750341"/>
                  <a:pt x="3996547" y="784287"/>
                </a:cubicBezTo>
                <a:cubicBezTo>
                  <a:pt x="3996540" y="784300"/>
                  <a:pt x="3994958" y="787031"/>
                  <a:pt x="3661817" y="1362246"/>
                </a:cubicBezTo>
                <a:cubicBezTo>
                  <a:pt x="3639482" y="1400835"/>
                  <a:pt x="3602645" y="1400835"/>
                  <a:pt x="3580311" y="1362247"/>
                </a:cubicBezTo>
                <a:cubicBezTo>
                  <a:pt x="3580304" y="1362235"/>
                  <a:pt x="3578989" y="1359959"/>
                  <a:pt x="3330859" y="930518"/>
                </a:cubicBezTo>
                <a:cubicBezTo>
                  <a:pt x="3308524" y="891930"/>
                  <a:pt x="3253412" y="860304"/>
                  <a:pt x="3208742" y="860305"/>
                </a:cubicBezTo>
                <a:cubicBezTo>
                  <a:pt x="3208734" y="860305"/>
                  <a:pt x="3206540" y="860305"/>
                  <a:pt x="2636744" y="860305"/>
                </a:cubicBezTo>
                <a:cubicBezTo>
                  <a:pt x="2592074" y="860304"/>
                  <a:pt x="2537253" y="891929"/>
                  <a:pt x="2514918" y="930518"/>
                </a:cubicBezTo>
                <a:cubicBezTo>
                  <a:pt x="2514916" y="930522"/>
                  <a:pt x="2514130" y="931884"/>
                  <a:pt x="2228920" y="1426077"/>
                </a:cubicBezTo>
                <a:cubicBezTo>
                  <a:pt x="2206584" y="1464667"/>
                  <a:pt x="2206584" y="1528206"/>
                  <a:pt x="2228919" y="1566796"/>
                </a:cubicBezTo>
                <a:cubicBezTo>
                  <a:pt x="2228924" y="1566804"/>
                  <a:pt x="2230056" y="1568766"/>
                  <a:pt x="2514919" y="2062355"/>
                </a:cubicBezTo>
                <a:cubicBezTo>
                  <a:pt x="2537254" y="2101234"/>
                  <a:pt x="2592074" y="2132858"/>
                  <a:pt x="2636744" y="2132859"/>
                </a:cubicBezTo>
                <a:cubicBezTo>
                  <a:pt x="2636756" y="2132859"/>
                  <a:pt x="2639393" y="2132859"/>
                  <a:pt x="3208742" y="2132858"/>
                </a:cubicBezTo>
                <a:cubicBezTo>
                  <a:pt x="3253413" y="2132858"/>
                  <a:pt x="3308523" y="2101233"/>
                  <a:pt x="3330858" y="2062355"/>
                </a:cubicBezTo>
                <a:cubicBezTo>
                  <a:pt x="3330865" y="2062343"/>
                  <a:pt x="3332608" y="2059331"/>
                  <a:pt x="3783933" y="1279267"/>
                </a:cubicBezTo>
                <a:cubicBezTo>
                  <a:pt x="3806268" y="1240388"/>
                  <a:pt x="3842815" y="1240388"/>
                  <a:pt x="3865149" y="1279266"/>
                </a:cubicBezTo>
                <a:cubicBezTo>
                  <a:pt x="3865153" y="1279274"/>
                  <a:pt x="3865905" y="1280575"/>
                  <a:pt x="3996547" y="1506736"/>
                </a:cubicBezTo>
                <a:cubicBezTo>
                  <a:pt x="4018881" y="1545326"/>
                  <a:pt x="4073703" y="1577240"/>
                  <a:pt x="4118373" y="1577240"/>
                </a:cubicBezTo>
                <a:cubicBezTo>
                  <a:pt x="4118388" y="1577240"/>
                  <a:pt x="4120602" y="1577240"/>
                  <a:pt x="4454262" y="1577240"/>
                </a:cubicBezTo>
                <a:cubicBezTo>
                  <a:pt x="4498932" y="1577241"/>
                  <a:pt x="4555203" y="1545326"/>
                  <a:pt x="4577538" y="1506737"/>
                </a:cubicBezTo>
                <a:cubicBezTo>
                  <a:pt x="4578118" y="1505576"/>
                  <a:pt x="4578118" y="1505576"/>
                  <a:pt x="4578408" y="1505286"/>
                </a:cubicBezTo>
                <a:cubicBezTo>
                  <a:pt x="4578416" y="1505272"/>
                  <a:pt x="4579567" y="1503279"/>
                  <a:pt x="4746063" y="1214856"/>
                </a:cubicBezTo>
                <a:cubicBezTo>
                  <a:pt x="4768398" y="1176266"/>
                  <a:pt x="4768398" y="1112727"/>
                  <a:pt x="4746063" y="1074137"/>
                </a:cubicBezTo>
                <a:cubicBezTo>
                  <a:pt x="4746054" y="1074122"/>
                  <a:pt x="4744341" y="1071144"/>
                  <a:pt x="4413364" y="495889"/>
                </a:cubicBezTo>
                <a:cubicBezTo>
                  <a:pt x="4391029" y="457010"/>
                  <a:pt x="4409303" y="425384"/>
                  <a:pt x="4453972" y="425385"/>
                </a:cubicBezTo>
                <a:cubicBezTo>
                  <a:pt x="4453984" y="425385"/>
                  <a:pt x="4455510" y="425384"/>
                  <a:pt x="4664080" y="425262"/>
                </a:cubicBezTo>
                <a:lnTo>
                  <a:pt x="4684544" y="425251"/>
                </a:lnTo>
                <a:lnTo>
                  <a:pt x="4758411" y="425795"/>
                </a:lnTo>
                <a:cubicBezTo>
                  <a:pt x="4812899" y="426196"/>
                  <a:pt x="4875172" y="426655"/>
                  <a:pt x="4946341" y="427179"/>
                </a:cubicBezTo>
                <a:cubicBezTo>
                  <a:pt x="4957449" y="427249"/>
                  <a:pt x="4969200" y="425347"/>
                  <a:pt x="4980930" y="421857"/>
                </a:cubicBezTo>
                <a:lnTo>
                  <a:pt x="4986031" y="419659"/>
                </a:lnTo>
                <a:lnTo>
                  <a:pt x="4986745" y="419546"/>
                </a:lnTo>
                <a:lnTo>
                  <a:pt x="5014597" y="407354"/>
                </a:lnTo>
                <a:lnTo>
                  <a:pt x="5015406" y="407005"/>
                </a:lnTo>
                <a:lnTo>
                  <a:pt x="5015426" y="406991"/>
                </a:lnTo>
                <a:lnTo>
                  <a:pt x="5021294" y="404423"/>
                </a:lnTo>
                <a:cubicBezTo>
                  <a:pt x="5043375" y="391656"/>
                  <a:pt x="5062664" y="374030"/>
                  <a:pt x="5073830" y="354591"/>
                </a:cubicBezTo>
                <a:cubicBezTo>
                  <a:pt x="5073835" y="354582"/>
                  <a:pt x="5074601" y="353254"/>
                  <a:pt x="5194242" y="145771"/>
                </a:cubicBezTo>
                <a:lnTo>
                  <a:pt x="5221469" y="98553"/>
                </a:lnTo>
                <a:lnTo>
                  <a:pt x="5220303" y="98552"/>
                </a:lnTo>
                <a:lnTo>
                  <a:pt x="5222692" y="94481"/>
                </a:lnTo>
                <a:lnTo>
                  <a:pt x="5278131" y="2"/>
                </a:lnTo>
                <a:close/>
                <a:moveTo>
                  <a:pt x="31806" y="0"/>
                </a:moveTo>
                <a:lnTo>
                  <a:pt x="12192000" y="0"/>
                </a:lnTo>
                <a:lnTo>
                  <a:pt x="12192000" y="6858001"/>
                </a:lnTo>
                <a:lnTo>
                  <a:pt x="3798641" y="6858001"/>
                </a:lnTo>
                <a:lnTo>
                  <a:pt x="3808977" y="6840186"/>
                </a:lnTo>
                <a:cubicBezTo>
                  <a:pt x="3875779" y="6724581"/>
                  <a:pt x="3875779" y="6535759"/>
                  <a:pt x="3810262" y="6420154"/>
                </a:cubicBezTo>
                <a:cubicBezTo>
                  <a:pt x="3810262" y="6420154"/>
                  <a:pt x="3810262" y="6420154"/>
                  <a:pt x="2961102" y="4941694"/>
                </a:cubicBezTo>
                <a:lnTo>
                  <a:pt x="2937921" y="4908297"/>
                </a:lnTo>
                <a:lnTo>
                  <a:pt x="2918773" y="4875174"/>
                </a:lnTo>
                <a:cubicBezTo>
                  <a:pt x="2862729" y="4778222"/>
                  <a:pt x="2793752" y="4658897"/>
                  <a:pt x="2708856" y="4512036"/>
                </a:cubicBezTo>
                <a:cubicBezTo>
                  <a:pt x="2691937" y="4482974"/>
                  <a:pt x="2697960" y="4457890"/>
                  <a:pt x="2720946" y="4447178"/>
                </a:cubicBezTo>
                <a:lnTo>
                  <a:pt x="2746422" y="4442214"/>
                </a:lnTo>
                <a:lnTo>
                  <a:pt x="2756015" y="4442214"/>
                </a:lnTo>
                <a:cubicBezTo>
                  <a:pt x="2819224" y="4442214"/>
                  <a:pt x="3021494" y="4442214"/>
                  <a:pt x="3668758" y="4442214"/>
                </a:cubicBezTo>
                <a:cubicBezTo>
                  <a:pt x="3742436" y="4442214"/>
                  <a:pt x="3832751" y="4389919"/>
                  <a:pt x="3869590" y="4326034"/>
                </a:cubicBezTo>
                <a:cubicBezTo>
                  <a:pt x="3869590" y="4326034"/>
                  <a:pt x="3869590" y="4326034"/>
                  <a:pt x="4340180" y="3510692"/>
                </a:cubicBezTo>
                <a:cubicBezTo>
                  <a:pt x="4377018" y="3447105"/>
                  <a:pt x="4377018" y="3342810"/>
                  <a:pt x="4340180" y="3278926"/>
                </a:cubicBezTo>
                <a:cubicBezTo>
                  <a:pt x="4340180" y="3278926"/>
                  <a:pt x="4340180" y="3278926"/>
                  <a:pt x="3869590" y="2463584"/>
                </a:cubicBezTo>
                <a:cubicBezTo>
                  <a:pt x="3841961" y="2415671"/>
                  <a:pt x="3784252" y="2374444"/>
                  <a:pt x="3726041" y="2356825"/>
                </a:cubicBezTo>
                <a:lnTo>
                  <a:pt x="3668961" y="2347734"/>
                </a:lnTo>
                <a:lnTo>
                  <a:pt x="3505115" y="2347734"/>
                </a:lnTo>
                <a:cubicBezTo>
                  <a:pt x="2732636" y="2347734"/>
                  <a:pt x="2729377" y="2347734"/>
                  <a:pt x="2729363" y="2347734"/>
                </a:cubicBezTo>
                <a:cubicBezTo>
                  <a:pt x="2655982" y="2347734"/>
                  <a:pt x="2565667" y="2400030"/>
                  <a:pt x="2528828" y="2463914"/>
                </a:cubicBezTo>
                <a:cubicBezTo>
                  <a:pt x="2059864" y="3275928"/>
                  <a:pt x="2057950" y="3279243"/>
                  <a:pt x="2057942" y="3279256"/>
                </a:cubicBezTo>
                <a:cubicBezTo>
                  <a:pt x="2021103" y="3342843"/>
                  <a:pt x="2021103" y="3447138"/>
                  <a:pt x="2057942" y="3511022"/>
                </a:cubicBezTo>
                <a:cubicBezTo>
                  <a:pt x="2150856" y="3672330"/>
                  <a:pt x="2232157" y="3813474"/>
                  <a:pt x="2303295" y="3936976"/>
                </a:cubicBezTo>
                <a:lnTo>
                  <a:pt x="2385586" y="4079840"/>
                </a:lnTo>
                <a:lnTo>
                  <a:pt x="2385872" y="4080886"/>
                </a:lnTo>
                <a:cubicBezTo>
                  <a:pt x="2385872" y="4080886"/>
                  <a:pt x="2385872" y="4080886"/>
                  <a:pt x="2467416" y="4222092"/>
                </a:cubicBezTo>
                <a:lnTo>
                  <a:pt x="2509890" y="4295642"/>
                </a:lnTo>
                <a:lnTo>
                  <a:pt x="2528988" y="4328797"/>
                </a:lnTo>
                <a:lnTo>
                  <a:pt x="2529157" y="4329005"/>
                </a:lnTo>
                <a:lnTo>
                  <a:pt x="2565024" y="4391116"/>
                </a:lnTo>
                <a:cubicBezTo>
                  <a:pt x="2606367" y="4462707"/>
                  <a:pt x="2657250" y="4550819"/>
                  <a:pt x="2719876" y="4659265"/>
                </a:cubicBezTo>
                <a:cubicBezTo>
                  <a:pt x="2742183" y="4697869"/>
                  <a:pt x="2723811" y="4729799"/>
                  <a:pt x="2679225" y="4729911"/>
                </a:cubicBezTo>
                <a:cubicBezTo>
                  <a:pt x="2679225" y="4729911"/>
                  <a:pt x="2679225" y="4729911"/>
                  <a:pt x="2411781" y="4730390"/>
                </a:cubicBezTo>
                <a:lnTo>
                  <a:pt x="2355833" y="4730490"/>
                </a:lnTo>
                <a:lnTo>
                  <a:pt x="2293907" y="4730350"/>
                </a:lnTo>
                <a:cubicBezTo>
                  <a:pt x="2057746" y="4729817"/>
                  <a:pt x="1637903" y="4728868"/>
                  <a:pt x="891516" y="4727182"/>
                </a:cubicBezTo>
                <a:cubicBezTo>
                  <a:pt x="759196" y="4727182"/>
                  <a:pt x="594760" y="4820951"/>
                  <a:pt x="527958" y="4936556"/>
                </a:cubicBezTo>
                <a:cubicBezTo>
                  <a:pt x="527958" y="4936556"/>
                  <a:pt x="527958" y="4936556"/>
                  <a:pt x="68354" y="5727502"/>
                </a:cubicBezTo>
                <a:lnTo>
                  <a:pt x="0" y="5845133"/>
                </a:lnTo>
                <a:lnTo>
                  <a:pt x="0" y="1307383"/>
                </a:lnTo>
                <a:lnTo>
                  <a:pt x="69908" y="1307234"/>
                </a:lnTo>
                <a:cubicBezTo>
                  <a:pt x="380029" y="1306572"/>
                  <a:pt x="381595" y="1306569"/>
                  <a:pt x="381603" y="1306569"/>
                </a:cubicBezTo>
                <a:cubicBezTo>
                  <a:pt x="455676" y="1306275"/>
                  <a:pt x="485951" y="1358608"/>
                  <a:pt x="449209" y="1422701"/>
                </a:cubicBezTo>
                <a:cubicBezTo>
                  <a:pt x="42396" y="2135148"/>
                  <a:pt x="40932" y="2137712"/>
                  <a:pt x="40927" y="2137721"/>
                </a:cubicBezTo>
                <a:cubicBezTo>
                  <a:pt x="4184" y="2201814"/>
                  <a:pt x="4478" y="2306480"/>
                  <a:pt x="41808" y="2370279"/>
                </a:cubicBezTo>
                <a:cubicBezTo>
                  <a:pt x="515837" y="3184840"/>
                  <a:pt x="517106" y="3187019"/>
                  <a:pt x="517109" y="3187025"/>
                </a:cubicBezTo>
                <a:cubicBezTo>
                  <a:pt x="554145" y="3250824"/>
                  <a:pt x="644973" y="3302569"/>
                  <a:pt x="718752" y="3302569"/>
                </a:cubicBezTo>
                <a:cubicBezTo>
                  <a:pt x="1660268" y="3299053"/>
                  <a:pt x="1663463" y="3299041"/>
                  <a:pt x="1663474" y="3299041"/>
                </a:cubicBezTo>
                <a:cubicBezTo>
                  <a:pt x="1737253" y="3298747"/>
                  <a:pt x="1827786" y="3246120"/>
                  <a:pt x="1864529" y="3182027"/>
                </a:cubicBezTo>
                <a:cubicBezTo>
                  <a:pt x="2332938" y="2363305"/>
                  <a:pt x="2333656" y="2362049"/>
                  <a:pt x="2333657" y="2362047"/>
                </a:cubicBezTo>
                <a:cubicBezTo>
                  <a:pt x="2370399" y="2297954"/>
                  <a:pt x="2370105" y="2193288"/>
                  <a:pt x="2333069" y="2129489"/>
                </a:cubicBezTo>
                <a:cubicBezTo>
                  <a:pt x="1859393" y="1315535"/>
                  <a:pt x="1857774" y="1312753"/>
                  <a:pt x="1857768" y="1312743"/>
                </a:cubicBezTo>
                <a:cubicBezTo>
                  <a:pt x="1820438" y="1248944"/>
                  <a:pt x="1729610" y="1196905"/>
                  <a:pt x="1655832" y="1197199"/>
                </a:cubicBezTo>
                <a:cubicBezTo>
                  <a:pt x="163159" y="1201311"/>
                  <a:pt x="161737" y="1201315"/>
                  <a:pt x="161736" y="1201315"/>
                </a:cubicBezTo>
                <a:cubicBezTo>
                  <a:pt x="87957" y="1201609"/>
                  <a:pt x="57387" y="1149276"/>
                  <a:pt x="94130" y="1085183"/>
                </a:cubicBezTo>
                <a:cubicBezTo>
                  <a:pt x="308606" y="710787"/>
                  <a:pt x="309873" y="708575"/>
                  <a:pt x="309881" y="708562"/>
                </a:cubicBezTo>
                <a:cubicBezTo>
                  <a:pt x="346624" y="644469"/>
                  <a:pt x="346036" y="539803"/>
                  <a:pt x="309000" y="476004"/>
                </a:cubicBezTo>
                <a:cubicBezTo>
                  <a:pt x="99568" y="116363"/>
                  <a:pt x="47210" y="26452"/>
                  <a:pt x="34120" y="3975"/>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7" name="Text Placeholder 12"/>
          <p:cNvSpPr>
            <a:spLocks noGrp="1"/>
          </p:cNvSpPr>
          <p:nvPr>
            <p:ph type="body" sz="quarter" idx="10" hasCustomPrompt="1"/>
          </p:nvPr>
        </p:nvSpPr>
        <p:spPr bwMode="gray">
          <a:xfrm>
            <a:off x="5159375" y="3644826"/>
            <a:ext cx="6408739" cy="576262"/>
          </a:xfrm>
          <a:prstGeom prst="rect">
            <a:avLst/>
          </a:prstGeom>
        </p:spPr>
        <p:txBody>
          <a:bodyPr>
            <a:noAutofit/>
          </a:bodyPr>
          <a:lstStyle>
            <a:lvl1pPr marL="0" indent="0">
              <a:spcBef>
                <a:spcPts val="0"/>
              </a:spcBef>
              <a:spcAft>
                <a:spcPts val="0"/>
              </a:spcAft>
              <a:buFont typeface="Arial" panose="020B0604020202020204" pitchFamily="34" charset="0"/>
              <a:buNone/>
              <a:defRPr sz="1200" baseline="0">
                <a:solidFill>
                  <a:schemeClr val="accent1"/>
                </a:solidFill>
              </a:defRPr>
            </a:lvl1pPr>
            <a:lvl2pPr marL="0" indent="0">
              <a:spcBef>
                <a:spcPts val="0"/>
              </a:spcBef>
              <a:spcAft>
                <a:spcPts val="0"/>
              </a:spcAft>
              <a:buNone/>
              <a:defRPr sz="1200">
                <a:solidFill>
                  <a:schemeClr val="accent1"/>
                </a:solidFill>
              </a:defRPr>
            </a:lvl2pPr>
            <a:lvl3pPr marL="0" indent="0">
              <a:spcBef>
                <a:spcPts val="0"/>
              </a:spcBef>
              <a:spcAft>
                <a:spcPts val="0"/>
              </a:spcAft>
              <a:buNone/>
              <a:defRPr sz="1200">
                <a:solidFill>
                  <a:schemeClr val="accent1"/>
                </a:solidFill>
              </a:defRPr>
            </a:lvl3pPr>
            <a:lvl4pPr marL="0" indent="0">
              <a:spcBef>
                <a:spcPts val="0"/>
              </a:spcBef>
              <a:spcAft>
                <a:spcPts val="0"/>
              </a:spcAft>
              <a:buNone/>
              <a:defRPr sz="1200">
                <a:solidFill>
                  <a:schemeClr val="accent1"/>
                </a:solidFill>
              </a:defRPr>
            </a:lvl4pPr>
            <a:lvl5pPr marL="0" indent="0">
              <a:spcBef>
                <a:spcPts val="0"/>
              </a:spcBef>
              <a:spcAft>
                <a:spcPts val="0"/>
              </a:spcAft>
              <a:buNone/>
              <a:defRPr sz="1200">
                <a:solidFill>
                  <a:schemeClr val="accent1"/>
                </a:solidFill>
              </a:defRPr>
            </a:lvl5pPr>
            <a:lvl6pPr marL="0" indent="0">
              <a:spcBef>
                <a:spcPts val="0"/>
              </a:spcBef>
              <a:spcAft>
                <a:spcPts val="0"/>
              </a:spcAft>
              <a:buNone/>
              <a:defRPr sz="1200">
                <a:solidFill>
                  <a:schemeClr val="accent1"/>
                </a:solidFill>
              </a:defRPr>
            </a:lvl6pPr>
            <a:lvl7pPr marL="0" indent="0">
              <a:spcBef>
                <a:spcPts val="0"/>
              </a:spcBef>
              <a:spcAft>
                <a:spcPts val="0"/>
              </a:spcAft>
              <a:buNone/>
              <a:defRPr sz="1200">
                <a:solidFill>
                  <a:schemeClr val="accent1"/>
                </a:solidFill>
              </a:defRPr>
            </a:lvl7pPr>
            <a:lvl8pPr marL="0" indent="0">
              <a:spcBef>
                <a:spcPts val="0"/>
              </a:spcBef>
              <a:spcAft>
                <a:spcPts val="0"/>
              </a:spcAft>
              <a:buNone/>
              <a:defRPr sz="1200">
                <a:solidFill>
                  <a:schemeClr val="accent1"/>
                </a:solidFill>
              </a:defRPr>
            </a:lvl8pPr>
            <a:lvl9pPr marL="0" indent="0">
              <a:spcBef>
                <a:spcPts val="0"/>
              </a:spcBef>
              <a:spcAft>
                <a:spcPts val="0"/>
              </a:spcAft>
              <a:buNone/>
              <a:defRPr sz="1200">
                <a:solidFill>
                  <a:schemeClr val="accent1"/>
                </a:solidFill>
              </a:defRPr>
            </a:lvl9pPr>
          </a:lstStyle>
          <a:p>
            <a:r>
              <a:rPr lang="en-US" noProof="0" dirty="0"/>
              <a:t>Name</a:t>
            </a:r>
            <a:br>
              <a:rPr lang="en-US" noProof="0" dirty="0"/>
            </a:br>
            <a:r>
              <a:rPr lang="en-US" noProof="0" dirty="0"/>
              <a:t>Place, Date</a:t>
            </a:r>
          </a:p>
        </p:txBody>
      </p:sp>
      <p:sp>
        <p:nvSpPr>
          <p:cNvPr id="3" name="Subtitle 2"/>
          <p:cNvSpPr>
            <a:spLocks noGrp="1"/>
          </p:cNvSpPr>
          <p:nvPr>
            <p:ph type="subTitle" idx="1" hasCustomPrompt="1"/>
          </p:nvPr>
        </p:nvSpPr>
        <p:spPr bwMode="gray">
          <a:xfrm>
            <a:off x="5160001" y="2924818"/>
            <a:ext cx="6408113" cy="576000"/>
          </a:xfrm>
          <a:prstGeom prst="rect">
            <a:avLst/>
          </a:prstGeom>
        </p:spPr>
        <p:txBody>
          <a:bodyPr>
            <a:noAutofit/>
          </a:bodyPr>
          <a:lstStyle>
            <a:lvl1pPr marL="0" indent="0" algn="l">
              <a:spcBef>
                <a:spcPts val="0"/>
              </a:spcBef>
              <a:spcAft>
                <a:spcPts val="900"/>
              </a:spcAft>
              <a:buNone/>
              <a:defRPr sz="1200" b="1" i="0" baseline="0">
                <a:solidFill>
                  <a:schemeClr val="accent1"/>
                </a:solidFill>
                <a:latin typeface="+mn-lt"/>
              </a:defRPr>
            </a:lvl1pPr>
            <a:lvl2pPr marL="0" indent="0" algn="l">
              <a:spcBef>
                <a:spcPts val="0"/>
              </a:spcBef>
              <a:spcAft>
                <a:spcPts val="900"/>
              </a:spcAft>
              <a:buNone/>
              <a:defRPr sz="1200" b="1">
                <a:solidFill>
                  <a:schemeClr val="accent1"/>
                </a:solidFill>
              </a:defRPr>
            </a:lvl2pPr>
            <a:lvl3pPr marL="0" indent="0" algn="l">
              <a:spcBef>
                <a:spcPts val="0"/>
              </a:spcBef>
              <a:spcAft>
                <a:spcPts val="900"/>
              </a:spcAft>
              <a:buNone/>
              <a:defRPr sz="1200" b="1">
                <a:solidFill>
                  <a:schemeClr val="accent1"/>
                </a:solidFill>
              </a:defRPr>
            </a:lvl3pPr>
            <a:lvl4pPr marL="0" indent="0" algn="l">
              <a:spcBef>
                <a:spcPts val="0"/>
              </a:spcBef>
              <a:spcAft>
                <a:spcPts val="900"/>
              </a:spcAft>
              <a:buNone/>
              <a:defRPr sz="1200" b="1">
                <a:solidFill>
                  <a:schemeClr val="accent1"/>
                </a:solidFill>
              </a:defRPr>
            </a:lvl4pPr>
            <a:lvl5pPr marL="0" indent="0" algn="l">
              <a:spcBef>
                <a:spcPts val="0"/>
              </a:spcBef>
              <a:spcAft>
                <a:spcPts val="900"/>
              </a:spcAft>
              <a:buNone/>
              <a:defRPr sz="1200" b="1">
                <a:solidFill>
                  <a:schemeClr val="accent1"/>
                </a:solidFill>
              </a:defRPr>
            </a:lvl5pPr>
            <a:lvl6pPr marL="0" indent="0" algn="l">
              <a:spcBef>
                <a:spcPts val="0"/>
              </a:spcBef>
              <a:spcAft>
                <a:spcPts val="900"/>
              </a:spcAft>
              <a:buNone/>
              <a:defRPr sz="1200" b="1">
                <a:solidFill>
                  <a:schemeClr val="accent1"/>
                </a:solidFill>
              </a:defRPr>
            </a:lvl6pPr>
            <a:lvl7pPr marL="0" indent="0" algn="l">
              <a:spcBef>
                <a:spcPts val="0"/>
              </a:spcBef>
              <a:spcAft>
                <a:spcPts val="900"/>
              </a:spcAft>
              <a:buNone/>
              <a:defRPr sz="1200" b="1">
                <a:solidFill>
                  <a:schemeClr val="accent1"/>
                </a:solidFill>
              </a:defRPr>
            </a:lvl7pPr>
            <a:lvl8pPr marL="0" indent="0" algn="l">
              <a:spcBef>
                <a:spcPts val="0"/>
              </a:spcBef>
              <a:spcAft>
                <a:spcPts val="900"/>
              </a:spcAft>
              <a:buNone/>
              <a:defRPr sz="1200" b="1">
                <a:solidFill>
                  <a:schemeClr val="accent1"/>
                </a:solidFill>
              </a:defRPr>
            </a:lvl8pPr>
            <a:lvl9pPr marL="0" indent="0" algn="l">
              <a:spcBef>
                <a:spcPts val="0"/>
              </a:spcBef>
              <a:spcAft>
                <a:spcPts val="900"/>
              </a:spcAft>
              <a:buNone/>
              <a:defRPr sz="1200" b="1">
                <a:solidFill>
                  <a:schemeClr val="accent1"/>
                </a:solidFill>
              </a:defRPr>
            </a:lvl9pPr>
          </a:lstStyle>
          <a:p>
            <a:pPr lvl="0"/>
            <a:r>
              <a:rPr lang="en-US" noProof="0" dirty="0"/>
              <a:t>Subtitle and other information of this presentation</a:t>
            </a:r>
            <a:endParaRPr lang="en-US" dirty="0"/>
          </a:p>
          <a:p>
            <a:pPr lvl="0"/>
            <a:endParaRPr lang="en-US" noProof="0" dirty="0"/>
          </a:p>
        </p:txBody>
      </p:sp>
      <p:sp>
        <p:nvSpPr>
          <p:cNvPr id="2" name="Title 1"/>
          <p:cNvSpPr>
            <a:spLocks noGrp="1"/>
          </p:cNvSpPr>
          <p:nvPr>
            <p:ph type="ctrTitle" hasCustomPrompt="1"/>
          </p:nvPr>
        </p:nvSpPr>
        <p:spPr bwMode="gray">
          <a:xfrm>
            <a:off x="5160001" y="2301847"/>
            <a:ext cx="6408113" cy="479841"/>
          </a:xfrm>
          <a:prstGeom prst="rect">
            <a:avLst/>
          </a:prstGeom>
          <a:noFill/>
        </p:spPr>
        <p:txBody>
          <a:bodyPr anchor="b"/>
          <a:lstStyle>
            <a:lvl1pPr algn="l">
              <a:lnSpc>
                <a:spcPct val="100000"/>
              </a:lnSpc>
              <a:defRPr sz="300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pic>
        <p:nvPicPr>
          <p:cNvPr id="4" name="Grafik 3"/>
          <p:cNvPicPr>
            <a:picLocks noChangeAspect="1"/>
          </p:cNvPicPr>
          <p:nvPr userDrawn="1"/>
        </p:nvPicPr>
        <p:blipFill>
          <a:blip r:embed="rId6"/>
          <a:stretch>
            <a:fillRect/>
          </a:stretch>
        </p:blipFill>
        <p:spPr bwMode="gray">
          <a:xfrm>
            <a:off x="468665" y="5341463"/>
            <a:ext cx="2520000" cy="1254424"/>
          </a:xfrm>
          <a:prstGeom prst="rect">
            <a:avLst/>
          </a:prstGeom>
        </p:spPr>
      </p:pic>
      <p:sp>
        <p:nvSpPr>
          <p:cNvPr id="18" name="Rechteck 19"/>
          <p:cNvSpPr/>
          <p:nvPr userDrawn="1"/>
        </p:nvSpPr>
        <p:spPr bwMode="gray">
          <a:xfrm>
            <a:off x="0" y="-387424"/>
            <a:ext cx="12192000" cy="288032"/>
          </a:xfrm>
          <a:prstGeom prst="rect">
            <a:avLst/>
          </a:prstGeom>
          <a:solidFill>
            <a:srgbClr val="E61E50"/>
          </a:solidFill>
          <a:ln w="9525" cap="flat" cmpd="sng" algn="ctr">
            <a:noFill/>
            <a:prstDash val="solid"/>
          </a:ln>
          <a:effectLst/>
        </p:spPr>
        <p:txBody>
          <a:bodyPr rtlCol="0" anchor="ctr" anchorCtr="0"/>
          <a:lstStyle/>
          <a:p>
            <a:pPr marL="0" indent="0" algn="ctr">
              <a:spcBef>
                <a:spcPts val="225"/>
              </a:spcBef>
              <a:spcAft>
                <a:spcPts val="225"/>
              </a:spcAft>
              <a:buClr>
                <a:schemeClr val="bg1"/>
              </a:buClr>
              <a:buSzPct val="100000"/>
              <a:buFont typeface="Arial" panose="020B0604020202020204" pitchFamily="34" charset="0"/>
              <a:buNone/>
            </a:pPr>
            <a:r>
              <a:rPr lang="en-US" sz="1050" kern="0" dirty="0">
                <a:solidFill>
                  <a:srgbClr val="FFFFFF"/>
                </a:solidFill>
                <a:latin typeface="+mn-lt"/>
              </a:rPr>
              <a:t>Only to be used in USA &amp; Canada, never outside these two countries</a:t>
            </a:r>
            <a:endParaRPr lang="de-DE" sz="1050" kern="0" dirty="0">
              <a:solidFill>
                <a:srgbClr val="FFFFFF"/>
              </a:solidFill>
              <a:latin typeface="Verdana"/>
            </a:endParaRPr>
          </a:p>
        </p:txBody>
      </p:sp>
      <p:sp>
        <p:nvSpPr>
          <p:cNvPr id="19" name="Rechteck 13"/>
          <p:cNvSpPr/>
          <p:nvPr userDrawn="1"/>
        </p:nvSpPr>
        <p:spPr bwMode="gray">
          <a:xfrm rot="3627368">
            <a:off x="2485848" y="5551188"/>
            <a:ext cx="2118198" cy="360040"/>
          </a:xfrm>
          <a:prstGeom prst="rect">
            <a:avLst/>
          </a:prstGeom>
          <a:noFill/>
          <a:ln w="9525" cap="flat" cmpd="sng" algn="ctr">
            <a:noFill/>
            <a:prstDash val="solid"/>
          </a:ln>
          <a:effectLst/>
        </p:spPr>
        <p:txBody>
          <a:bodyPr lIns="0" tIns="0" rIns="0" bIns="0" rtlCol="0" anchor="t" anchorCtr="0"/>
          <a:lstStyle/>
          <a:p>
            <a:pPr marL="0" indent="0">
              <a:spcBef>
                <a:spcPts val="225"/>
              </a:spcBef>
              <a:spcAft>
                <a:spcPts val="225"/>
              </a:spcAft>
              <a:buClr>
                <a:schemeClr val="bg1"/>
              </a:buClr>
              <a:buSzPct val="100000"/>
              <a:buFont typeface="Arial" panose="020B0604020202020204" pitchFamily="34" charset="0"/>
              <a:buNone/>
            </a:pPr>
            <a:r>
              <a:rPr lang="en-US" sz="525" kern="0" dirty="0">
                <a:solidFill>
                  <a:srgbClr val="2DBECD"/>
                </a:solidFill>
                <a:latin typeface="+mn-lt"/>
              </a:rPr>
              <a:t>MilliporeSigma is a business of</a:t>
            </a:r>
            <a:br>
              <a:rPr lang="en-US" sz="525" kern="0" dirty="0">
                <a:solidFill>
                  <a:srgbClr val="2DBECD"/>
                </a:solidFill>
                <a:latin typeface="+mn-lt"/>
              </a:rPr>
            </a:br>
            <a:r>
              <a:rPr lang="en-US" sz="525" kern="0" dirty="0">
                <a:solidFill>
                  <a:srgbClr val="2DBECD"/>
                </a:solidFill>
                <a:latin typeface="+mn-lt"/>
              </a:rPr>
              <a:t>Merck KGaA, Darmstadt</a:t>
            </a:r>
            <a:r>
              <a:rPr lang="en-US" sz="525" kern="0" dirty="0">
                <a:solidFill>
                  <a:srgbClr val="2DBECD"/>
                </a:solidFill>
              </a:rPr>
              <a:t>, Germany</a:t>
            </a:r>
            <a:endParaRPr lang="de-DE" sz="525" kern="0" dirty="0">
              <a:solidFill>
                <a:srgbClr val="2DBECD"/>
              </a:solidFill>
              <a:latin typeface="Verdana"/>
            </a:endParaRPr>
          </a:p>
        </p:txBody>
      </p:sp>
      <p:sp>
        <p:nvSpPr>
          <p:cNvPr id="17" name="Freeform 5"/>
          <p:cNvSpPr>
            <a:spLocks noEditPoints="1"/>
          </p:cNvSpPr>
          <p:nvPr userDrawn="1"/>
        </p:nvSpPr>
        <p:spPr bwMode="auto">
          <a:xfrm>
            <a:off x="9969502" y="6060209"/>
            <a:ext cx="1820863" cy="465137"/>
          </a:xfrm>
          <a:custGeom>
            <a:avLst/>
            <a:gdLst>
              <a:gd name="T0" fmla="*/ 5746 w 47033"/>
              <a:gd name="T1" fmla="*/ 7214 h 11985"/>
              <a:gd name="T2" fmla="*/ 157 w 47033"/>
              <a:gd name="T3" fmla="*/ 7953 h 11985"/>
              <a:gd name="T4" fmla="*/ 3892 w 47033"/>
              <a:gd name="T5" fmla="*/ 10065 h 11985"/>
              <a:gd name="T6" fmla="*/ 1042 w 47033"/>
              <a:gd name="T7" fmla="*/ 10025 h 11985"/>
              <a:gd name="T8" fmla="*/ 2274 w 47033"/>
              <a:gd name="T9" fmla="*/ 11918 h 11985"/>
              <a:gd name="T10" fmla="*/ 5242 w 47033"/>
              <a:gd name="T11" fmla="*/ 9018 h 11985"/>
              <a:gd name="T12" fmla="*/ 12027 w 47033"/>
              <a:gd name="T13" fmla="*/ 840 h 11985"/>
              <a:gd name="T14" fmla="*/ 2328 w 47033"/>
              <a:gd name="T15" fmla="*/ 405 h 11985"/>
              <a:gd name="T16" fmla="*/ 1484 w 47033"/>
              <a:gd name="T17" fmla="*/ 5712 h 11985"/>
              <a:gd name="T18" fmla="*/ 9685 w 47033"/>
              <a:gd name="T19" fmla="*/ 3071 h 11985"/>
              <a:gd name="T20" fmla="*/ 12027 w 47033"/>
              <a:gd name="T21" fmla="*/ 5543 h 11985"/>
              <a:gd name="T22" fmla="*/ 37476 w 47033"/>
              <a:gd name="T23" fmla="*/ 4017 h 11985"/>
              <a:gd name="T24" fmla="*/ 39160 w 47033"/>
              <a:gd name="T25" fmla="*/ 2513 h 11985"/>
              <a:gd name="T26" fmla="*/ 35890 w 47033"/>
              <a:gd name="T27" fmla="*/ 5657 h 11985"/>
              <a:gd name="T28" fmla="*/ 35115 w 47033"/>
              <a:gd name="T29" fmla="*/ 124 h 11985"/>
              <a:gd name="T30" fmla="*/ 40508 w 47033"/>
              <a:gd name="T31" fmla="*/ 3372 h 11985"/>
              <a:gd name="T32" fmla="*/ 43843 w 47033"/>
              <a:gd name="T33" fmla="*/ 4078 h 11985"/>
              <a:gd name="T34" fmla="*/ 43824 w 47033"/>
              <a:gd name="T35" fmla="*/ 1468 h 11985"/>
              <a:gd name="T36" fmla="*/ 44709 w 47033"/>
              <a:gd name="T37" fmla="*/ 3605 h 11985"/>
              <a:gd name="T38" fmla="*/ 43809 w 47033"/>
              <a:gd name="T39" fmla="*/ 0 h 11985"/>
              <a:gd name="T40" fmla="*/ 44542 w 47033"/>
              <a:gd name="T41" fmla="*/ 5712 h 11985"/>
              <a:gd name="T42" fmla="*/ 28851 w 47033"/>
              <a:gd name="T43" fmla="*/ 157 h 11985"/>
              <a:gd name="T44" fmla="*/ 33992 w 47033"/>
              <a:gd name="T45" fmla="*/ 5141 h 11985"/>
              <a:gd name="T46" fmla="*/ 28986 w 47033"/>
              <a:gd name="T47" fmla="*/ 0 h 11985"/>
              <a:gd name="T48" fmla="*/ 32855 w 47033"/>
              <a:gd name="T49" fmla="*/ 4077 h 11985"/>
              <a:gd name="T50" fmla="*/ 26686 w 47033"/>
              <a:gd name="T51" fmla="*/ 7111 h 11985"/>
              <a:gd name="T52" fmla="*/ 16988 w 47033"/>
              <a:gd name="T53" fmla="*/ 6676 h 11985"/>
              <a:gd name="T54" fmla="*/ 16144 w 47033"/>
              <a:gd name="T55" fmla="*/ 11982 h 11985"/>
              <a:gd name="T56" fmla="*/ 24345 w 47033"/>
              <a:gd name="T57" fmla="*/ 9342 h 11985"/>
              <a:gd name="T58" fmla="*/ 26686 w 47033"/>
              <a:gd name="T59" fmla="*/ 11814 h 11985"/>
              <a:gd name="T60" fmla="*/ 12607 w 47033"/>
              <a:gd name="T61" fmla="*/ 157 h 11985"/>
              <a:gd name="T62" fmla="*/ 14174 w 47033"/>
              <a:gd name="T63" fmla="*/ 2897 h 11985"/>
              <a:gd name="T64" fmla="*/ 12842 w 47033"/>
              <a:gd name="T65" fmla="*/ 5477 h 11985"/>
              <a:gd name="T66" fmla="*/ 17175 w 47033"/>
              <a:gd name="T67" fmla="*/ 4265 h 11985"/>
              <a:gd name="T68" fmla="*/ 15440 w 47033"/>
              <a:gd name="T69" fmla="*/ 0 h 11985"/>
              <a:gd name="T70" fmla="*/ 17175 w 47033"/>
              <a:gd name="T71" fmla="*/ 5766 h 11985"/>
              <a:gd name="T72" fmla="*/ 24357 w 47033"/>
              <a:gd name="T73" fmla="*/ 2588 h 11985"/>
              <a:gd name="T74" fmla="*/ 26793 w 47033"/>
              <a:gd name="T75" fmla="*/ 2823 h 11985"/>
              <a:gd name="T76" fmla="*/ 22772 w 47033"/>
              <a:gd name="T77" fmla="*/ 1 h 11985"/>
              <a:gd name="T78" fmla="*/ 24206 w 47033"/>
              <a:gd name="T79" fmla="*/ 4279 h 11985"/>
              <a:gd name="T80" fmla="*/ 27395 w 47033"/>
              <a:gd name="T81" fmla="*/ 10806 h 11985"/>
              <a:gd name="T82" fmla="*/ 32640 w 47033"/>
              <a:gd name="T83" fmla="*/ 8287 h 11985"/>
              <a:gd name="T84" fmla="*/ 27502 w 47033"/>
              <a:gd name="T85" fmla="*/ 7515 h 11985"/>
              <a:gd name="T86" fmla="*/ 27098 w 47033"/>
              <a:gd name="T87" fmla="*/ 9798 h 11985"/>
              <a:gd name="T88" fmla="*/ 29175 w 47033"/>
              <a:gd name="T89" fmla="*/ 10517 h 11985"/>
              <a:gd name="T90" fmla="*/ 10571 w 47033"/>
              <a:gd name="T91" fmla="*/ 8701 h 11985"/>
              <a:gd name="T92" fmla="*/ 11747 w 47033"/>
              <a:gd name="T93" fmla="*/ 10504 h 11985"/>
              <a:gd name="T94" fmla="*/ 13930 w 47033"/>
              <a:gd name="T95" fmla="*/ 7750 h 11985"/>
              <a:gd name="T96" fmla="*/ 9092 w 47033"/>
              <a:gd name="T97" fmla="*/ 6932 h 11985"/>
              <a:gd name="T98" fmla="*/ 14042 w 47033"/>
              <a:gd name="T99" fmla="*/ 11983 h 11985"/>
              <a:gd name="T100" fmla="*/ 19265 w 47033"/>
              <a:gd name="T101" fmla="*/ 3897 h 11985"/>
              <a:gd name="T102" fmla="*/ 17435 w 47033"/>
              <a:gd name="T103" fmla="*/ 135 h 11985"/>
              <a:gd name="T104" fmla="*/ 22053 w 47033"/>
              <a:gd name="T105" fmla="*/ 1321 h 11985"/>
              <a:gd name="T106" fmla="*/ 20620 w 47033"/>
              <a:gd name="T107" fmla="*/ 1477 h 11985"/>
              <a:gd name="T108" fmla="*/ 21169 w 47033"/>
              <a:gd name="T109" fmla="*/ 2024 h 11985"/>
              <a:gd name="T110" fmla="*/ 21896 w 47033"/>
              <a:gd name="T111" fmla="*/ 5712 h 11985"/>
              <a:gd name="T112" fmla="*/ 6283 w 47033"/>
              <a:gd name="T113" fmla="*/ 6427 h 11985"/>
              <a:gd name="T114" fmla="*/ 7850 w 47033"/>
              <a:gd name="T115" fmla="*/ 9168 h 11985"/>
              <a:gd name="T116" fmla="*/ 6518 w 47033"/>
              <a:gd name="T117" fmla="*/ 11748 h 11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033" h="11985">
                <a:moveTo>
                  <a:pt x="3646" y="7701"/>
                </a:moveTo>
                <a:cubicBezTo>
                  <a:pt x="3911" y="7772"/>
                  <a:pt x="4140" y="7863"/>
                  <a:pt x="4335" y="7976"/>
                </a:cubicBezTo>
                <a:cubicBezTo>
                  <a:pt x="4432" y="8036"/>
                  <a:pt x="4505" y="8073"/>
                  <a:pt x="4553" y="8088"/>
                </a:cubicBezTo>
                <a:cubicBezTo>
                  <a:pt x="4602" y="8103"/>
                  <a:pt x="4656" y="8110"/>
                  <a:pt x="4716" y="8110"/>
                </a:cubicBezTo>
                <a:cubicBezTo>
                  <a:pt x="4850" y="8110"/>
                  <a:pt x="4992" y="8036"/>
                  <a:pt x="5141" y="7886"/>
                </a:cubicBezTo>
                <a:cubicBezTo>
                  <a:pt x="5712" y="7292"/>
                  <a:pt x="5712" y="7292"/>
                  <a:pt x="5712" y="7292"/>
                </a:cubicBezTo>
                <a:cubicBezTo>
                  <a:pt x="5735" y="7270"/>
                  <a:pt x="5746" y="7244"/>
                  <a:pt x="5746" y="7214"/>
                </a:cubicBezTo>
                <a:cubicBezTo>
                  <a:pt x="5746" y="7177"/>
                  <a:pt x="5723" y="7136"/>
                  <a:pt x="5679" y="7091"/>
                </a:cubicBezTo>
                <a:cubicBezTo>
                  <a:pt x="5358" y="6800"/>
                  <a:pt x="4942" y="6572"/>
                  <a:pt x="4430" y="6408"/>
                </a:cubicBezTo>
                <a:cubicBezTo>
                  <a:pt x="3919" y="6244"/>
                  <a:pt x="3379" y="6162"/>
                  <a:pt x="2812" y="6162"/>
                </a:cubicBezTo>
                <a:cubicBezTo>
                  <a:pt x="2460" y="6162"/>
                  <a:pt x="2127" y="6194"/>
                  <a:pt x="1809" y="6262"/>
                </a:cubicBezTo>
                <a:cubicBezTo>
                  <a:pt x="1492" y="6329"/>
                  <a:pt x="1210" y="6434"/>
                  <a:pt x="964" y="6576"/>
                </a:cubicBezTo>
                <a:cubicBezTo>
                  <a:pt x="717" y="6718"/>
                  <a:pt x="521" y="6903"/>
                  <a:pt x="376" y="7130"/>
                </a:cubicBezTo>
                <a:cubicBezTo>
                  <a:pt x="230" y="7358"/>
                  <a:pt x="157" y="7632"/>
                  <a:pt x="157" y="7953"/>
                </a:cubicBezTo>
                <a:cubicBezTo>
                  <a:pt x="157" y="8237"/>
                  <a:pt x="220" y="8479"/>
                  <a:pt x="348" y="8682"/>
                </a:cubicBezTo>
                <a:cubicBezTo>
                  <a:pt x="475" y="8883"/>
                  <a:pt x="650" y="9054"/>
                  <a:pt x="873" y="9196"/>
                </a:cubicBezTo>
                <a:cubicBezTo>
                  <a:pt x="1098" y="9338"/>
                  <a:pt x="1363" y="9452"/>
                  <a:pt x="1669" y="9538"/>
                </a:cubicBezTo>
                <a:cubicBezTo>
                  <a:pt x="1975" y="9624"/>
                  <a:pt x="2307" y="9693"/>
                  <a:pt x="2666" y="9745"/>
                </a:cubicBezTo>
                <a:cubicBezTo>
                  <a:pt x="2927" y="9783"/>
                  <a:pt x="3140" y="9818"/>
                  <a:pt x="3304" y="9852"/>
                </a:cubicBezTo>
                <a:cubicBezTo>
                  <a:pt x="3469" y="9885"/>
                  <a:pt x="3599" y="9919"/>
                  <a:pt x="3696" y="9952"/>
                </a:cubicBezTo>
                <a:cubicBezTo>
                  <a:pt x="3793" y="9986"/>
                  <a:pt x="3859" y="10023"/>
                  <a:pt x="3892" y="10065"/>
                </a:cubicBezTo>
                <a:cubicBezTo>
                  <a:pt x="3926" y="10105"/>
                  <a:pt x="3943" y="10156"/>
                  <a:pt x="3943" y="10216"/>
                </a:cubicBezTo>
                <a:cubicBezTo>
                  <a:pt x="3943" y="10335"/>
                  <a:pt x="3870" y="10419"/>
                  <a:pt x="3724" y="10468"/>
                </a:cubicBezTo>
                <a:cubicBezTo>
                  <a:pt x="3579" y="10516"/>
                  <a:pt x="3386" y="10541"/>
                  <a:pt x="3148" y="10541"/>
                </a:cubicBezTo>
                <a:cubicBezTo>
                  <a:pt x="2752" y="10541"/>
                  <a:pt x="2416" y="10507"/>
                  <a:pt x="2139" y="10440"/>
                </a:cubicBezTo>
                <a:cubicBezTo>
                  <a:pt x="1863" y="10372"/>
                  <a:pt x="1624" y="10279"/>
                  <a:pt x="1422" y="10160"/>
                </a:cubicBezTo>
                <a:cubicBezTo>
                  <a:pt x="1326" y="10100"/>
                  <a:pt x="1253" y="10063"/>
                  <a:pt x="1205" y="10048"/>
                </a:cubicBezTo>
                <a:cubicBezTo>
                  <a:pt x="1156" y="10033"/>
                  <a:pt x="1102" y="10025"/>
                  <a:pt x="1042" y="10025"/>
                </a:cubicBezTo>
                <a:cubicBezTo>
                  <a:pt x="907" y="10025"/>
                  <a:pt x="766" y="10100"/>
                  <a:pt x="616" y="10249"/>
                </a:cubicBezTo>
                <a:cubicBezTo>
                  <a:pt x="34" y="10854"/>
                  <a:pt x="34" y="10854"/>
                  <a:pt x="34" y="10854"/>
                </a:cubicBezTo>
                <a:cubicBezTo>
                  <a:pt x="11" y="10877"/>
                  <a:pt x="0" y="10903"/>
                  <a:pt x="0" y="10932"/>
                </a:cubicBezTo>
                <a:cubicBezTo>
                  <a:pt x="0" y="10970"/>
                  <a:pt x="23" y="11011"/>
                  <a:pt x="68" y="11056"/>
                </a:cubicBezTo>
                <a:cubicBezTo>
                  <a:pt x="210" y="11198"/>
                  <a:pt x="390" y="11327"/>
                  <a:pt x="611" y="11442"/>
                </a:cubicBezTo>
                <a:cubicBezTo>
                  <a:pt x="831" y="11558"/>
                  <a:pt x="1081" y="11655"/>
                  <a:pt x="1361" y="11733"/>
                </a:cubicBezTo>
                <a:cubicBezTo>
                  <a:pt x="1641" y="11812"/>
                  <a:pt x="1945" y="11873"/>
                  <a:pt x="2274" y="11918"/>
                </a:cubicBezTo>
                <a:cubicBezTo>
                  <a:pt x="2602" y="11963"/>
                  <a:pt x="2946" y="11985"/>
                  <a:pt x="3304" y="11985"/>
                </a:cubicBezTo>
                <a:cubicBezTo>
                  <a:pt x="5668" y="11985"/>
                  <a:pt x="5668" y="11985"/>
                  <a:pt x="5668" y="11985"/>
                </a:cubicBezTo>
                <a:cubicBezTo>
                  <a:pt x="5705" y="11985"/>
                  <a:pt x="5731" y="11970"/>
                  <a:pt x="5746" y="11941"/>
                </a:cubicBezTo>
                <a:cubicBezTo>
                  <a:pt x="5753" y="11926"/>
                  <a:pt x="5757" y="11907"/>
                  <a:pt x="5757" y="11884"/>
                </a:cubicBezTo>
                <a:cubicBezTo>
                  <a:pt x="5757" y="10574"/>
                  <a:pt x="5757" y="10574"/>
                  <a:pt x="5757" y="10574"/>
                </a:cubicBezTo>
                <a:cubicBezTo>
                  <a:pt x="5757" y="10193"/>
                  <a:pt x="5712" y="9878"/>
                  <a:pt x="5623" y="9628"/>
                </a:cubicBezTo>
                <a:cubicBezTo>
                  <a:pt x="5534" y="9378"/>
                  <a:pt x="5406" y="9174"/>
                  <a:pt x="5242" y="9018"/>
                </a:cubicBezTo>
                <a:cubicBezTo>
                  <a:pt x="5078" y="8860"/>
                  <a:pt x="4878" y="8741"/>
                  <a:pt x="4643" y="8659"/>
                </a:cubicBezTo>
                <a:cubicBezTo>
                  <a:pt x="4408" y="8577"/>
                  <a:pt x="4144" y="8513"/>
                  <a:pt x="3853" y="8469"/>
                </a:cubicBezTo>
                <a:cubicBezTo>
                  <a:pt x="3248" y="8379"/>
                  <a:pt x="2770" y="8297"/>
                  <a:pt x="2419" y="8222"/>
                </a:cubicBezTo>
                <a:cubicBezTo>
                  <a:pt x="2069" y="8147"/>
                  <a:pt x="1893" y="8039"/>
                  <a:pt x="1893" y="7897"/>
                </a:cubicBezTo>
                <a:cubicBezTo>
                  <a:pt x="1893" y="7696"/>
                  <a:pt x="2177" y="7595"/>
                  <a:pt x="2745" y="7595"/>
                </a:cubicBezTo>
                <a:cubicBezTo>
                  <a:pt x="3081" y="7595"/>
                  <a:pt x="3381" y="7630"/>
                  <a:pt x="3646" y="7701"/>
                </a:cubicBezTo>
                <a:close/>
                <a:moveTo>
                  <a:pt x="12027" y="840"/>
                </a:moveTo>
                <a:cubicBezTo>
                  <a:pt x="12027" y="376"/>
                  <a:pt x="11651" y="0"/>
                  <a:pt x="11187" y="0"/>
                </a:cubicBezTo>
                <a:cubicBezTo>
                  <a:pt x="10297" y="0"/>
                  <a:pt x="10297" y="0"/>
                  <a:pt x="10297" y="0"/>
                </a:cubicBezTo>
                <a:cubicBezTo>
                  <a:pt x="10253" y="1"/>
                  <a:pt x="10213" y="18"/>
                  <a:pt x="10183" y="46"/>
                </a:cubicBezTo>
                <a:cubicBezTo>
                  <a:pt x="8399" y="1721"/>
                  <a:pt x="8399" y="1721"/>
                  <a:pt x="8399" y="1721"/>
                </a:cubicBezTo>
                <a:cubicBezTo>
                  <a:pt x="7789" y="2294"/>
                  <a:pt x="6967" y="2617"/>
                  <a:pt x="6063" y="2617"/>
                </a:cubicBezTo>
                <a:cubicBezTo>
                  <a:pt x="5121" y="2617"/>
                  <a:pt x="4269" y="2265"/>
                  <a:pt x="3651" y="1648"/>
                </a:cubicBezTo>
                <a:cubicBezTo>
                  <a:pt x="3651" y="1648"/>
                  <a:pt x="2340" y="416"/>
                  <a:pt x="2328" y="405"/>
                </a:cubicBezTo>
                <a:cubicBezTo>
                  <a:pt x="2077" y="171"/>
                  <a:pt x="1730" y="9"/>
                  <a:pt x="1332" y="0"/>
                </a:cubicBezTo>
                <a:cubicBezTo>
                  <a:pt x="267" y="0"/>
                  <a:pt x="267" y="0"/>
                  <a:pt x="267" y="0"/>
                </a:cubicBezTo>
                <a:cubicBezTo>
                  <a:pt x="175" y="0"/>
                  <a:pt x="99" y="76"/>
                  <a:pt x="99" y="168"/>
                </a:cubicBezTo>
                <a:cubicBezTo>
                  <a:pt x="99" y="4872"/>
                  <a:pt x="99" y="4872"/>
                  <a:pt x="99" y="4872"/>
                </a:cubicBezTo>
                <a:cubicBezTo>
                  <a:pt x="99" y="5336"/>
                  <a:pt x="475" y="5712"/>
                  <a:pt x="939" y="5712"/>
                </a:cubicBezTo>
                <a:cubicBezTo>
                  <a:pt x="1264" y="5712"/>
                  <a:pt x="1264" y="5712"/>
                  <a:pt x="1264" y="5712"/>
                </a:cubicBezTo>
                <a:cubicBezTo>
                  <a:pt x="1484" y="5712"/>
                  <a:pt x="1484" y="5712"/>
                  <a:pt x="1484" y="5712"/>
                </a:cubicBezTo>
                <a:cubicBezTo>
                  <a:pt x="1577" y="5712"/>
                  <a:pt x="1653" y="5636"/>
                  <a:pt x="1653" y="5543"/>
                </a:cubicBezTo>
                <a:cubicBezTo>
                  <a:pt x="1653" y="3869"/>
                  <a:pt x="1653" y="3869"/>
                  <a:pt x="1653" y="3869"/>
                </a:cubicBezTo>
                <a:cubicBezTo>
                  <a:pt x="1653" y="3432"/>
                  <a:pt x="2010" y="3071"/>
                  <a:pt x="2441" y="3071"/>
                </a:cubicBezTo>
                <a:cubicBezTo>
                  <a:pt x="3242" y="3071"/>
                  <a:pt x="3816" y="3757"/>
                  <a:pt x="4335" y="4216"/>
                </a:cubicBezTo>
                <a:cubicBezTo>
                  <a:pt x="4971" y="4777"/>
                  <a:pt x="5461" y="5318"/>
                  <a:pt x="6063" y="5318"/>
                </a:cubicBezTo>
                <a:cubicBezTo>
                  <a:pt x="6665" y="5318"/>
                  <a:pt x="7155" y="4777"/>
                  <a:pt x="7791" y="4216"/>
                </a:cubicBezTo>
                <a:cubicBezTo>
                  <a:pt x="8310" y="3757"/>
                  <a:pt x="8884" y="3071"/>
                  <a:pt x="9685" y="3071"/>
                </a:cubicBezTo>
                <a:cubicBezTo>
                  <a:pt x="10113" y="3071"/>
                  <a:pt x="10469" y="3428"/>
                  <a:pt x="10473" y="3862"/>
                </a:cubicBezTo>
                <a:cubicBezTo>
                  <a:pt x="10473" y="3862"/>
                  <a:pt x="10473" y="4865"/>
                  <a:pt x="10473" y="4872"/>
                </a:cubicBezTo>
                <a:cubicBezTo>
                  <a:pt x="10473" y="5336"/>
                  <a:pt x="10849" y="5711"/>
                  <a:pt x="11313" y="5711"/>
                </a:cubicBezTo>
                <a:cubicBezTo>
                  <a:pt x="11313" y="5711"/>
                  <a:pt x="11662" y="5711"/>
                  <a:pt x="11676" y="5711"/>
                </a:cubicBezTo>
                <a:cubicBezTo>
                  <a:pt x="11770" y="5711"/>
                  <a:pt x="11858" y="5712"/>
                  <a:pt x="11858" y="5712"/>
                </a:cubicBezTo>
                <a:cubicBezTo>
                  <a:pt x="11858" y="5712"/>
                  <a:pt x="11858" y="5712"/>
                  <a:pt x="11858" y="5712"/>
                </a:cubicBezTo>
                <a:cubicBezTo>
                  <a:pt x="11951" y="5712"/>
                  <a:pt x="12027" y="5636"/>
                  <a:pt x="12027" y="5543"/>
                </a:cubicBezTo>
                <a:cubicBezTo>
                  <a:pt x="12027" y="5541"/>
                  <a:pt x="12027" y="880"/>
                  <a:pt x="12027" y="840"/>
                </a:cubicBezTo>
                <a:close/>
                <a:moveTo>
                  <a:pt x="41328" y="5154"/>
                </a:moveTo>
                <a:cubicBezTo>
                  <a:pt x="41328" y="5550"/>
                  <a:pt x="41328" y="5550"/>
                  <a:pt x="41328" y="5550"/>
                </a:cubicBezTo>
                <a:cubicBezTo>
                  <a:pt x="41328" y="5655"/>
                  <a:pt x="41284" y="5713"/>
                  <a:pt x="41196" y="5713"/>
                </a:cubicBezTo>
                <a:cubicBezTo>
                  <a:pt x="39953" y="5711"/>
                  <a:pt x="39953" y="5711"/>
                  <a:pt x="39953" y="5711"/>
                </a:cubicBezTo>
                <a:cubicBezTo>
                  <a:pt x="39741" y="5711"/>
                  <a:pt x="39544" y="5637"/>
                  <a:pt x="39361" y="5504"/>
                </a:cubicBezTo>
                <a:cubicBezTo>
                  <a:pt x="39361" y="5504"/>
                  <a:pt x="37482" y="4022"/>
                  <a:pt x="37476" y="4017"/>
                </a:cubicBezTo>
                <a:cubicBezTo>
                  <a:pt x="37350" y="3905"/>
                  <a:pt x="37266" y="3719"/>
                  <a:pt x="37266" y="3508"/>
                </a:cubicBezTo>
                <a:cubicBezTo>
                  <a:pt x="37266" y="3508"/>
                  <a:pt x="37266" y="2897"/>
                  <a:pt x="37266" y="2897"/>
                </a:cubicBezTo>
                <a:cubicBezTo>
                  <a:pt x="37266" y="2793"/>
                  <a:pt x="37298" y="2741"/>
                  <a:pt x="37364" y="2741"/>
                </a:cubicBezTo>
                <a:cubicBezTo>
                  <a:pt x="37430" y="2741"/>
                  <a:pt x="37520" y="2784"/>
                  <a:pt x="37565" y="2798"/>
                </a:cubicBezTo>
                <a:cubicBezTo>
                  <a:pt x="37662" y="2833"/>
                  <a:pt x="37784" y="2866"/>
                  <a:pt x="37791" y="2868"/>
                </a:cubicBezTo>
                <a:cubicBezTo>
                  <a:pt x="37986" y="2930"/>
                  <a:pt x="38177" y="2963"/>
                  <a:pt x="38363" y="2963"/>
                </a:cubicBezTo>
                <a:cubicBezTo>
                  <a:pt x="38752" y="2963"/>
                  <a:pt x="39062" y="2790"/>
                  <a:pt x="39160" y="2513"/>
                </a:cubicBezTo>
                <a:cubicBezTo>
                  <a:pt x="39251" y="2257"/>
                  <a:pt x="38997" y="1663"/>
                  <a:pt x="38135" y="1445"/>
                </a:cubicBezTo>
                <a:cubicBezTo>
                  <a:pt x="37489" y="1282"/>
                  <a:pt x="36888" y="1408"/>
                  <a:pt x="36713" y="1731"/>
                </a:cubicBezTo>
                <a:cubicBezTo>
                  <a:pt x="36713" y="1731"/>
                  <a:pt x="36686" y="1781"/>
                  <a:pt x="36670" y="1833"/>
                </a:cubicBezTo>
                <a:cubicBezTo>
                  <a:pt x="36655" y="1883"/>
                  <a:pt x="36651" y="1958"/>
                  <a:pt x="36651" y="1989"/>
                </a:cubicBezTo>
                <a:cubicBezTo>
                  <a:pt x="36651" y="1989"/>
                  <a:pt x="36651" y="4294"/>
                  <a:pt x="36651" y="4327"/>
                </a:cubicBezTo>
                <a:cubicBezTo>
                  <a:pt x="36651" y="4678"/>
                  <a:pt x="36597" y="5004"/>
                  <a:pt x="36379" y="5291"/>
                </a:cubicBezTo>
                <a:cubicBezTo>
                  <a:pt x="36254" y="5457"/>
                  <a:pt x="36086" y="5593"/>
                  <a:pt x="35890" y="5657"/>
                </a:cubicBezTo>
                <a:cubicBezTo>
                  <a:pt x="35762" y="5697"/>
                  <a:pt x="35622" y="5712"/>
                  <a:pt x="35492" y="5712"/>
                </a:cubicBezTo>
                <a:cubicBezTo>
                  <a:pt x="35401" y="5712"/>
                  <a:pt x="35241" y="5707"/>
                  <a:pt x="35169" y="5669"/>
                </a:cubicBezTo>
                <a:cubicBezTo>
                  <a:pt x="35115" y="5639"/>
                  <a:pt x="35115" y="5581"/>
                  <a:pt x="35115" y="5527"/>
                </a:cubicBezTo>
                <a:cubicBezTo>
                  <a:pt x="35115" y="5143"/>
                  <a:pt x="35115" y="5143"/>
                  <a:pt x="35115" y="5143"/>
                </a:cubicBezTo>
                <a:cubicBezTo>
                  <a:pt x="35115" y="4848"/>
                  <a:pt x="35115" y="4848"/>
                  <a:pt x="35115" y="4848"/>
                </a:cubicBezTo>
                <a:cubicBezTo>
                  <a:pt x="35115" y="3990"/>
                  <a:pt x="35115" y="3990"/>
                  <a:pt x="35115" y="3990"/>
                </a:cubicBezTo>
                <a:cubicBezTo>
                  <a:pt x="35115" y="3990"/>
                  <a:pt x="35115" y="134"/>
                  <a:pt x="35115" y="124"/>
                </a:cubicBezTo>
                <a:cubicBezTo>
                  <a:pt x="35115" y="56"/>
                  <a:pt x="35171" y="0"/>
                  <a:pt x="35239" y="0"/>
                </a:cubicBezTo>
                <a:cubicBezTo>
                  <a:pt x="35243" y="0"/>
                  <a:pt x="37546" y="0"/>
                  <a:pt x="37546" y="0"/>
                </a:cubicBezTo>
                <a:cubicBezTo>
                  <a:pt x="37926" y="0"/>
                  <a:pt x="38306" y="64"/>
                  <a:pt x="38697" y="195"/>
                </a:cubicBezTo>
                <a:cubicBezTo>
                  <a:pt x="39088" y="326"/>
                  <a:pt x="39442" y="502"/>
                  <a:pt x="39756" y="726"/>
                </a:cubicBezTo>
                <a:cubicBezTo>
                  <a:pt x="40071" y="950"/>
                  <a:pt x="40327" y="1213"/>
                  <a:pt x="40524" y="1515"/>
                </a:cubicBezTo>
                <a:cubicBezTo>
                  <a:pt x="40722" y="1817"/>
                  <a:pt x="40820" y="2140"/>
                  <a:pt x="40820" y="2483"/>
                </a:cubicBezTo>
                <a:cubicBezTo>
                  <a:pt x="40820" y="2848"/>
                  <a:pt x="40711" y="3140"/>
                  <a:pt x="40508" y="3372"/>
                </a:cubicBezTo>
                <a:cubicBezTo>
                  <a:pt x="40181" y="3746"/>
                  <a:pt x="39821" y="3890"/>
                  <a:pt x="39711" y="3960"/>
                </a:cubicBezTo>
                <a:cubicBezTo>
                  <a:pt x="39809" y="4037"/>
                  <a:pt x="40036" y="4217"/>
                  <a:pt x="40343" y="4460"/>
                </a:cubicBezTo>
                <a:cubicBezTo>
                  <a:pt x="40937" y="4930"/>
                  <a:pt x="41237" y="5013"/>
                  <a:pt x="41238" y="5013"/>
                </a:cubicBezTo>
                <a:cubicBezTo>
                  <a:pt x="41280" y="5030"/>
                  <a:pt x="41328" y="5093"/>
                  <a:pt x="41328" y="5154"/>
                </a:cubicBezTo>
                <a:close/>
                <a:moveTo>
                  <a:pt x="46158" y="4229"/>
                </a:moveTo>
                <a:cubicBezTo>
                  <a:pt x="44501" y="4229"/>
                  <a:pt x="44501" y="4229"/>
                  <a:pt x="44501" y="4229"/>
                </a:cubicBezTo>
                <a:cubicBezTo>
                  <a:pt x="44265" y="4229"/>
                  <a:pt x="44051" y="4167"/>
                  <a:pt x="43843" y="4078"/>
                </a:cubicBezTo>
                <a:cubicBezTo>
                  <a:pt x="43665" y="4002"/>
                  <a:pt x="43392" y="3765"/>
                  <a:pt x="43311" y="3675"/>
                </a:cubicBezTo>
                <a:cubicBezTo>
                  <a:pt x="43159" y="3507"/>
                  <a:pt x="43041" y="3313"/>
                  <a:pt x="42956" y="3093"/>
                </a:cubicBezTo>
                <a:cubicBezTo>
                  <a:pt x="42871" y="2874"/>
                  <a:pt x="42829" y="2648"/>
                  <a:pt x="42829" y="2417"/>
                </a:cubicBezTo>
                <a:cubicBezTo>
                  <a:pt x="42829" y="2119"/>
                  <a:pt x="42913" y="1887"/>
                  <a:pt x="43083" y="1723"/>
                </a:cubicBezTo>
                <a:cubicBezTo>
                  <a:pt x="43104" y="1703"/>
                  <a:pt x="43177" y="1643"/>
                  <a:pt x="43262" y="1593"/>
                </a:cubicBezTo>
                <a:cubicBezTo>
                  <a:pt x="43347" y="1543"/>
                  <a:pt x="43440" y="1518"/>
                  <a:pt x="43501" y="1505"/>
                </a:cubicBezTo>
                <a:cubicBezTo>
                  <a:pt x="43599" y="1481"/>
                  <a:pt x="43708" y="1468"/>
                  <a:pt x="43824" y="1468"/>
                </a:cubicBezTo>
                <a:cubicBezTo>
                  <a:pt x="43939" y="1468"/>
                  <a:pt x="44047" y="1481"/>
                  <a:pt x="44146" y="1504"/>
                </a:cubicBezTo>
                <a:cubicBezTo>
                  <a:pt x="44332" y="1541"/>
                  <a:pt x="44515" y="1615"/>
                  <a:pt x="44695" y="1729"/>
                </a:cubicBezTo>
                <a:cubicBezTo>
                  <a:pt x="44953" y="1892"/>
                  <a:pt x="45227" y="2141"/>
                  <a:pt x="45410" y="2381"/>
                </a:cubicBezTo>
                <a:cubicBezTo>
                  <a:pt x="43687" y="2380"/>
                  <a:pt x="43687" y="2380"/>
                  <a:pt x="43687" y="2380"/>
                </a:cubicBezTo>
                <a:cubicBezTo>
                  <a:pt x="43583" y="2380"/>
                  <a:pt x="43532" y="2426"/>
                  <a:pt x="43532" y="2515"/>
                </a:cubicBezTo>
                <a:cubicBezTo>
                  <a:pt x="43532" y="2694"/>
                  <a:pt x="43559" y="2809"/>
                  <a:pt x="43629" y="2954"/>
                </a:cubicBezTo>
                <a:cubicBezTo>
                  <a:pt x="43699" y="3099"/>
                  <a:pt x="44031" y="3605"/>
                  <a:pt x="44709" y="3605"/>
                </a:cubicBezTo>
                <a:cubicBezTo>
                  <a:pt x="46313" y="3606"/>
                  <a:pt x="46313" y="3606"/>
                  <a:pt x="46313" y="3606"/>
                </a:cubicBezTo>
                <a:cubicBezTo>
                  <a:pt x="46594" y="3606"/>
                  <a:pt x="46788" y="3532"/>
                  <a:pt x="46895" y="3382"/>
                </a:cubicBezTo>
                <a:cubicBezTo>
                  <a:pt x="47002" y="3234"/>
                  <a:pt x="47033" y="3105"/>
                  <a:pt x="47033" y="2904"/>
                </a:cubicBezTo>
                <a:cubicBezTo>
                  <a:pt x="47033" y="2576"/>
                  <a:pt x="46946" y="2254"/>
                  <a:pt x="46773" y="1908"/>
                </a:cubicBezTo>
                <a:cubicBezTo>
                  <a:pt x="46599" y="1561"/>
                  <a:pt x="46364" y="1246"/>
                  <a:pt x="46069" y="962"/>
                </a:cubicBezTo>
                <a:cubicBezTo>
                  <a:pt x="45774" y="679"/>
                  <a:pt x="45430" y="448"/>
                  <a:pt x="45039" y="269"/>
                </a:cubicBezTo>
                <a:cubicBezTo>
                  <a:pt x="44647" y="90"/>
                  <a:pt x="44237" y="0"/>
                  <a:pt x="43809" y="0"/>
                </a:cubicBezTo>
                <a:cubicBezTo>
                  <a:pt x="43809" y="0"/>
                  <a:pt x="41455" y="0"/>
                  <a:pt x="41452" y="0"/>
                </a:cubicBezTo>
                <a:cubicBezTo>
                  <a:pt x="41383" y="0"/>
                  <a:pt x="41328" y="56"/>
                  <a:pt x="41328" y="124"/>
                </a:cubicBezTo>
                <a:cubicBezTo>
                  <a:pt x="41328" y="134"/>
                  <a:pt x="41328" y="2473"/>
                  <a:pt x="41328" y="2473"/>
                </a:cubicBezTo>
                <a:cubicBezTo>
                  <a:pt x="41328" y="2913"/>
                  <a:pt x="41412" y="3328"/>
                  <a:pt x="41582" y="3720"/>
                </a:cubicBezTo>
                <a:cubicBezTo>
                  <a:pt x="41752" y="4112"/>
                  <a:pt x="41983" y="4455"/>
                  <a:pt x="42275" y="4749"/>
                </a:cubicBezTo>
                <a:cubicBezTo>
                  <a:pt x="42566" y="5044"/>
                  <a:pt x="42906" y="5277"/>
                  <a:pt x="43294" y="5448"/>
                </a:cubicBezTo>
                <a:cubicBezTo>
                  <a:pt x="43682" y="5620"/>
                  <a:pt x="44099" y="5712"/>
                  <a:pt x="44542" y="5712"/>
                </a:cubicBezTo>
                <a:cubicBezTo>
                  <a:pt x="46909" y="5712"/>
                  <a:pt x="46909" y="5712"/>
                  <a:pt x="46909" y="5712"/>
                </a:cubicBezTo>
                <a:cubicBezTo>
                  <a:pt x="46978" y="5712"/>
                  <a:pt x="47033" y="5657"/>
                  <a:pt x="47033" y="5588"/>
                </a:cubicBezTo>
                <a:cubicBezTo>
                  <a:pt x="47033" y="5113"/>
                  <a:pt x="47033" y="5113"/>
                  <a:pt x="47033" y="5113"/>
                </a:cubicBezTo>
                <a:cubicBezTo>
                  <a:pt x="47033" y="4837"/>
                  <a:pt x="46955" y="4621"/>
                  <a:pt x="46800" y="4464"/>
                </a:cubicBezTo>
                <a:cubicBezTo>
                  <a:pt x="46645" y="4307"/>
                  <a:pt x="46431" y="4229"/>
                  <a:pt x="46158" y="4229"/>
                </a:cubicBezTo>
                <a:close/>
                <a:moveTo>
                  <a:pt x="28986" y="0"/>
                </a:moveTo>
                <a:cubicBezTo>
                  <a:pt x="28896" y="0"/>
                  <a:pt x="28851" y="52"/>
                  <a:pt x="28851" y="157"/>
                </a:cubicBezTo>
                <a:cubicBezTo>
                  <a:pt x="28851" y="2476"/>
                  <a:pt x="28851" y="2476"/>
                  <a:pt x="28851" y="2476"/>
                </a:cubicBezTo>
                <a:cubicBezTo>
                  <a:pt x="28851" y="2923"/>
                  <a:pt x="28944" y="3349"/>
                  <a:pt x="29132" y="3752"/>
                </a:cubicBezTo>
                <a:cubicBezTo>
                  <a:pt x="29318" y="4155"/>
                  <a:pt x="29566" y="4512"/>
                  <a:pt x="29876" y="4822"/>
                </a:cubicBezTo>
                <a:cubicBezTo>
                  <a:pt x="30186" y="5131"/>
                  <a:pt x="30543" y="5376"/>
                  <a:pt x="30945" y="5555"/>
                </a:cubicBezTo>
                <a:cubicBezTo>
                  <a:pt x="31349" y="5735"/>
                  <a:pt x="31767" y="5824"/>
                  <a:pt x="32200" y="5824"/>
                </a:cubicBezTo>
                <a:cubicBezTo>
                  <a:pt x="32574" y="5824"/>
                  <a:pt x="32911" y="5765"/>
                  <a:pt x="33213" y="5644"/>
                </a:cubicBezTo>
                <a:cubicBezTo>
                  <a:pt x="33516" y="5525"/>
                  <a:pt x="33775" y="5358"/>
                  <a:pt x="33992" y="5141"/>
                </a:cubicBezTo>
                <a:cubicBezTo>
                  <a:pt x="34208" y="4924"/>
                  <a:pt x="34376" y="4665"/>
                  <a:pt x="34496" y="4363"/>
                </a:cubicBezTo>
                <a:cubicBezTo>
                  <a:pt x="34616" y="4060"/>
                  <a:pt x="34676" y="3722"/>
                  <a:pt x="34676" y="3349"/>
                </a:cubicBezTo>
                <a:cubicBezTo>
                  <a:pt x="34676" y="2901"/>
                  <a:pt x="34582" y="2476"/>
                  <a:pt x="34395" y="2072"/>
                </a:cubicBezTo>
                <a:cubicBezTo>
                  <a:pt x="34208" y="1669"/>
                  <a:pt x="33960" y="1312"/>
                  <a:pt x="33651" y="1003"/>
                </a:cubicBezTo>
                <a:cubicBezTo>
                  <a:pt x="33341" y="693"/>
                  <a:pt x="32984" y="448"/>
                  <a:pt x="32581" y="269"/>
                </a:cubicBezTo>
                <a:cubicBezTo>
                  <a:pt x="32178" y="90"/>
                  <a:pt x="31760" y="0"/>
                  <a:pt x="31327" y="0"/>
                </a:cubicBezTo>
                <a:lnTo>
                  <a:pt x="28986" y="0"/>
                </a:lnTo>
                <a:close/>
                <a:moveTo>
                  <a:pt x="30677" y="1748"/>
                </a:moveTo>
                <a:cubicBezTo>
                  <a:pt x="30849" y="1568"/>
                  <a:pt x="31069" y="1478"/>
                  <a:pt x="31338" y="1478"/>
                </a:cubicBezTo>
                <a:cubicBezTo>
                  <a:pt x="31547" y="1478"/>
                  <a:pt x="31756" y="1536"/>
                  <a:pt x="31965" y="1652"/>
                </a:cubicBezTo>
                <a:cubicBezTo>
                  <a:pt x="32174" y="1768"/>
                  <a:pt x="32363" y="1918"/>
                  <a:pt x="32531" y="2100"/>
                </a:cubicBezTo>
                <a:cubicBezTo>
                  <a:pt x="32698" y="2283"/>
                  <a:pt x="32836" y="2487"/>
                  <a:pt x="32945" y="2711"/>
                </a:cubicBezTo>
                <a:cubicBezTo>
                  <a:pt x="33053" y="2934"/>
                  <a:pt x="33107" y="3159"/>
                  <a:pt x="33107" y="3383"/>
                </a:cubicBezTo>
                <a:cubicBezTo>
                  <a:pt x="33107" y="3666"/>
                  <a:pt x="33023" y="3898"/>
                  <a:pt x="32855" y="4077"/>
                </a:cubicBezTo>
                <a:cubicBezTo>
                  <a:pt x="32687" y="4256"/>
                  <a:pt x="32465" y="4346"/>
                  <a:pt x="32189" y="4346"/>
                </a:cubicBezTo>
                <a:cubicBezTo>
                  <a:pt x="31980" y="4346"/>
                  <a:pt x="31771" y="4288"/>
                  <a:pt x="31562" y="4172"/>
                </a:cubicBezTo>
                <a:cubicBezTo>
                  <a:pt x="31352" y="4056"/>
                  <a:pt x="31165" y="3907"/>
                  <a:pt x="30997" y="3724"/>
                </a:cubicBezTo>
                <a:cubicBezTo>
                  <a:pt x="30829" y="3541"/>
                  <a:pt x="30690" y="3337"/>
                  <a:pt x="30582" y="3114"/>
                </a:cubicBezTo>
                <a:cubicBezTo>
                  <a:pt x="30473" y="2890"/>
                  <a:pt x="30420" y="2666"/>
                  <a:pt x="30420" y="2442"/>
                </a:cubicBezTo>
                <a:cubicBezTo>
                  <a:pt x="30420" y="2158"/>
                  <a:pt x="30505" y="1927"/>
                  <a:pt x="30677" y="1748"/>
                </a:cubicBezTo>
                <a:close/>
                <a:moveTo>
                  <a:pt x="26686" y="7111"/>
                </a:moveTo>
                <a:cubicBezTo>
                  <a:pt x="26686" y="6647"/>
                  <a:pt x="26310" y="6271"/>
                  <a:pt x="25846" y="6271"/>
                </a:cubicBezTo>
                <a:cubicBezTo>
                  <a:pt x="24957" y="6271"/>
                  <a:pt x="24957" y="6271"/>
                  <a:pt x="24957" y="6271"/>
                </a:cubicBezTo>
                <a:cubicBezTo>
                  <a:pt x="24912" y="6271"/>
                  <a:pt x="24872" y="6289"/>
                  <a:pt x="24842" y="6317"/>
                </a:cubicBezTo>
                <a:cubicBezTo>
                  <a:pt x="23059" y="7991"/>
                  <a:pt x="23059" y="7991"/>
                  <a:pt x="23059" y="7991"/>
                </a:cubicBezTo>
                <a:cubicBezTo>
                  <a:pt x="22448" y="8565"/>
                  <a:pt x="21626" y="8887"/>
                  <a:pt x="20722" y="8887"/>
                </a:cubicBezTo>
                <a:cubicBezTo>
                  <a:pt x="19781" y="8887"/>
                  <a:pt x="18928" y="8535"/>
                  <a:pt x="18311" y="7918"/>
                </a:cubicBezTo>
                <a:cubicBezTo>
                  <a:pt x="18311" y="7918"/>
                  <a:pt x="17000" y="6687"/>
                  <a:pt x="16988" y="6676"/>
                </a:cubicBezTo>
                <a:cubicBezTo>
                  <a:pt x="16736" y="6441"/>
                  <a:pt x="16390" y="6280"/>
                  <a:pt x="15991" y="6271"/>
                </a:cubicBezTo>
                <a:cubicBezTo>
                  <a:pt x="14927" y="6271"/>
                  <a:pt x="14927" y="6271"/>
                  <a:pt x="14927" y="6271"/>
                </a:cubicBezTo>
                <a:cubicBezTo>
                  <a:pt x="14834" y="6271"/>
                  <a:pt x="14759" y="6346"/>
                  <a:pt x="14759" y="6439"/>
                </a:cubicBezTo>
                <a:cubicBezTo>
                  <a:pt x="14759" y="11142"/>
                  <a:pt x="14759" y="11142"/>
                  <a:pt x="14759" y="11142"/>
                </a:cubicBezTo>
                <a:cubicBezTo>
                  <a:pt x="14759" y="11606"/>
                  <a:pt x="15135" y="11983"/>
                  <a:pt x="15599" y="11983"/>
                </a:cubicBezTo>
                <a:cubicBezTo>
                  <a:pt x="15924" y="11983"/>
                  <a:pt x="15924" y="11983"/>
                  <a:pt x="15924" y="11983"/>
                </a:cubicBezTo>
                <a:cubicBezTo>
                  <a:pt x="16144" y="11982"/>
                  <a:pt x="16144" y="11982"/>
                  <a:pt x="16144" y="11982"/>
                </a:cubicBezTo>
                <a:cubicBezTo>
                  <a:pt x="16236" y="11982"/>
                  <a:pt x="16312" y="11907"/>
                  <a:pt x="16312" y="11813"/>
                </a:cubicBezTo>
                <a:cubicBezTo>
                  <a:pt x="16313" y="10140"/>
                  <a:pt x="16313" y="10140"/>
                  <a:pt x="16313" y="10140"/>
                </a:cubicBezTo>
                <a:cubicBezTo>
                  <a:pt x="16313" y="9702"/>
                  <a:pt x="16670" y="9342"/>
                  <a:pt x="17100" y="9342"/>
                </a:cubicBezTo>
                <a:cubicBezTo>
                  <a:pt x="17901" y="9342"/>
                  <a:pt x="18476" y="10028"/>
                  <a:pt x="18995" y="10486"/>
                </a:cubicBezTo>
                <a:cubicBezTo>
                  <a:pt x="19630" y="11048"/>
                  <a:pt x="20120" y="11589"/>
                  <a:pt x="20722" y="11589"/>
                </a:cubicBezTo>
                <a:cubicBezTo>
                  <a:pt x="21325" y="11589"/>
                  <a:pt x="21814" y="11048"/>
                  <a:pt x="22450" y="10486"/>
                </a:cubicBezTo>
                <a:cubicBezTo>
                  <a:pt x="22969" y="10028"/>
                  <a:pt x="23544" y="9342"/>
                  <a:pt x="24345" y="9342"/>
                </a:cubicBezTo>
                <a:cubicBezTo>
                  <a:pt x="24773" y="9342"/>
                  <a:pt x="25128" y="9698"/>
                  <a:pt x="25132" y="10133"/>
                </a:cubicBezTo>
                <a:cubicBezTo>
                  <a:pt x="25132" y="10133"/>
                  <a:pt x="25132" y="11136"/>
                  <a:pt x="25132" y="11142"/>
                </a:cubicBezTo>
                <a:cubicBezTo>
                  <a:pt x="25132" y="11606"/>
                  <a:pt x="25508" y="11981"/>
                  <a:pt x="25972" y="11981"/>
                </a:cubicBezTo>
                <a:cubicBezTo>
                  <a:pt x="25972" y="11981"/>
                  <a:pt x="26321" y="11981"/>
                  <a:pt x="26335" y="11981"/>
                </a:cubicBezTo>
                <a:cubicBezTo>
                  <a:pt x="26430" y="11981"/>
                  <a:pt x="26517" y="11983"/>
                  <a:pt x="26517" y="11983"/>
                </a:cubicBezTo>
                <a:cubicBezTo>
                  <a:pt x="26517" y="11982"/>
                  <a:pt x="26517" y="11982"/>
                  <a:pt x="26517" y="11982"/>
                </a:cubicBezTo>
                <a:cubicBezTo>
                  <a:pt x="26611" y="11982"/>
                  <a:pt x="26686" y="11907"/>
                  <a:pt x="26686" y="11814"/>
                </a:cubicBezTo>
                <a:cubicBezTo>
                  <a:pt x="26686" y="11811"/>
                  <a:pt x="26686" y="7150"/>
                  <a:pt x="26686" y="7111"/>
                </a:cubicBezTo>
                <a:close/>
                <a:moveTo>
                  <a:pt x="14175" y="1321"/>
                </a:moveTo>
                <a:cubicBezTo>
                  <a:pt x="14175" y="884"/>
                  <a:pt x="14175" y="884"/>
                  <a:pt x="14175" y="884"/>
                </a:cubicBezTo>
                <a:cubicBezTo>
                  <a:pt x="14175" y="608"/>
                  <a:pt x="14097" y="392"/>
                  <a:pt x="13940" y="235"/>
                </a:cubicBezTo>
                <a:cubicBezTo>
                  <a:pt x="13783" y="78"/>
                  <a:pt x="13567" y="0"/>
                  <a:pt x="13290" y="0"/>
                </a:cubicBezTo>
                <a:cubicBezTo>
                  <a:pt x="12741" y="0"/>
                  <a:pt x="12741" y="0"/>
                  <a:pt x="12741" y="0"/>
                </a:cubicBezTo>
                <a:cubicBezTo>
                  <a:pt x="12652" y="0"/>
                  <a:pt x="12607" y="52"/>
                  <a:pt x="12607" y="157"/>
                </a:cubicBezTo>
                <a:cubicBezTo>
                  <a:pt x="12607" y="1321"/>
                  <a:pt x="12607" y="1321"/>
                  <a:pt x="12607" y="1321"/>
                </a:cubicBezTo>
                <a:cubicBezTo>
                  <a:pt x="12607" y="1425"/>
                  <a:pt x="12652" y="1477"/>
                  <a:pt x="12741" y="1477"/>
                </a:cubicBezTo>
                <a:cubicBezTo>
                  <a:pt x="14041" y="1477"/>
                  <a:pt x="14041" y="1477"/>
                  <a:pt x="14041" y="1477"/>
                </a:cubicBezTo>
                <a:cubicBezTo>
                  <a:pt x="14131" y="1477"/>
                  <a:pt x="14175" y="1425"/>
                  <a:pt x="14175" y="1321"/>
                </a:cubicBezTo>
                <a:moveTo>
                  <a:pt x="14175" y="5578"/>
                </a:moveTo>
                <a:cubicBezTo>
                  <a:pt x="14175" y="2897"/>
                  <a:pt x="14175" y="2897"/>
                  <a:pt x="14175" y="2897"/>
                </a:cubicBezTo>
                <a:cubicBezTo>
                  <a:pt x="14174" y="2897"/>
                  <a:pt x="14174" y="2897"/>
                  <a:pt x="14174" y="2897"/>
                </a:cubicBezTo>
                <a:cubicBezTo>
                  <a:pt x="14172" y="2626"/>
                  <a:pt x="14094" y="2414"/>
                  <a:pt x="13940" y="2259"/>
                </a:cubicBezTo>
                <a:cubicBezTo>
                  <a:pt x="13783" y="2102"/>
                  <a:pt x="13567" y="2024"/>
                  <a:pt x="13290" y="2024"/>
                </a:cubicBezTo>
                <a:cubicBezTo>
                  <a:pt x="12764" y="2024"/>
                  <a:pt x="12764" y="2024"/>
                  <a:pt x="12764" y="2024"/>
                </a:cubicBezTo>
                <a:cubicBezTo>
                  <a:pt x="12660" y="2024"/>
                  <a:pt x="12607" y="2068"/>
                  <a:pt x="12607" y="2158"/>
                </a:cubicBezTo>
                <a:cubicBezTo>
                  <a:pt x="12607" y="2897"/>
                  <a:pt x="12607" y="2897"/>
                  <a:pt x="12607" y="2897"/>
                </a:cubicBezTo>
                <a:cubicBezTo>
                  <a:pt x="12607" y="4827"/>
                  <a:pt x="12607" y="4827"/>
                  <a:pt x="12607" y="4827"/>
                </a:cubicBezTo>
                <a:cubicBezTo>
                  <a:pt x="12607" y="5104"/>
                  <a:pt x="12686" y="5321"/>
                  <a:pt x="12842" y="5477"/>
                </a:cubicBezTo>
                <a:cubicBezTo>
                  <a:pt x="12999" y="5634"/>
                  <a:pt x="13216" y="5712"/>
                  <a:pt x="13492" y="5712"/>
                </a:cubicBezTo>
                <a:cubicBezTo>
                  <a:pt x="14018" y="5712"/>
                  <a:pt x="14018" y="5712"/>
                  <a:pt x="14018" y="5712"/>
                </a:cubicBezTo>
                <a:cubicBezTo>
                  <a:pt x="14123" y="5712"/>
                  <a:pt x="14175" y="5668"/>
                  <a:pt x="14175" y="5578"/>
                </a:cubicBezTo>
                <a:moveTo>
                  <a:pt x="17332" y="5621"/>
                </a:moveTo>
                <a:cubicBezTo>
                  <a:pt x="17332" y="4412"/>
                  <a:pt x="17332" y="4412"/>
                  <a:pt x="17332" y="4412"/>
                </a:cubicBezTo>
                <a:cubicBezTo>
                  <a:pt x="17332" y="4359"/>
                  <a:pt x="17321" y="4326"/>
                  <a:pt x="17298" y="4311"/>
                </a:cubicBezTo>
                <a:cubicBezTo>
                  <a:pt x="17276" y="4296"/>
                  <a:pt x="17235" y="4281"/>
                  <a:pt x="17175" y="4265"/>
                </a:cubicBezTo>
                <a:cubicBezTo>
                  <a:pt x="17063" y="4244"/>
                  <a:pt x="16957" y="4199"/>
                  <a:pt x="16856" y="4131"/>
                </a:cubicBezTo>
                <a:cubicBezTo>
                  <a:pt x="16755" y="4065"/>
                  <a:pt x="16666" y="3986"/>
                  <a:pt x="16587" y="3897"/>
                </a:cubicBezTo>
                <a:cubicBezTo>
                  <a:pt x="16509" y="3807"/>
                  <a:pt x="16445" y="3708"/>
                  <a:pt x="16397" y="3600"/>
                </a:cubicBezTo>
                <a:cubicBezTo>
                  <a:pt x="16348" y="3492"/>
                  <a:pt x="16324" y="3382"/>
                  <a:pt x="16324" y="3269"/>
                </a:cubicBezTo>
                <a:cubicBezTo>
                  <a:pt x="16324" y="885"/>
                  <a:pt x="16324" y="885"/>
                  <a:pt x="16324" y="885"/>
                </a:cubicBezTo>
                <a:cubicBezTo>
                  <a:pt x="16324" y="609"/>
                  <a:pt x="16246" y="392"/>
                  <a:pt x="16089" y="236"/>
                </a:cubicBezTo>
                <a:cubicBezTo>
                  <a:pt x="15932" y="78"/>
                  <a:pt x="15715" y="0"/>
                  <a:pt x="15440" y="0"/>
                </a:cubicBezTo>
                <a:cubicBezTo>
                  <a:pt x="14913" y="0"/>
                  <a:pt x="14913" y="0"/>
                  <a:pt x="14913" y="0"/>
                </a:cubicBezTo>
                <a:cubicBezTo>
                  <a:pt x="14808" y="0"/>
                  <a:pt x="14757" y="45"/>
                  <a:pt x="14757" y="135"/>
                </a:cubicBezTo>
                <a:cubicBezTo>
                  <a:pt x="14757" y="3314"/>
                  <a:pt x="14757" y="3314"/>
                  <a:pt x="14757" y="3314"/>
                </a:cubicBezTo>
                <a:cubicBezTo>
                  <a:pt x="14757" y="3642"/>
                  <a:pt x="14822" y="3949"/>
                  <a:pt x="14952" y="4233"/>
                </a:cubicBezTo>
                <a:cubicBezTo>
                  <a:pt x="15083" y="4516"/>
                  <a:pt x="15258" y="4768"/>
                  <a:pt x="15479" y="4989"/>
                </a:cubicBezTo>
                <a:cubicBezTo>
                  <a:pt x="15698" y="5208"/>
                  <a:pt x="15955" y="5386"/>
                  <a:pt x="16246" y="5520"/>
                </a:cubicBezTo>
                <a:cubicBezTo>
                  <a:pt x="16537" y="5655"/>
                  <a:pt x="16847" y="5737"/>
                  <a:pt x="17175" y="5766"/>
                </a:cubicBezTo>
                <a:cubicBezTo>
                  <a:pt x="17280" y="5774"/>
                  <a:pt x="17332" y="5726"/>
                  <a:pt x="17332" y="5621"/>
                </a:cubicBezTo>
                <a:moveTo>
                  <a:pt x="26793" y="2823"/>
                </a:moveTo>
                <a:cubicBezTo>
                  <a:pt x="26793" y="3018"/>
                  <a:pt x="26716" y="3172"/>
                  <a:pt x="26563" y="3287"/>
                </a:cubicBezTo>
                <a:cubicBezTo>
                  <a:pt x="26410" y="3404"/>
                  <a:pt x="26206" y="3462"/>
                  <a:pt x="25953" y="3462"/>
                </a:cubicBezTo>
                <a:cubicBezTo>
                  <a:pt x="25736" y="3462"/>
                  <a:pt x="25525" y="3420"/>
                  <a:pt x="25320" y="3338"/>
                </a:cubicBezTo>
                <a:cubicBezTo>
                  <a:pt x="25114" y="3256"/>
                  <a:pt x="24928" y="3152"/>
                  <a:pt x="24760" y="3025"/>
                </a:cubicBezTo>
                <a:cubicBezTo>
                  <a:pt x="24592" y="2898"/>
                  <a:pt x="24458" y="2752"/>
                  <a:pt x="24357" y="2588"/>
                </a:cubicBezTo>
                <a:cubicBezTo>
                  <a:pt x="24256" y="2423"/>
                  <a:pt x="24206" y="2264"/>
                  <a:pt x="24206" y="2106"/>
                </a:cubicBezTo>
                <a:cubicBezTo>
                  <a:pt x="24206" y="1890"/>
                  <a:pt x="24292" y="1730"/>
                  <a:pt x="24463" y="1625"/>
                </a:cubicBezTo>
                <a:cubicBezTo>
                  <a:pt x="24635" y="1520"/>
                  <a:pt x="24829" y="1468"/>
                  <a:pt x="25046" y="1468"/>
                </a:cubicBezTo>
                <a:cubicBezTo>
                  <a:pt x="25262" y="1468"/>
                  <a:pt x="25475" y="1510"/>
                  <a:pt x="25684" y="1591"/>
                </a:cubicBezTo>
                <a:cubicBezTo>
                  <a:pt x="25893" y="1674"/>
                  <a:pt x="26079" y="1780"/>
                  <a:pt x="26244" y="1910"/>
                </a:cubicBezTo>
                <a:cubicBezTo>
                  <a:pt x="26408" y="2041"/>
                  <a:pt x="26541" y="2187"/>
                  <a:pt x="26642" y="2347"/>
                </a:cubicBezTo>
                <a:cubicBezTo>
                  <a:pt x="26742" y="2508"/>
                  <a:pt x="26793" y="2666"/>
                  <a:pt x="26793" y="2823"/>
                </a:cubicBezTo>
                <a:moveTo>
                  <a:pt x="28231" y="3691"/>
                </a:moveTo>
                <a:cubicBezTo>
                  <a:pt x="28347" y="3434"/>
                  <a:pt x="28405" y="3148"/>
                  <a:pt x="28405" y="2834"/>
                </a:cubicBezTo>
                <a:cubicBezTo>
                  <a:pt x="28405" y="2453"/>
                  <a:pt x="28313" y="2094"/>
                  <a:pt x="28131" y="1754"/>
                </a:cubicBezTo>
                <a:cubicBezTo>
                  <a:pt x="27948" y="1414"/>
                  <a:pt x="27701" y="1113"/>
                  <a:pt x="27391" y="853"/>
                </a:cubicBezTo>
                <a:cubicBezTo>
                  <a:pt x="27081" y="591"/>
                  <a:pt x="26727" y="384"/>
                  <a:pt x="26328" y="231"/>
                </a:cubicBezTo>
                <a:cubicBezTo>
                  <a:pt x="25929" y="78"/>
                  <a:pt x="25516" y="1"/>
                  <a:pt x="25090" y="1"/>
                </a:cubicBezTo>
                <a:cubicBezTo>
                  <a:pt x="22772" y="1"/>
                  <a:pt x="22772" y="1"/>
                  <a:pt x="22772" y="1"/>
                </a:cubicBezTo>
                <a:cubicBezTo>
                  <a:pt x="22683" y="1"/>
                  <a:pt x="22638" y="46"/>
                  <a:pt x="22638" y="136"/>
                </a:cubicBezTo>
                <a:cubicBezTo>
                  <a:pt x="22638" y="4827"/>
                  <a:pt x="22638" y="4827"/>
                  <a:pt x="22638" y="4827"/>
                </a:cubicBezTo>
                <a:cubicBezTo>
                  <a:pt x="22638" y="5104"/>
                  <a:pt x="22717" y="5321"/>
                  <a:pt x="22873" y="5477"/>
                </a:cubicBezTo>
                <a:cubicBezTo>
                  <a:pt x="23030" y="5634"/>
                  <a:pt x="23247" y="5712"/>
                  <a:pt x="23523" y="5712"/>
                </a:cubicBezTo>
                <a:cubicBezTo>
                  <a:pt x="24072" y="5712"/>
                  <a:pt x="24072" y="5712"/>
                  <a:pt x="24072" y="5712"/>
                </a:cubicBezTo>
                <a:cubicBezTo>
                  <a:pt x="24161" y="5712"/>
                  <a:pt x="24206" y="5660"/>
                  <a:pt x="24206" y="5555"/>
                </a:cubicBezTo>
                <a:cubicBezTo>
                  <a:pt x="24206" y="4279"/>
                  <a:pt x="24206" y="4279"/>
                  <a:pt x="24206" y="4279"/>
                </a:cubicBezTo>
                <a:cubicBezTo>
                  <a:pt x="24467" y="4488"/>
                  <a:pt x="24749" y="4648"/>
                  <a:pt x="25051" y="4760"/>
                </a:cubicBezTo>
                <a:cubicBezTo>
                  <a:pt x="25353" y="4873"/>
                  <a:pt x="25673" y="4928"/>
                  <a:pt x="26009" y="4928"/>
                </a:cubicBezTo>
                <a:cubicBezTo>
                  <a:pt x="26368" y="4928"/>
                  <a:pt x="26693" y="4878"/>
                  <a:pt x="26989" y="4777"/>
                </a:cubicBezTo>
                <a:cubicBezTo>
                  <a:pt x="27283" y="4677"/>
                  <a:pt x="27535" y="4535"/>
                  <a:pt x="27745" y="4351"/>
                </a:cubicBezTo>
                <a:cubicBezTo>
                  <a:pt x="27953" y="4168"/>
                  <a:pt x="28115" y="3949"/>
                  <a:pt x="28231" y="3691"/>
                </a:cubicBezTo>
                <a:moveTo>
                  <a:pt x="27098" y="9798"/>
                </a:moveTo>
                <a:cubicBezTo>
                  <a:pt x="27098" y="10195"/>
                  <a:pt x="27197" y="10530"/>
                  <a:pt x="27395" y="10806"/>
                </a:cubicBezTo>
                <a:cubicBezTo>
                  <a:pt x="27592" y="11083"/>
                  <a:pt x="27849" y="11309"/>
                  <a:pt x="28162" y="11484"/>
                </a:cubicBezTo>
                <a:cubicBezTo>
                  <a:pt x="28475" y="11659"/>
                  <a:pt x="28821" y="11786"/>
                  <a:pt x="29198" y="11865"/>
                </a:cubicBezTo>
                <a:cubicBezTo>
                  <a:pt x="29575" y="11943"/>
                  <a:pt x="29943" y="11983"/>
                  <a:pt x="30300" y="11983"/>
                </a:cubicBezTo>
                <a:cubicBezTo>
                  <a:pt x="32731" y="11983"/>
                  <a:pt x="32731" y="11983"/>
                  <a:pt x="32731" y="11983"/>
                </a:cubicBezTo>
                <a:cubicBezTo>
                  <a:pt x="32819" y="11983"/>
                  <a:pt x="32865" y="11930"/>
                  <a:pt x="32865" y="11825"/>
                </a:cubicBezTo>
                <a:cubicBezTo>
                  <a:pt x="32865" y="9575"/>
                  <a:pt x="32865" y="9575"/>
                  <a:pt x="32865" y="9575"/>
                </a:cubicBezTo>
                <a:cubicBezTo>
                  <a:pt x="32865" y="9119"/>
                  <a:pt x="32790" y="8690"/>
                  <a:pt x="32640" y="8287"/>
                </a:cubicBezTo>
                <a:cubicBezTo>
                  <a:pt x="32491" y="7884"/>
                  <a:pt x="32277" y="7534"/>
                  <a:pt x="31997" y="7234"/>
                </a:cubicBezTo>
                <a:cubicBezTo>
                  <a:pt x="31717" y="6936"/>
                  <a:pt x="31377" y="6701"/>
                  <a:pt x="30978" y="6529"/>
                </a:cubicBezTo>
                <a:cubicBezTo>
                  <a:pt x="30578" y="6357"/>
                  <a:pt x="30125" y="6271"/>
                  <a:pt x="29617" y="6271"/>
                </a:cubicBezTo>
                <a:cubicBezTo>
                  <a:pt x="27423" y="6271"/>
                  <a:pt x="27423" y="6271"/>
                  <a:pt x="27423" y="6271"/>
                </a:cubicBezTo>
                <a:cubicBezTo>
                  <a:pt x="27318" y="6271"/>
                  <a:pt x="27266" y="6316"/>
                  <a:pt x="27266" y="6405"/>
                </a:cubicBezTo>
                <a:cubicBezTo>
                  <a:pt x="27266" y="6865"/>
                  <a:pt x="27266" y="6865"/>
                  <a:pt x="27266" y="6865"/>
                </a:cubicBezTo>
                <a:cubicBezTo>
                  <a:pt x="27266" y="7141"/>
                  <a:pt x="27344" y="7358"/>
                  <a:pt x="27502" y="7515"/>
                </a:cubicBezTo>
                <a:cubicBezTo>
                  <a:pt x="27658" y="7671"/>
                  <a:pt x="27874" y="7750"/>
                  <a:pt x="28150" y="7750"/>
                </a:cubicBezTo>
                <a:cubicBezTo>
                  <a:pt x="29673" y="7750"/>
                  <a:pt x="29673" y="7750"/>
                  <a:pt x="29673" y="7750"/>
                </a:cubicBezTo>
                <a:cubicBezTo>
                  <a:pt x="29934" y="7750"/>
                  <a:pt x="30171" y="7805"/>
                  <a:pt x="30384" y="7917"/>
                </a:cubicBezTo>
                <a:cubicBezTo>
                  <a:pt x="30597" y="8030"/>
                  <a:pt x="30767" y="8175"/>
                  <a:pt x="30893" y="8354"/>
                </a:cubicBezTo>
                <a:cubicBezTo>
                  <a:pt x="29438" y="8354"/>
                  <a:pt x="29438" y="8354"/>
                  <a:pt x="29438" y="8354"/>
                </a:cubicBezTo>
                <a:cubicBezTo>
                  <a:pt x="28684" y="8354"/>
                  <a:pt x="28106" y="8478"/>
                  <a:pt x="27702" y="8724"/>
                </a:cubicBezTo>
                <a:cubicBezTo>
                  <a:pt x="27299" y="8970"/>
                  <a:pt x="27098" y="9328"/>
                  <a:pt x="27098" y="9798"/>
                </a:cubicBezTo>
                <a:moveTo>
                  <a:pt x="28822" y="10142"/>
                </a:moveTo>
                <a:cubicBezTo>
                  <a:pt x="28822" y="10031"/>
                  <a:pt x="28882" y="9953"/>
                  <a:pt x="29001" y="9908"/>
                </a:cubicBezTo>
                <a:cubicBezTo>
                  <a:pt x="29121" y="9863"/>
                  <a:pt x="29307" y="9840"/>
                  <a:pt x="29561" y="9840"/>
                </a:cubicBezTo>
                <a:cubicBezTo>
                  <a:pt x="31297" y="9840"/>
                  <a:pt x="31297" y="9840"/>
                  <a:pt x="31297" y="9840"/>
                </a:cubicBezTo>
                <a:cubicBezTo>
                  <a:pt x="31281" y="10131"/>
                  <a:pt x="31157" y="10342"/>
                  <a:pt x="30922" y="10473"/>
                </a:cubicBezTo>
                <a:cubicBezTo>
                  <a:pt x="30686" y="10604"/>
                  <a:pt x="30413" y="10669"/>
                  <a:pt x="30099" y="10669"/>
                </a:cubicBezTo>
                <a:cubicBezTo>
                  <a:pt x="29718" y="10669"/>
                  <a:pt x="29410" y="10619"/>
                  <a:pt x="29175" y="10517"/>
                </a:cubicBezTo>
                <a:cubicBezTo>
                  <a:pt x="28940" y="10417"/>
                  <a:pt x="28822" y="10292"/>
                  <a:pt x="28822" y="10142"/>
                </a:cubicBezTo>
                <a:moveTo>
                  <a:pt x="14199" y="11848"/>
                </a:moveTo>
                <a:cubicBezTo>
                  <a:pt x="14199" y="9451"/>
                  <a:pt x="14199" y="9451"/>
                  <a:pt x="14199" y="9451"/>
                </a:cubicBezTo>
                <a:cubicBezTo>
                  <a:pt x="14199" y="9175"/>
                  <a:pt x="14120" y="8959"/>
                  <a:pt x="13964" y="8802"/>
                </a:cubicBezTo>
                <a:cubicBezTo>
                  <a:pt x="13806" y="8646"/>
                  <a:pt x="13590" y="8567"/>
                  <a:pt x="13314" y="8567"/>
                </a:cubicBezTo>
                <a:cubicBezTo>
                  <a:pt x="10728" y="8567"/>
                  <a:pt x="10728" y="8567"/>
                  <a:pt x="10728" y="8567"/>
                </a:cubicBezTo>
                <a:cubicBezTo>
                  <a:pt x="10623" y="8567"/>
                  <a:pt x="10571" y="8612"/>
                  <a:pt x="10571" y="8701"/>
                </a:cubicBezTo>
                <a:cubicBezTo>
                  <a:pt x="10571" y="8880"/>
                  <a:pt x="10606" y="9043"/>
                  <a:pt x="10677" y="9188"/>
                </a:cubicBezTo>
                <a:cubicBezTo>
                  <a:pt x="10748" y="9333"/>
                  <a:pt x="10841" y="9459"/>
                  <a:pt x="10957" y="9563"/>
                </a:cubicBezTo>
                <a:cubicBezTo>
                  <a:pt x="11073" y="9669"/>
                  <a:pt x="11203" y="9748"/>
                  <a:pt x="11349" y="9804"/>
                </a:cubicBezTo>
                <a:cubicBezTo>
                  <a:pt x="11494" y="9860"/>
                  <a:pt x="11642" y="9889"/>
                  <a:pt x="11791" y="9889"/>
                </a:cubicBezTo>
                <a:cubicBezTo>
                  <a:pt x="12687" y="9889"/>
                  <a:pt x="12687" y="9889"/>
                  <a:pt x="12687" y="9889"/>
                </a:cubicBezTo>
                <a:cubicBezTo>
                  <a:pt x="12687" y="10504"/>
                  <a:pt x="12687" y="10504"/>
                  <a:pt x="12687" y="10504"/>
                </a:cubicBezTo>
                <a:cubicBezTo>
                  <a:pt x="11747" y="10504"/>
                  <a:pt x="11747" y="10504"/>
                  <a:pt x="11747" y="10504"/>
                </a:cubicBezTo>
                <a:cubicBezTo>
                  <a:pt x="11508" y="10504"/>
                  <a:pt x="11279" y="10450"/>
                  <a:pt x="11063" y="10342"/>
                </a:cubicBezTo>
                <a:cubicBezTo>
                  <a:pt x="10847" y="10234"/>
                  <a:pt x="10654" y="10089"/>
                  <a:pt x="10486" y="9910"/>
                </a:cubicBezTo>
                <a:cubicBezTo>
                  <a:pt x="10319" y="9731"/>
                  <a:pt x="10186" y="9530"/>
                  <a:pt x="10089" y="9306"/>
                </a:cubicBezTo>
                <a:cubicBezTo>
                  <a:pt x="9992" y="9083"/>
                  <a:pt x="9944" y="8855"/>
                  <a:pt x="9944" y="8623"/>
                </a:cubicBezTo>
                <a:cubicBezTo>
                  <a:pt x="9944" y="8340"/>
                  <a:pt x="10033" y="8123"/>
                  <a:pt x="10212" y="7974"/>
                </a:cubicBezTo>
                <a:cubicBezTo>
                  <a:pt x="10392" y="7824"/>
                  <a:pt x="10616" y="7750"/>
                  <a:pt x="10884" y="7750"/>
                </a:cubicBezTo>
                <a:cubicBezTo>
                  <a:pt x="13930" y="7750"/>
                  <a:pt x="13930" y="7750"/>
                  <a:pt x="13930" y="7750"/>
                </a:cubicBezTo>
                <a:cubicBezTo>
                  <a:pt x="14034" y="7750"/>
                  <a:pt x="14087" y="7704"/>
                  <a:pt x="14087" y="7615"/>
                </a:cubicBezTo>
                <a:cubicBezTo>
                  <a:pt x="14087" y="7156"/>
                  <a:pt x="14087" y="7156"/>
                  <a:pt x="14087" y="7156"/>
                </a:cubicBezTo>
                <a:cubicBezTo>
                  <a:pt x="14087" y="6879"/>
                  <a:pt x="14008" y="6663"/>
                  <a:pt x="13852" y="6507"/>
                </a:cubicBezTo>
                <a:cubicBezTo>
                  <a:pt x="13695" y="6350"/>
                  <a:pt x="13479" y="6271"/>
                  <a:pt x="13202" y="6271"/>
                </a:cubicBezTo>
                <a:cubicBezTo>
                  <a:pt x="10896" y="6271"/>
                  <a:pt x="10896" y="6271"/>
                  <a:pt x="10896" y="6271"/>
                </a:cubicBezTo>
                <a:cubicBezTo>
                  <a:pt x="10530" y="6271"/>
                  <a:pt x="10194" y="6329"/>
                  <a:pt x="9887" y="6445"/>
                </a:cubicBezTo>
                <a:cubicBezTo>
                  <a:pt x="9581" y="6561"/>
                  <a:pt x="9317" y="6723"/>
                  <a:pt x="9092" y="6932"/>
                </a:cubicBezTo>
                <a:cubicBezTo>
                  <a:pt x="8869" y="7141"/>
                  <a:pt x="8693" y="7393"/>
                  <a:pt x="8566" y="7688"/>
                </a:cubicBezTo>
                <a:cubicBezTo>
                  <a:pt x="8439" y="7983"/>
                  <a:pt x="8376" y="8313"/>
                  <a:pt x="8376" y="8679"/>
                </a:cubicBezTo>
                <a:cubicBezTo>
                  <a:pt x="8376" y="9135"/>
                  <a:pt x="8466" y="9563"/>
                  <a:pt x="8645" y="9966"/>
                </a:cubicBezTo>
                <a:cubicBezTo>
                  <a:pt x="8824" y="10370"/>
                  <a:pt x="9068" y="10721"/>
                  <a:pt x="9378" y="11018"/>
                </a:cubicBezTo>
                <a:cubicBezTo>
                  <a:pt x="9688" y="11318"/>
                  <a:pt x="10046" y="11553"/>
                  <a:pt x="10453" y="11725"/>
                </a:cubicBezTo>
                <a:cubicBezTo>
                  <a:pt x="10860" y="11896"/>
                  <a:pt x="11287" y="11983"/>
                  <a:pt x="11735" y="11983"/>
                </a:cubicBezTo>
                <a:cubicBezTo>
                  <a:pt x="14042" y="11983"/>
                  <a:pt x="14042" y="11983"/>
                  <a:pt x="14042" y="11983"/>
                </a:cubicBezTo>
                <a:cubicBezTo>
                  <a:pt x="14147" y="11983"/>
                  <a:pt x="14199" y="11937"/>
                  <a:pt x="14199" y="11848"/>
                </a:cubicBezTo>
                <a:moveTo>
                  <a:pt x="20010" y="5621"/>
                </a:moveTo>
                <a:cubicBezTo>
                  <a:pt x="20010" y="4412"/>
                  <a:pt x="20010" y="4412"/>
                  <a:pt x="20010" y="4412"/>
                </a:cubicBezTo>
                <a:cubicBezTo>
                  <a:pt x="20010" y="4359"/>
                  <a:pt x="19999" y="4326"/>
                  <a:pt x="19976" y="4311"/>
                </a:cubicBezTo>
                <a:cubicBezTo>
                  <a:pt x="19954" y="4296"/>
                  <a:pt x="19913" y="4281"/>
                  <a:pt x="19853" y="4265"/>
                </a:cubicBezTo>
                <a:cubicBezTo>
                  <a:pt x="19741" y="4244"/>
                  <a:pt x="19635" y="4199"/>
                  <a:pt x="19534" y="4131"/>
                </a:cubicBezTo>
                <a:cubicBezTo>
                  <a:pt x="19433" y="4065"/>
                  <a:pt x="19344" y="3986"/>
                  <a:pt x="19265" y="3897"/>
                </a:cubicBezTo>
                <a:cubicBezTo>
                  <a:pt x="19187" y="3807"/>
                  <a:pt x="19123" y="3708"/>
                  <a:pt x="19075" y="3600"/>
                </a:cubicBezTo>
                <a:cubicBezTo>
                  <a:pt x="19026" y="3492"/>
                  <a:pt x="19002" y="3382"/>
                  <a:pt x="19002" y="3269"/>
                </a:cubicBezTo>
                <a:cubicBezTo>
                  <a:pt x="19002" y="885"/>
                  <a:pt x="19002" y="885"/>
                  <a:pt x="19002" y="885"/>
                </a:cubicBezTo>
                <a:cubicBezTo>
                  <a:pt x="19002" y="609"/>
                  <a:pt x="18923" y="392"/>
                  <a:pt x="18767" y="236"/>
                </a:cubicBezTo>
                <a:cubicBezTo>
                  <a:pt x="18610" y="78"/>
                  <a:pt x="18393" y="0"/>
                  <a:pt x="18117" y="0"/>
                </a:cubicBezTo>
                <a:cubicBezTo>
                  <a:pt x="17591" y="0"/>
                  <a:pt x="17591" y="0"/>
                  <a:pt x="17591" y="0"/>
                </a:cubicBezTo>
                <a:cubicBezTo>
                  <a:pt x="17486" y="0"/>
                  <a:pt x="17435" y="45"/>
                  <a:pt x="17435" y="135"/>
                </a:cubicBezTo>
                <a:cubicBezTo>
                  <a:pt x="17435" y="3314"/>
                  <a:pt x="17435" y="3314"/>
                  <a:pt x="17435" y="3314"/>
                </a:cubicBezTo>
                <a:cubicBezTo>
                  <a:pt x="17435" y="3642"/>
                  <a:pt x="17500" y="3949"/>
                  <a:pt x="17630" y="4233"/>
                </a:cubicBezTo>
                <a:cubicBezTo>
                  <a:pt x="17761" y="4516"/>
                  <a:pt x="17936" y="4768"/>
                  <a:pt x="18157" y="4989"/>
                </a:cubicBezTo>
                <a:cubicBezTo>
                  <a:pt x="18376" y="5208"/>
                  <a:pt x="18633" y="5386"/>
                  <a:pt x="18923" y="5520"/>
                </a:cubicBezTo>
                <a:cubicBezTo>
                  <a:pt x="19215" y="5655"/>
                  <a:pt x="19525" y="5737"/>
                  <a:pt x="19853" y="5766"/>
                </a:cubicBezTo>
                <a:cubicBezTo>
                  <a:pt x="19958" y="5774"/>
                  <a:pt x="20010" y="5726"/>
                  <a:pt x="20010" y="5621"/>
                </a:cubicBezTo>
                <a:moveTo>
                  <a:pt x="22053" y="1321"/>
                </a:moveTo>
                <a:cubicBezTo>
                  <a:pt x="22053" y="884"/>
                  <a:pt x="22053" y="884"/>
                  <a:pt x="22053" y="884"/>
                </a:cubicBezTo>
                <a:cubicBezTo>
                  <a:pt x="22053" y="608"/>
                  <a:pt x="21975" y="392"/>
                  <a:pt x="21818" y="235"/>
                </a:cubicBezTo>
                <a:cubicBezTo>
                  <a:pt x="21661" y="78"/>
                  <a:pt x="21445" y="0"/>
                  <a:pt x="21169" y="0"/>
                </a:cubicBezTo>
                <a:cubicBezTo>
                  <a:pt x="20620" y="0"/>
                  <a:pt x="20620" y="0"/>
                  <a:pt x="20620" y="0"/>
                </a:cubicBezTo>
                <a:cubicBezTo>
                  <a:pt x="20530" y="0"/>
                  <a:pt x="20485" y="52"/>
                  <a:pt x="20485" y="157"/>
                </a:cubicBezTo>
                <a:cubicBezTo>
                  <a:pt x="20485" y="1321"/>
                  <a:pt x="20485" y="1321"/>
                  <a:pt x="20485" y="1321"/>
                </a:cubicBezTo>
                <a:cubicBezTo>
                  <a:pt x="20485" y="1425"/>
                  <a:pt x="20530" y="1477"/>
                  <a:pt x="20620" y="1477"/>
                </a:cubicBezTo>
                <a:cubicBezTo>
                  <a:pt x="21919" y="1477"/>
                  <a:pt x="21919" y="1477"/>
                  <a:pt x="21919" y="1477"/>
                </a:cubicBezTo>
                <a:cubicBezTo>
                  <a:pt x="22009" y="1477"/>
                  <a:pt x="22053" y="1425"/>
                  <a:pt x="22053" y="1321"/>
                </a:cubicBezTo>
                <a:moveTo>
                  <a:pt x="22053" y="5578"/>
                </a:moveTo>
                <a:cubicBezTo>
                  <a:pt x="22053" y="2897"/>
                  <a:pt x="22053" y="2897"/>
                  <a:pt x="22053" y="2897"/>
                </a:cubicBezTo>
                <a:cubicBezTo>
                  <a:pt x="22053" y="2897"/>
                  <a:pt x="22053" y="2897"/>
                  <a:pt x="22053" y="2897"/>
                </a:cubicBezTo>
                <a:cubicBezTo>
                  <a:pt x="22051" y="2626"/>
                  <a:pt x="21973" y="2414"/>
                  <a:pt x="21818" y="2259"/>
                </a:cubicBezTo>
                <a:cubicBezTo>
                  <a:pt x="21661" y="2102"/>
                  <a:pt x="21445" y="2024"/>
                  <a:pt x="21169" y="2024"/>
                </a:cubicBezTo>
                <a:cubicBezTo>
                  <a:pt x="20643" y="2024"/>
                  <a:pt x="20643" y="2024"/>
                  <a:pt x="20643" y="2024"/>
                </a:cubicBezTo>
                <a:cubicBezTo>
                  <a:pt x="20538" y="2024"/>
                  <a:pt x="20485" y="2068"/>
                  <a:pt x="20485" y="2158"/>
                </a:cubicBezTo>
                <a:cubicBezTo>
                  <a:pt x="20485" y="2897"/>
                  <a:pt x="20485" y="2897"/>
                  <a:pt x="20485" y="2897"/>
                </a:cubicBezTo>
                <a:cubicBezTo>
                  <a:pt x="20485" y="4827"/>
                  <a:pt x="20485" y="4827"/>
                  <a:pt x="20485" y="4827"/>
                </a:cubicBezTo>
                <a:cubicBezTo>
                  <a:pt x="20485" y="5104"/>
                  <a:pt x="20564" y="5321"/>
                  <a:pt x="20721" y="5477"/>
                </a:cubicBezTo>
                <a:cubicBezTo>
                  <a:pt x="20877" y="5634"/>
                  <a:pt x="21094" y="5712"/>
                  <a:pt x="21370" y="5712"/>
                </a:cubicBezTo>
                <a:cubicBezTo>
                  <a:pt x="21896" y="5712"/>
                  <a:pt x="21896" y="5712"/>
                  <a:pt x="21896" y="5712"/>
                </a:cubicBezTo>
                <a:cubicBezTo>
                  <a:pt x="22001" y="5712"/>
                  <a:pt x="22053" y="5668"/>
                  <a:pt x="22053" y="5578"/>
                </a:cubicBezTo>
                <a:moveTo>
                  <a:pt x="7850" y="7592"/>
                </a:moveTo>
                <a:cubicBezTo>
                  <a:pt x="7850" y="7155"/>
                  <a:pt x="7850" y="7155"/>
                  <a:pt x="7850" y="7155"/>
                </a:cubicBezTo>
                <a:cubicBezTo>
                  <a:pt x="7850" y="6879"/>
                  <a:pt x="7772" y="6663"/>
                  <a:pt x="7615" y="6505"/>
                </a:cubicBezTo>
                <a:cubicBezTo>
                  <a:pt x="7458" y="6349"/>
                  <a:pt x="7242" y="6271"/>
                  <a:pt x="6966" y="6271"/>
                </a:cubicBezTo>
                <a:cubicBezTo>
                  <a:pt x="6417" y="6271"/>
                  <a:pt x="6417" y="6271"/>
                  <a:pt x="6417" y="6271"/>
                </a:cubicBezTo>
                <a:cubicBezTo>
                  <a:pt x="6328" y="6271"/>
                  <a:pt x="6283" y="6323"/>
                  <a:pt x="6283" y="6427"/>
                </a:cubicBezTo>
                <a:cubicBezTo>
                  <a:pt x="6283" y="7592"/>
                  <a:pt x="6283" y="7592"/>
                  <a:pt x="6283" y="7592"/>
                </a:cubicBezTo>
                <a:cubicBezTo>
                  <a:pt x="6283" y="7696"/>
                  <a:pt x="6328" y="7748"/>
                  <a:pt x="6417" y="7748"/>
                </a:cubicBezTo>
                <a:cubicBezTo>
                  <a:pt x="7716" y="7748"/>
                  <a:pt x="7716" y="7748"/>
                  <a:pt x="7716" y="7748"/>
                </a:cubicBezTo>
                <a:cubicBezTo>
                  <a:pt x="7806" y="7748"/>
                  <a:pt x="7850" y="7696"/>
                  <a:pt x="7850" y="7592"/>
                </a:cubicBezTo>
                <a:moveTo>
                  <a:pt x="7850" y="11848"/>
                </a:moveTo>
                <a:cubicBezTo>
                  <a:pt x="7850" y="9168"/>
                  <a:pt x="7850" y="9168"/>
                  <a:pt x="7850" y="9168"/>
                </a:cubicBezTo>
                <a:cubicBezTo>
                  <a:pt x="7850" y="9168"/>
                  <a:pt x="7850" y="9168"/>
                  <a:pt x="7850" y="9168"/>
                </a:cubicBezTo>
                <a:cubicBezTo>
                  <a:pt x="7848" y="8897"/>
                  <a:pt x="7770" y="8684"/>
                  <a:pt x="7615" y="8530"/>
                </a:cubicBezTo>
                <a:cubicBezTo>
                  <a:pt x="7458" y="8373"/>
                  <a:pt x="7242" y="8294"/>
                  <a:pt x="6966" y="8294"/>
                </a:cubicBezTo>
                <a:cubicBezTo>
                  <a:pt x="6440" y="8294"/>
                  <a:pt x="6440" y="8294"/>
                  <a:pt x="6440" y="8294"/>
                </a:cubicBezTo>
                <a:cubicBezTo>
                  <a:pt x="6335" y="8294"/>
                  <a:pt x="6283" y="8339"/>
                  <a:pt x="6283" y="8429"/>
                </a:cubicBezTo>
                <a:cubicBezTo>
                  <a:pt x="6283" y="9168"/>
                  <a:pt x="6283" y="9168"/>
                  <a:pt x="6283" y="9168"/>
                </a:cubicBezTo>
                <a:cubicBezTo>
                  <a:pt x="6283" y="11098"/>
                  <a:pt x="6283" y="11098"/>
                  <a:pt x="6283" y="11098"/>
                </a:cubicBezTo>
                <a:cubicBezTo>
                  <a:pt x="6283" y="11374"/>
                  <a:pt x="6361" y="11591"/>
                  <a:pt x="6518" y="11748"/>
                </a:cubicBezTo>
                <a:cubicBezTo>
                  <a:pt x="6674" y="11905"/>
                  <a:pt x="6891" y="11983"/>
                  <a:pt x="7167" y="11983"/>
                </a:cubicBezTo>
                <a:cubicBezTo>
                  <a:pt x="7693" y="11983"/>
                  <a:pt x="7693" y="11983"/>
                  <a:pt x="7693" y="11983"/>
                </a:cubicBezTo>
                <a:cubicBezTo>
                  <a:pt x="7798" y="11983"/>
                  <a:pt x="7850" y="11938"/>
                  <a:pt x="7850" y="11848"/>
                </a:cubicBezTo>
              </a:path>
            </a:pathLst>
          </a:custGeom>
          <a:solidFill>
            <a:schemeClr val="bg2"/>
          </a:solidFill>
          <a:ln>
            <a:noFill/>
          </a:ln>
        </p:spPr>
        <p:txBody>
          <a:bodyPr vert="horz" wrap="square" lIns="68580" tIns="34290" rIns="68580" bIns="34290" numCol="1" anchor="t" anchorCtr="0" compatLnSpc="1">
            <a:prstTxWarp prst="textNoShape">
              <a:avLst/>
            </a:prstTxWarp>
          </a:bodyPr>
          <a:lstStyle/>
          <a:p>
            <a:endParaRPr lang="de-DE" sz="1350"/>
          </a:p>
        </p:txBody>
      </p:sp>
    </p:spTree>
    <p:extLst/>
  </p:cSld>
  <p:clrMapOvr>
    <a:masterClrMapping/>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Synthetic">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049"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6" name="Rectangle 15"/>
          <p:cNvSpPr/>
          <p:nvPr userDrawn="1"/>
        </p:nvSpPr>
        <p:spPr bwMode="gray">
          <a:xfrm>
            <a:off x="1" y="2"/>
            <a:ext cx="12192000" cy="6858001"/>
          </a:xfrm>
          <a:prstGeom prst="rect">
            <a:avLst/>
          </a:prstGeom>
          <a:solidFill>
            <a:srgbClr val="503291"/>
          </a:solidFill>
          <a:ln w="9525" cap="flat" cmpd="sng" algn="ctr">
            <a:noFill/>
            <a:prstDash val="solid"/>
          </a:ln>
          <a:effectLst/>
        </p:spPr>
        <p:txBody>
          <a:bodyPr rtlCol="0" anchor="ctr" anchorCtr="0"/>
          <a:lstStyle/>
          <a:p>
            <a:pPr marL="0" indent="0" algn="ctr">
              <a:spcBef>
                <a:spcPts val="225"/>
              </a:spcBef>
              <a:spcAft>
                <a:spcPts val="225"/>
              </a:spcAft>
              <a:buClr>
                <a:schemeClr val="bg1"/>
              </a:buClr>
              <a:buSzPct val="100000"/>
              <a:buFont typeface="Arial" panose="020B0604020202020204" pitchFamily="34" charset="0"/>
              <a:buNone/>
            </a:pPr>
            <a:endParaRPr lang="en-US" sz="1050" kern="0">
              <a:solidFill>
                <a:srgbClr val="FFFFFF"/>
              </a:solidFill>
              <a:latin typeface="Verdana"/>
            </a:endParaRPr>
          </a:p>
        </p:txBody>
      </p:sp>
      <p:sp>
        <p:nvSpPr>
          <p:cNvPr id="8" name="Freeform 6"/>
          <p:cNvSpPr>
            <a:spLocks noEditPoints="1"/>
          </p:cNvSpPr>
          <p:nvPr userDrawn="1"/>
        </p:nvSpPr>
        <p:spPr bwMode="gray">
          <a:xfrm>
            <a:off x="463544" y="486050"/>
            <a:ext cx="4883069" cy="5475233"/>
          </a:xfrm>
          <a:custGeom>
            <a:avLst/>
            <a:gdLst>
              <a:gd name="T0" fmla="*/ 1263 w 1588"/>
              <a:gd name="T1" fmla="*/ 1439 h 1779"/>
              <a:gd name="T2" fmla="*/ 1172 w 1588"/>
              <a:gd name="T3" fmla="*/ 1552 h 1779"/>
              <a:gd name="T4" fmla="*/ 1028 w 1588"/>
              <a:gd name="T5" fmla="*/ 1530 h 1779"/>
              <a:gd name="T6" fmla="*/ 897 w 1588"/>
              <a:gd name="T7" fmla="*/ 1348 h 1779"/>
              <a:gd name="T8" fmla="*/ 781 w 1588"/>
              <a:gd name="T9" fmla="*/ 1506 h 1779"/>
              <a:gd name="T10" fmla="*/ 563 w 1588"/>
              <a:gd name="T11" fmla="*/ 1484 h 1779"/>
              <a:gd name="T12" fmla="*/ 473 w 1588"/>
              <a:gd name="T13" fmla="*/ 1284 h 1779"/>
              <a:gd name="T14" fmla="*/ 601 w 1588"/>
              <a:gd name="T15" fmla="*/ 1106 h 1779"/>
              <a:gd name="T16" fmla="*/ 819 w 1588"/>
              <a:gd name="T17" fmla="*/ 1128 h 1779"/>
              <a:gd name="T18" fmla="*/ 987 w 1588"/>
              <a:gd name="T19" fmla="*/ 1374 h 1779"/>
              <a:gd name="T20" fmla="*/ 1066 w 1588"/>
              <a:gd name="T21" fmla="*/ 1281 h 1779"/>
              <a:gd name="T22" fmla="*/ 1210 w 1588"/>
              <a:gd name="T23" fmla="*/ 1303 h 1779"/>
              <a:gd name="T24" fmla="*/ 463 w 1588"/>
              <a:gd name="T25" fmla="*/ 891 h 1779"/>
              <a:gd name="T26" fmla="*/ 551 w 1588"/>
              <a:gd name="T27" fmla="*/ 667 h 1779"/>
              <a:gd name="T28" fmla="*/ 962 w 1588"/>
              <a:gd name="T29" fmla="*/ 629 h 1779"/>
              <a:gd name="T30" fmla="*/ 854 w 1588"/>
              <a:gd name="T31" fmla="*/ 368 h 1779"/>
              <a:gd name="T32" fmla="*/ 1003 w 1588"/>
              <a:gd name="T33" fmla="*/ 36 h 1779"/>
              <a:gd name="T34" fmla="*/ 1364 w 1588"/>
              <a:gd name="T35" fmla="*/ 0 h 1779"/>
              <a:gd name="T36" fmla="*/ 1577 w 1588"/>
              <a:gd name="T37" fmla="*/ 294 h 1779"/>
              <a:gd name="T38" fmla="*/ 1428 w 1588"/>
              <a:gd name="T39" fmla="*/ 626 h 1779"/>
              <a:gd name="T40" fmla="*/ 893 w 1588"/>
              <a:gd name="T41" fmla="*/ 663 h 1779"/>
              <a:gd name="T42" fmla="*/ 940 w 1588"/>
              <a:gd name="T43" fmla="*/ 818 h 1779"/>
              <a:gd name="T44" fmla="*/ 853 w 1588"/>
              <a:gd name="T45" fmla="*/ 1043 h 1779"/>
              <a:gd name="T46" fmla="*/ 614 w 1588"/>
              <a:gd name="T47" fmla="*/ 1079 h 1779"/>
              <a:gd name="T48" fmla="*/ 463 w 1588"/>
              <a:gd name="T49" fmla="*/ 891 h 1779"/>
              <a:gd name="T50" fmla="*/ 117 w 1588"/>
              <a:gd name="T51" fmla="*/ 884 h 1779"/>
              <a:gd name="T52" fmla="*/ 381 w 1588"/>
              <a:gd name="T53" fmla="*/ 857 h 1779"/>
              <a:gd name="T54" fmla="*/ 536 w 1588"/>
              <a:gd name="T55" fmla="*/ 1073 h 1779"/>
              <a:gd name="T56" fmla="*/ 364 w 1588"/>
              <a:gd name="T57" fmla="*/ 1424 h 1779"/>
              <a:gd name="T58" fmla="*/ 479 w 1588"/>
              <a:gd name="T59" fmla="*/ 1451 h 1779"/>
              <a:gd name="T60" fmla="*/ 590 w 1588"/>
              <a:gd name="T61" fmla="*/ 1588 h 1779"/>
              <a:gd name="T62" fmla="*/ 526 w 1588"/>
              <a:gd name="T63" fmla="*/ 1752 h 1779"/>
              <a:gd name="T64" fmla="*/ 352 w 1588"/>
              <a:gd name="T65" fmla="*/ 1779 h 1779"/>
              <a:gd name="T66" fmla="*/ 242 w 1588"/>
              <a:gd name="T67" fmla="*/ 1642 h 1779"/>
              <a:gd name="T68" fmla="*/ 368 w 1588"/>
              <a:gd name="T69" fmla="*/ 1368 h 1779"/>
              <a:gd name="T70" fmla="*/ 163 w 1588"/>
              <a:gd name="T71" fmla="*/ 1341 h 1779"/>
              <a:gd name="T72" fmla="*/ 8 w 1588"/>
              <a:gd name="T73" fmla="*/ 1126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88" h="1779">
                <a:moveTo>
                  <a:pt x="1263" y="1394"/>
                </a:moveTo>
                <a:cubicBezTo>
                  <a:pt x="1270" y="1406"/>
                  <a:pt x="1270" y="1426"/>
                  <a:pt x="1263" y="1439"/>
                </a:cubicBezTo>
                <a:cubicBezTo>
                  <a:pt x="1210" y="1530"/>
                  <a:pt x="1210" y="1530"/>
                  <a:pt x="1210" y="1530"/>
                </a:cubicBezTo>
                <a:cubicBezTo>
                  <a:pt x="1203" y="1542"/>
                  <a:pt x="1186" y="1552"/>
                  <a:pt x="1172" y="1552"/>
                </a:cubicBezTo>
                <a:cubicBezTo>
                  <a:pt x="1066" y="1552"/>
                  <a:pt x="1066" y="1552"/>
                  <a:pt x="1066" y="1552"/>
                </a:cubicBezTo>
                <a:cubicBezTo>
                  <a:pt x="1052" y="1552"/>
                  <a:pt x="1035" y="1542"/>
                  <a:pt x="1028" y="1530"/>
                </a:cubicBezTo>
                <a:cubicBezTo>
                  <a:pt x="923" y="1348"/>
                  <a:pt x="923" y="1348"/>
                  <a:pt x="923" y="1348"/>
                </a:cubicBezTo>
                <a:cubicBezTo>
                  <a:pt x="916" y="1336"/>
                  <a:pt x="904" y="1336"/>
                  <a:pt x="897" y="1348"/>
                </a:cubicBezTo>
                <a:cubicBezTo>
                  <a:pt x="819" y="1484"/>
                  <a:pt x="819" y="1484"/>
                  <a:pt x="819" y="1484"/>
                </a:cubicBezTo>
                <a:cubicBezTo>
                  <a:pt x="812" y="1496"/>
                  <a:pt x="795" y="1506"/>
                  <a:pt x="781" y="1506"/>
                </a:cubicBezTo>
                <a:cubicBezTo>
                  <a:pt x="601" y="1506"/>
                  <a:pt x="601" y="1506"/>
                  <a:pt x="601" y="1506"/>
                </a:cubicBezTo>
                <a:cubicBezTo>
                  <a:pt x="587" y="1506"/>
                  <a:pt x="570" y="1496"/>
                  <a:pt x="563" y="1484"/>
                </a:cubicBezTo>
                <a:cubicBezTo>
                  <a:pt x="473" y="1328"/>
                  <a:pt x="473" y="1328"/>
                  <a:pt x="473" y="1328"/>
                </a:cubicBezTo>
                <a:cubicBezTo>
                  <a:pt x="466" y="1316"/>
                  <a:pt x="466" y="1296"/>
                  <a:pt x="473" y="1284"/>
                </a:cubicBezTo>
                <a:cubicBezTo>
                  <a:pt x="563" y="1128"/>
                  <a:pt x="563" y="1128"/>
                  <a:pt x="563" y="1128"/>
                </a:cubicBezTo>
                <a:cubicBezTo>
                  <a:pt x="570" y="1116"/>
                  <a:pt x="587" y="1106"/>
                  <a:pt x="601" y="1106"/>
                </a:cubicBezTo>
                <a:cubicBezTo>
                  <a:pt x="781" y="1106"/>
                  <a:pt x="781" y="1106"/>
                  <a:pt x="781" y="1106"/>
                </a:cubicBezTo>
                <a:cubicBezTo>
                  <a:pt x="795" y="1106"/>
                  <a:pt x="812" y="1116"/>
                  <a:pt x="819" y="1128"/>
                </a:cubicBezTo>
                <a:cubicBezTo>
                  <a:pt x="961" y="1374"/>
                  <a:pt x="961" y="1374"/>
                  <a:pt x="961" y="1374"/>
                </a:cubicBezTo>
                <a:cubicBezTo>
                  <a:pt x="968" y="1387"/>
                  <a:pt x="980" y="1387"/>
                  <a:pt x="987" y="1374"/>
                </a:cubicBezTo>
                <a:cubicBezTo>
                  <a:pt x="1028" y="1303"/>
                  <a:pt x="1028" y="1303"/>
                  <a:pt x="1028" y="1303"/>
                </a:cubicBezTo>
                <a:cubicBezTo>
                  <a:pt x="1035" y="1291"/>
                  <a:pt x="1052" y="1281"/>
                  <a:pt x="1066" y="1281"/>
                </a:cubicBezTo>
                <a:cubicBezTo>
                  <a:pt x="1172" y="1281"/>
                  <a:pt x="1172" y="1281"/>
                  <a:pt x="1172" y="1281"/>
                </a:cubicBezTo>
                <a:cubicBezTo>
                  <a:pt x="1186" y="1281"/>
                  <a:pt x="1203" y="1291"/>
                  <a:pt x="1210" y="1303"/>
                </a:cubicBezTo>
                <a:lnTo>
                  <a:pt x="1263" y="1394"/>
                </a:lnTo>
                <a:close/>
                <a:moveTo>
                  <a:pt x="463" y="891"/>
                </a:moveTo>
                <a:cubicBezTo>
                  <a:pt x="452" y="871"/>
                  <a:pt x="452" y="838"/>
                  <a:pt x="463" y="818"/>
                </a:cubicBezTo>
                <a:cubicBezTo>
                  <a:pt x="551" y="667"/>
                  <a:pt x="551" y="667"/>
                  <a:pt x="551" y="667"/>
                </a:cubicBezTo>
                <a:cubicBezTo>
                  <a:pt x="562" y="646"/>
                  <a:pt x="591" y="630"/>
                  <a:pt x="614" y="630"/>
                </a:cubicBezTo>
                <a:cubicBezTo>
                  <a:pt x="962" y="629"/>
                  <a:pt x="962" y="629"/>
                  <a:pt x="962" y="629"/>
                </a:cubicBezTo>
                <a:cubicBezTo>
                  <a:pt x="985" y="629"/>
                  <a:pt x="995" y="613"/>
                  <a:pt x="983" y="593"/>
                </a:cubicBezTo>
                <a:cubicBezTo>
                  <a:pt x="854" y="368"/>
                  <a:pt x="854" y="368"/>
                  <a:pt x="854" y="368"/>
                </a:cubicBezTo>
                <a:cubicBezTo>
                  <a:pt x="842" y="347"/>
                  <a:pt x="842" y="314"/>
                  <a:pt x="854" y="294"/>
                </a:cubicBezTo>
                <a:cubicBezTo>
                  <a:pt x="1003" y="36"/>
                  <a:pt x="1003" y="36"/>
                  <a:pt x="1003" y="36"/>
                </a:cubicBezTo>
                <a:cubicBezTo>
                  <a:pt x="1014" y="16"/>
                  <a:pt x="1043" y="0"/>
                  <a:pt x="1066" y="0"/>
                </a:cubicBezTo>
                <a:cubicBezTo>
                  <a:pt x="1364" y="0"/>
                  <a:pt x="1364" y="0"/>
                  <a:pt x="1364" y="0"/>
                </a:cubicBezTo>
                <a:cubicBezTo>
                  <a:pt x="1387" y="0"/>
                  <a:pt x="1416" y="16"/>
                  <a:pt x="1428" y="36"/>
                </a:cubicBezTo>
                <a:cubicBezTo>
                  <a:pt x="1577" y="294"/>
                  <a:pt x="1577" y="294"/>
                  <a:pt x="1577" y="294"/>
                </a:cubicBezTo>
                <a:cubicBezTo>
                  <a:pt x="1588" y="314"/>
                  <a:pt x="1588" y="347"/>
                  <a:pt x="1577" y="368"/>
                </a:cubicBezTo>
                <a:cubicBezTo>
                  <a:pt x="1428" y="626"/>
                  <a:pt x="1428" y="626"/>
                  <a:pt x="1428" y="626"/>
                </a:cubicBezTo>
                <a:cubicBezTo>
                  <a:pt x="1416" y="646"/>
                  <a:pt x="1387" y="662"/>
                  <a:pt x="1364" y="662"/>
                </a:cubicBezTo>
                <a:cubicBezTo>
                  <a:pt x="893" y="663"/>
                  <a:pt x="893" y="663"/>
                  <a:pt x="893" y="663"/>
                </a:cubicBezTo>
                <a:cubicBezTo>
                  <a:pt x="870" y="663"/>
                  <a:pt x="860" y="679"/>
                  <a:pt x="872" y="699"/>
                </a:cubicBezTo>
                <a:cubicBezTo>
                  <a:pt x="940" y="818"/>
                  <a:pt x="940" y="818"/>
                  <a:pt x="940" y="818"/>
                </a:cubicBezTo>
                <a:cubicBezTo>
                  <a:pt x="952" y="838"/>
                  <a:pt x="952" y="871"/>
                  <a:pt x="940" y="891"/>
                </a:cubicBezTo>
                <a:cubicBezTo>
                  <a:pt x="853" y="1043"/>
                  <a:pt x="853" y="1043"/>
                  <a:pt x="853" y="1043"/>
                </a:cubicBezTo>
                <a:cubicBezTo>
                  <a:pt x="841" y="1063"/>
                  <a:pt x="812" y="1079"/>
                  <a:pt x="789" y="1079"/>
                </a:cubicBezTo>
                <a:cubicBezTo>
                  <a:pt x="614" y="1079"/>
                  <a:pt x="614" y="1079"/>
                  <a:pt x="614" y="1079"/>
                </a:cubicBezTo>
                <a:cubicBezTo>
                  <a:pt x="591" y="1079"/>
                  <a:pt x="562" y="1063"/>
                  <a:pt x="551" y="1043"/>
                </a:cubicBezTo>
                <a:lnTo>
                  <a:pt x="463" y="891"/>
                </a:lnTo>
                <a:close/>
                <a:moveTo>
                  <a:pt x="8" y="1073"/>
                </a:moveTo>
                <a:cubicBezTo>
                  <a:pt x="117" y="884"/>
                  <a:pt x="117" y="884"/>
                  <a:pt x="117" y="884"/>
                </a:cubicBezTo>
                <a:cubicBezTo>
                  <a:pt x="125" y="869"/>
                  <a:pt x="146" y="857"/>
                  <a:pt x="163" y="857"/>
                </a:cubicBezTo>
                <a:cubicBezTo>
                  <a:pt x="381" y="857"/>
                  <a:pt x="381" y="857"/>
                  <a:pt x="381" y="857"/>
                </a:cubicBezTo>
                <a:cubicBezTo>
                  <a:pt x="398" y="857"/>
                  <a:pt x="418" y="869"/>
                  <a:pt x="427" y="884"/>
                </a:cubicBezTo>
                <a:cubicBezTo>
                  <a:pt x="536" y="1073"/>
                  <a:pt x="536" y="1073"/>
                  <a:pt x="536" y="1073"/>
                </a:cubicBezTo>
                <a:cubicBezTo>
                  <a:pt x="544" y="1087"/>
                  <a:pt x="544" y="1111"/>
                  <a:pt x="536" y="1126"/>
                </a:cubicBezTo>
                <a:cubicBezTo>
                  <a:pt x="364" y="1424"/>
                  <a:pt x="364" y="1424"/>
                  <a:pt x="364" y="1424"/>
                </a:cubicBezTo>
                <a:cubicBezTo>
                  <a:pt x="356" y="1439"/>
                  <a:pt x="362" y="1451"/>
                  <a:pt x="379" y="1451"/>
                </a:cubicBezTo>
                <a:cubicBezTo>
                  <a:pt x="479" y="1451"/>
                  <a:pt x="479" y="1451"/>
                  <a:pt x="479" y="1451"/>
                </a:cubicBezTo>
                <a:cubicBezTo>
                  <a:pt x="496" y="1451"/>
                  <a:pt x="517" y="1463"/>
                  <a:pt x="526" y="1478"/>
                </a:cubicBezTo>
                <a:cubicBezTo>
                  <a:pt x="590" y="1588"/>
                  <a:pt x="590" y="1588"/>
                  <a:pt x="590" y="1588"/>
                </a:cubicBezTo>
                <a:cubicBezTo>
                  <a:pt x="598" y="1603"/>
                  <a:pt x="598" y="1627"/>
                  <a:pt x="590" y="1642"/>
                </a:cubicBezTo>
                <a:cubicBezTo>
                  <a:pt x="526" y="1752"/>
                  <a:pt x="526" y="1752"/>
                  <a:pt x="526" y="1752"/>
                </a:cubicBezTo>
                <a:cubicBezTo>
                  <a:pt x="517" y="1767"/>
                  <a:pt x="496" y="1779"/>
                  <a:pt x="479" y="1779"/>
                </a:cubicBezTo>
                <a:cubicBezTo>
                  <a:pt x="352" y="1779"/>
                  <a:pt x="352" y="1779"/>
                  <a:pt x="352" y="1779"/>
                </a:cubicBezTo>
                <a:cubicBezTo>
                  <a:pt x="335" y="1779"/>
                  <a:pt x="314" y="1767"/>
                  <a:pt x="305" y="1752"/>
                </a:cubicBezTo>
                <a:cubicBezTo>
                  <a:pt x="242" y="1642"/>
                  <a:pt x="242" y="1642"/>
                  <a:pt x="242" y="1642"/>
                </a:cubicBezTo>
                <a:cubicBezTo>
                  <a:pt x="233" y="1627"/>
                  <a:pt x="233" y="1603"/>
                  <a:pt x="242" y="1588"/>
                </a:cubicBezTo>
                <a:cubicBezTo>
                  <a:pt x="368" y="1368"/>
                  <a:pt x="368" y="1368"/>
                  <a:pt x="368" y="1368"/>
                </a:cubicBezTo>
                <a:cubicBezTo>
                  <a:pt x="377" y="1353"/>
                  <a:pt x="370" y="1341"/>
                  <a:pt x="353" y="1341"/>
                </a:cubicBezTo>
                <a:cubicBezTo>
                  <a:pt x="163" y="1341"/>
                  <a:pt x="163" y="1341"/>
                  <a:pt x="163" y="1341"/>
                </a:cubicBezTo>
                <a:cubicBezTo>
                  <a:pt x="146" y="1341"/>
                  <a:pt x="125" y="1329"/>
                  <a:pt x="117" y="1314"/>
                </a:cubicBezTo>
                <a:cubicBezTo>
                  <a:pt x="8" y="1126"/>
                  <a:pt x="8" y="1126"/>
                  <a:pt x="8" y="1126"/>
                </a:cubicBezTo>
                <a:cubicBezTo>
                  <a:pt x="0" y="1111"/>
                  <a:pt x="0" y="1087"/>
                  <a:pt x="8" y="1073"/>
                </a:cubicBezTo>
              </a:path>
            </a:pathLst>
          </a:custGeom>
          <a:solidFill>
            <a:schemeClr val="bg2"/>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9" name="Freeform 8"/>
          <p:cNvSpPr/>
          <p:nvPr userDrawn="1"/>
        </p:nvSpPr>
        <p:spPr bwMode="gray">
          <a:xfrm>
            <a:off x="0" y="0"/>
            <a:ext cx="12192000" cy="6858000"/>
          </a:xfrm>
          <a:custGeom>
            <a:avLst/>
            <a:gdLst>
              <a:gd name="connsiteX0" fmla="*/ 4456428 w 12192000"/>
              <a:gd name="connsiteY0" fmla="*/ 0 h 6858000"/>
              <a:gd name="connsiteX1" fmla="*/ 12192000 w 12192000"/>
              <a:gd name="connsiteY1" fmla="*/ 0 h 6858000"/>
              <a:gd name="connsiteX2" fmla="*/ 12192000 w 12192000"/>
              <a:gd name="connsiteY2" fmla="*/ 6858000 h 6858000"/>
              <a:gd name="connsiteX3" fmla="*/ 6910377 w 12192000"/>
              <a:gd name="connsiteY3" fmla="*/ 6858000 h 6858000"/>
              <a:gd name="connsiteX4" fmla="*/ 6944008 w 12192000"/>
              <a:gd name="connsiteY4" fmla="*/ 6799742 h 6858000"/>
              <a:gd name="connsiteX5" fmla="*/ 7200786 w 12192000"/>
              <a:gd name="connsiteY5" fmla="*/ 6354938 h 6858000"/>
              <a:gd name="connsiteX6" fmla="*/ 7200786 w 12192000"/>
              <a:gd name="connsiteY6" fmla="*/ 5837908 h 6858000"/>
              <a:gd name="connsiteX7" fmla="*/ 6149027 w 12192000"/>
              <a:gd name="connsiteY7" fmla="*/ 4012915 h 6858000"/>
              <a:gd name="connsiteX8" fmla="*/ 5703106 w 12192000"/>
              <a:gd name="connsiteY8" fmla="*/ 3754400 h 6858000"/>
              <a:gd name="connsiteX9" fmla="*/ 3870218 w 12192000"/>
              <a:gd name="connsiteY9" fmla="*/ 3754400 h 6858000"/>
              <a:gd name="connsiteX10" fmla="*/ 3719527 w 12192000"/>
              <a:gd name="connsiteY10" fmla="*/ 3492808 h 6858000"/>
              <a:gd name="connsiteX11" fmla="*/ 4943503 w 12192000"/>
              <a:gd name="connsiteY11" fmla="*/ 1363137 h 6858000"/>
              <a:gd name="connsiteX12" fmla="*/ 4943503 w 12192000"/>
              <a:gd name="connsiteY12" fmla="*/ 846107 h 6858000"/>
              <a:gd name="connsiteX13" fmla="*/ 4462168 w 12192000"/>
              <a:gd name="connsiteY13" fmla="*/ 9972 h 6858000"/>
              <a:gd name="connsiteX14" fmla="*/ 0 w 12192000"/>
              <a:gd name="connsiteY14" fmla="*/ 0 h 6858000"/>
              <a:gd name="connsiteX15" fmla="*/ 2066183 w 12192000"/>
              <a:gd name="connsiteY15" fmla="*/ 0 h 6858000"/>
              <a:gd name="connsiteX16" fmla="*/ 1982011 w 12192000"/>
              <a:gd name="connsiteY16" fmla="*/ 146217 h 6858000"/>
              <a:gd name="connsiteX17" fmla="*/ 1579108 w 12192000"/>
              <a:gd name="connsiteY17" fmla="*/ 846107 h 6858000"/>
              <a:gd name="connsiteX18" fmla="*/ 1579108 w 12192000"/>
              <a:gd name="connsiteY18" fmla="*/ 1363137 h 6858000"/>
              <a:gd name="connsiteX19" fmla="*/ 2194171 w 12192000"/>
              <a:gd name="connsiteY19" fmla="*/ 2434127 h 6858000"/>
              <a:gd name="connsiteX20" fmla="*/ 2643167 w 12192000"/>
              <a:gd name="connsiteY20" fmla="*/ 2692642 h 6858000"/>
              <a:gd name="connsiteX21" fmla="*/ 3608816 w 12192000"/>
              <a:gd name="connsiteY21" fmla="*/ 2692642 h 6858000"/>
              <a:gd name="connsiteX22" fmla="*/ 3759507 w 12192000"/>
              <a:gd name="connsiteY22" fmla="*/ 2951157 h 6858000"/>
              <a:gd name="connsiteX23" fmla="*/ 2098836 w 12192000"/>
              <a:gd name="connsiteY23" fmla="*/ 5837908 h 6858000"/>
              <a:gd name="connsiteX24" fmla="*/ 2098836 w 12192000"/>
              <a:gd name="connsiteY24" fmla="*/ 6354938 h 6858000"/>
              <a:gd name="connsiteX25" fmla="*/ 2367778 w 12192000"/>
              <a:gd name="connsiteY25" fmla="*/ 6820814 h 6858000"/>
              <a:gd name="connsiteX26" fmla="*/ 2389244 w 12192000"/>
              <a:gd name="connsiteY26" fmla="*/ 6858000 h 6858000"/>
              <a:gd name="connsiteX27" fmla="*/ 2077708 w 12192000"/>
              <a:gd name="connsiteY27" fmla="*/ 6858000 h 6858000"/>
              <a:gd name="connsiteX28" fmla="*/ 2060010 w 12192000"/>
              <a:gd name="connsiteY28" fmla="*/ 6827344 h 6858000"/>
              <a:gd name="connsiteX29" fmla="*/ 1954296 w 12192000"/>
              <a:gd name="connsiteY29" fmla="*/ 6644229 h 6858000"/>
              <a:gd name="connsiteX30" fmla="*/ 1339233 w 12192000"/>
              <a:gd name="connsiteY30" fmla="*/ 6287232 h 6858000"/>
              <a:gd name="connsiteX31" fmla="*/ 60754 w 12192000"/>
              <a:gd name="connsiteY31" fmla="*/ 6287232 h 6858000"/>
              <a:gd name="connsiteX32" fmla="*/ 0 w 12192000"/>
              <a:gd name="connsiteY32" fmla="*/ 6287232 h 6858000"/>
              <a:gd name="connsiteX33" fmla="*/ 0 w 12192000"/>
              <a:gd name="connsiteY33" fmla="*/ 6028717 h 6858000"/>
              <a:gd name="connsiteX34" fmla="*/ 34162 w 12192000"/>
              <a:gd name="connsiteY34" fmla="*/ 6028717 h 6858000"/>
              <a:gd name="connsiteX35" fmla="*/ 1468396 w 12192000"/>
              <a:gd name="connsiteY35" fmla="*/ 6028717 h 6858000"/>
              <a:gd name="connsiteX36" fmla="*/ 1837434 w 12192000"/>
              <a:gd name="connsiteY36" fmla="*/ 5813288 h 6858000"/>
              <a:gd name="connsiteX37" fmla="*/ 2707749 w 12192000"/>
              <a:gd name="connsiteY37" fmla="*/ 4308361 h 6858000"/>
              <a:gd name="connsiteX38" fmla="*/ 2707749 w 12192000"/>
              <a:gd name="connsiteY38" fmla="*/ 3880580 h 6858000"/>
              <a:gd name="connsiteX39" fmla="*/ 1837434 w 12192000"/>
              <a:gd name="connsiteY39" fmla="*/ 2372576 h 6858000"/>
              <a:gd name="connsiteX40" fmla="*/ 1468396 w 12192000"/>
              <a:gd name="connsiteY40" fmla="*/ 2160224 h 6858000"/>
              <a:gd name="connsiteX41" fmla="*/ 37562 w 12192000"/>
              <a:gd name="connsiteY41" fmla="*/ 2160224 h 6858000"/>
              <a:gd name="connsiteX42" fmla="*/ 0 w 12192000"/>
              <a:gd name="connsiteY42" fmla="*/ 21602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2000" h="6858000">
                <a:moveTo>
                  <a:pt x="4456428" y="0"/>
                </a:moveTo>
                <a:lnTo>
                  <a:pt x="12192000" y="0"/>
                </a:lnTo>
                <a:lnTo>
                  <a:pt x="12192000" y="6858000"/>
                </a:lnTo>
                <a:lnTo>
                  <a:pt x="6910377" y="6858000"/>
                </a:lnTo>
                <a:lnTo>
                  <a:pt x="6944008" y="6799742"/>
                </a:lnTo>
                <a:cubicBezTo>
                  <a:pt x="7200786" y="6354938"/>
                  <a:pt x="7200786" y="6354938"/>
                  <a:pt x="7200786" y="6354938"/>
                </a:cubicBezTo>
                <a:cubicBezTo>
                  <a:pt x="7283818" y="6213370"/>
                  <a:pt x="7283818" y="5979476"/>
                  <a:pt x="7200786" y="5837908"/>
                </a:cubicBezTo>
                <a:cubicBezTo>
                  <a:pt x="6149027" y="4012915"/>
                  <a:pt x="6149027" y="4012915"/>
                  <a:pt x="6149027" y="4012915"/>
                </a:cubicBezTo>
                <a:cubicBezTo>
                  <a:pt x="6069069" y="3871348"/>
                  <a:pt x="5866098" y="3754400"/>
                  <a:pt x="5703106" y="3754400"/>
                </a:cubicBezTo>
                <a:cubicBezTo>
                  <a:pt x="3870218" y="3754400"/>
                  <a:pt x="3870218" y="3754400"/>
                  <a:pt x="3870218" y="3754400"/>
                </a:cubicBezTo>
                <a:cubicBezTo>
                  <a:pt x="3704151" y="3754400"/>
                  <a:pt x="3636494" y="3637453"/>
                  <a:pt x="3719527" y="3492808"/>
                </a:cubicBezTo>
                <a:cubicBezTo>
                  <a:pt x="4943503" y="1363137"/>
                  <a:pt x="4943503" y="1363137"/>
                  <a:pt x="4943503" y="1363137"/>
                </a:cubicBezTo>
                <a:cubicBezTo>
                  <a:pt x="5026537" y="1221569"/>
                  <a:pt x="5026537" y="987674"/>
                  <a:pt x="4943503" y="846107"/>
                </a:cubicBezTo>
                <a:cubicBezTo>
                  <a:pt x="4576772" y="209052"/>
                  <a:pt x="4485089" y="49788"/>
                  <a:pt x="4462168" y="9972"/>
                </a:cubicBezTo>
                <a:close/>
                <a:moveTo>
                  <a:pt x="0" y="0"/>
                </a:moveTo>
                <a:lnTo>
                  <a:pt x="2066183" y="0"/>
                </a:lnTo>
                <a:lnTo>
                  <a:pt x="1982011" y="146217"/>
                </a:lnTo>
                <a:cubicBezTo>
                  <a:pt x="1579108" y="846107"/>
                  <a:pt x="1579108" y="846107"/>
                  <a:pt x="1579108" y="846107"/>
                </a:cubicBezTo>
                <a:cubicBezTo>
                  <a:pt x="1496074" y="987674"/>
                  <a:pt x="1496074" y="1221569"/>
                  <a:pt x="1579108" y="1363137"/>
                </a:cubicBezTo>
                <a:cubicBezTo>
                  <a:pt x="2194171" y="2434127"/>
                  <a:pt x="2194171" y="2434127"/>
                  <a:pt x="2194171" y="2434127"/>
                </a:cubicBezTo>
                <a:cubicBezTo>
                  <a:pt x="2277204" y="2575695"/>
                  <a:pt x="2480175" y="2692642"/>
                  <a:pt x="2643167" y="2692642"/>
                </a:cubicBezTo>
                <a:cubicBezTo>
                  <a:pt x="3608816" y="2692642"/>
                  <a:pt x="3608816" y="2692642"/>
                  <a:pt x="3608816" y="2692642"/>
                </a:cubicBezTo>
                <a:cubicBezTo>
                  <a:pt x="3774883" y="2692642"/>
                  <a:pt x="3842540" y="2809590"/>
                  <a:pt x="3759507" y="2951157"/>
                </a:cubicBezTo>
                <a:cubicBezTo>
                  <a:pt x="2098836" y="5837908"/>
                  <a:pt x="2098836" y="5837908"/>
                  <a:pt x="2098836" y="5837908"/>
                </a:cubicBezTo>
                <a:cubicBezTo>
                  <a:pt x="2015802" y="5979476"/>
                  <a:pt x="2015802" y="6213370"/>
                  <a:pt x="2098836" y="6354938"/>
                </a:cubicBezTo>
                <a:cubicBezTo>
                  <a:pt x="2197438" y="6525743"/>
                  <a:pt x="2286797" y="6680534"/>
                  <a:pt x="2367778" y="6820814"/>
                </a:cubicBezTo>
                <a:lnTo>
                  <a:pt x="2389244" y="6858000"/>
                </a:lnTo>
                <a:lnTo>
                  <a:pt x="2077708" y="6858000"/>
                </a:lnTo>
                <a:lnTo>
                  <a:pt x="2060010" y="6827344"/>
                </a:lnTo>
                <a:cubicBezTo>
                  <a:pt x="1954296" y="6644229"/>
                  <a:pt x="1954296" y="6644229"/>
                  <a:pt x="1954296" y="6644229"/>
                </a:cubicBezTo>
                <a:cubicBezTo>
                  <a:pt x="1840509" y="6447265"/>
                  <a:pt x="1563731" y="6287232"/>
                  <a:pt x="1339233" y="6287232"/>
                </a:cubicBezTo>
                <a:cubicBezTo>
                  <a:pt x="704949" y="6287232"/>
                  <a:pt x="308521" y="6287232"/>
                  <a:pt x="60754" y="6287232"/>
                </a:cubicBezTo>
                <a:lnTo>
                  <a:pt x="0" y="6287232"/>
                </a:lnTo>
                <a:lnTo>
                  <a:pt x="0" y="6028717"/>
                </a:lnTo>
                <a:lnTo>
                  <a:pt x="34162" y="6028717"/>
                </a:lnTo>
                <a:cubicBezTo>
                  <a:pt x="1468396" y="6028717"/>
                  <a:pt x="1468396" y="6028717"/>
                  <a:pt x="1468396" y="6028717"/>
                </a:cubicBezTo>
                <a:cubicBezTo>
                  <a:pt x="1603710" y="6028717"/>
                  <a:pt x="1769777" y="5933312"/>
                  <a:pt x="1837434" y="5813288"/>
                </a:cubicBezTo>
                <a:cubicBezTo>
                  <a:pt x="2707749" y="4308361"/>
                  <a:pt x="2707749" y="4308361"/>
                  <a:pt x="2707749" y="4308361"/>
                </a:cubicBezTo>
                <a:cubicBezTo>
                  <a:pt x="2775405" y="4191414"/>
                  <a:pt x="2775405" y="3997527"/>
                  <a:pt x="2707749" y="3880580"/>
                </a:cubicBezTo>
                <a:lnTo>
                  <a:pt x="1837434" y="2372576"/>
                </a:lnTo>
                <a:cubicBezTo>
                  <a:pt x="1769777" y="2255629"/>
                  <a:pt x="1603710" y="2160224"/>
                  <a:pt x="1468396" y="2160224"/>
                </a:cubicBezTo>
                <a:cubicBezTo>
                  <a:pt x="706871" y="2160224"/>
                  <a:pt x="278513" y="2160224"/>
                  <a:pt x="37562" y="2160224"/>
                </a:cubicBezTo>
                <a:lnTo>
                  <a:pt x="0" y="2160224"/>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 name="Text Placeholder 16"/>
          <p:cNvSpPr>
            <a:spLocks noGrp="1"/>
          </p:cNvSpPr>
          <p:nvPr>
            <p:ph type="body" sz="quarter" idx="13" hasCustomPrompt="1"/>
          </p:nvPr>
        </p:nvSpPr>
        <p:spPr bwMode="gray">
          <a:xfrm>
            <a:off x="6001475" y="1799194"/>
            <a:ext cx="1006525" cy="648325"/>
          </a:xfrm>
          <a:prstGeom prst="rect">
            <a:avLst/>
          </a:prstGeom>
        </p:spPr>
        <p:txBody>
          <a:bodyPr wrap="none"/>
          <a:lstStyle>
            <a:lvl1pPr marL="0" indent="0">
              <a:buFont typeface="Arial" panose="020B0604020202020204" pitchFamily="34" charset="0"/>
              <a:buNone/>
              <a:defRPr sz="3600" b="0">
                <a:ln>
                  <a:solidFill>
                    <a:schemeClr val="bg2"/>
                  </a:solidFill>
                </a:ln>
                <a:noFill/>
                <a:latin typeface="Merck" panose="04040805020F02020302" pitchFamily="82" charset="0"/>
              </a:defRPr>
            </a:lvl1pPr>
            <a:lvl2pPr marL="0" indent="0">
              <a:spcBef>
                <a:spcPts val="450"/>
              </a:spcBef>
              <a:buFont typeface="Arial" panose="020B0604020202020204" pitchFamily="34" charset="0"/>
              <a:buNone/>
              <a:defRPr sz="3600" b="0">
                <a:ln>
                  <a:solidFill>
                    <a:schemeClr val="bg2"/>
                  </a:solidFill>
                </a:ln>
                <a:noFill/>
                <a:latin typeface="Merck" panose="04040805020F02020302" pitchFamily="82" charset="0"/>
              </a:defRPr>
            </a:lvl2pPr>
            <a:lvl3pPr marL="0" indent="0">
              <a:spcBef>
                <a:spcPts val="450"/>
              </a:spcBef>
              <a:buNone/>
              <a:defRPr sz="3600" b="0">
                <a:ln>
                  <a:solidFill>
                    <a:schemeClr val="bg2"/>
                  </a:solidFill>
                </a:ln>
                <a:noFill/>
                <a:latin typeface="Merck" panose="04040805020F02020302" pitchFamily="82" charset="0"/>
              </a:defRPr>
            </a:lvl3pPr>
            <a:lvl4pPr marL="0" indent="0">
              <a:spcBef>
                <a:spcPts val="450"/>
              </a:spcBef>
              <a:buNone/>
              <a:defRPr sz="3600" b="0">
                <a:ln>
                  <a:solidFill>
                    <a:schemeClr val="bg2"/>
                  </a:solidFill>
                </a:ln>
                <a:noFill/>
                <a:latin typeface="Merck" panose="04040805020F02020302" pitchFamily="82" charset="0"/>
              </a:defRPr>
            </a:lvl4pPr>
            <a:lvl5pPr marL="0" indent="0">
              <a:spcBef>
                <a:spcPts val="450"/>
              </a:spcBef>
              <a:buNone/>
              <a:defRPr sz="3600" b="0">
                <a:ln>
                  <a:solidFill>
                    <a:schemeClr val="bg2"/>
                  </a:solidFill>
                </a:ln>
                <a:noFill/>
                <a:latin typeface="Merck" panose="04040805020F02020302" pitchFamily="82" charset="0"/>
              </a:defRPr>
            </a:lvl5pPr>
            <a:lvl6pPr marL="0" indent="0">
              <a:spcBef>
                <a:spcPts val="450"/>
              </a:spcBef>
              <a:buNone/>
              <a:defRPr sz="3600" b="0">
                <a:ln>
                  <a:solidFill>
                    <a:schemeClr val="bg2"/>
                  </a:solidFill>
                </a:ln>
                <a:noFill/>
                <a:latin typeface="Merck" panose="04040805020F02020302" pitchFamily="82" charset="0"/>
              </a:defRPr>
            </a:lvl6pPr>
            <a:lvl7pPr marL="0" indent="0">
              <a:spcBef>
                <a:spcPts val="450"/>
              </a:spcBef>
              <a:buNone/>
              <a:defRPr sz="3600" b="0">
                <a:ln>
                  <a:solidFill>
                    <a:schemeClr val="bg2"/>
                  </a:solidFill>
                </a:ln>
                <a:noFill/>
                <a:latin typeface="Merck" panose="04040805020F02020302" pitchFamily="82" charset="0"/>
              </a:defRPr>
            </a:lvl7pPr>
            <a:lvl8pPr marL="0" indent="0">
              <a:spcBef>
                <a:spcPts val="450"/>
              </a:spcBef>
              <a:buNone/>
              <a:defRPr sz="3600" b="0">
                <a:ln>
                  <a:solidFill>
                    <a:schemeClr val="bg2"/>
                  </a:solidFill>
                </a:ln>
                <a:noFill/>
                <a:latin typeface="Merck" panose="04040805020F02020302" pitchFamily="82" charset="0"/>
              </a:defRPr>
            </a:lvl8pPr>
            <a:lvl9pPr marL="0" indent="0">
              <a:spcBef>
                <a:spcPts val="450"/>
              </a:spcBef>
              <a:buNone/>
              <a:defRPr sz="3600" b="0">
                <a:ln>
                  <a:solidFill>
                    <a:schemeClr val="bg2"/>
                  </a:solidFill>
                </a:ln>
                <a:noFill/>
                <a:latin typeface="Merck" panose="04040805020F02020302" pitchFamily="82" charset="0"/>
              </a:defRPr>
            </a:lvl9pPr>
          </a:lstStyle>
          <a:p>
            <a:pPr lvl="0"/>
            <a:r>
              <a:rPr lang="en-US" noProof="0" dirty="0"/>
              <a:t>00</a:t>
            </a:r>
            <a:endParaRPr lang="en-US" dirty="0"/>
          </a:p>
          <a:p>
            <a:pPr lvl="0"/>
            <a:endParaRPr lang="en-US" noProof="0" dirty="0"/>
          </a:p>
        </p:txBody>
      </p:sp>
      <p:sp>
        <p:nvSpPr>
          <p:cNvPr id="2" name="Title 1"/>
          <p:cNvSpPr>
            <a:spLocks noGrp="1"/>
          </p:cNvSpPr>
          <p:nvPr>
            <p:ph type="title" hasCustomPrompt="1"/>
          </p:nvPr>
        </p:nvSpPr>
        <p:spPr bwMode="gray">
          <a:xfrm>
            <a:off x="7176119" y="1879993"/>
            <a:ext cx="4657508" cy="903700"/>
          </a:xfrm>
          <a:prstGeom prst="rect">
            <a:avLst/>
          </a:prstGeom>
          <a:noFill/>
        </p:spPr>
        <p:txBody>
          <a:bodyPr tIns="72000" bIns="0" anchor="t" anchorCtr="0"/>
          <a:lstStyle>
            <a:lvl1pPr>
              <a:lnSpc>
                <a:spcPct val="100000"/>
              </a:lnSpc>
              <a:defRPr sz="2700" cap="none" baseline="0">
                <a:latin typeface="Merck" panose="04040805020F02020302" pitchFamily="82" charset="0"/>
              </a:defRPr>
            </a:lvl1pPr>
          </a:lstStyle>
          <a:p>
            <a:pPr lvl="0"/>
            <a:r>
              <a:rPr lang="en-US" noProof="0" dirty="0"/>
              <a:t>Chapter name </a:t>
            </a:r>
            <a:br>
              <a:rPr lang="en-US" noProof="0" dirty="0"/>
            </a:br>
            <a:r>
              <a:rPr lang="en-US" noProof="0" dirty="0"/>
              <a:t>in two lines</a:t>
            </a:r>
          </a:p>
        </p:txBody>
      </p:sp>
    </p:spTree>
    <p:extLst/>
  </p:cSld>
  <p:clrMapOvr>
    <a:masterClrMapping/>
  </p:clrMapOvr>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Plastic">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1073"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4" name="Rectangle 13"/>
          <p:cNvSpPr/>
          <p:nvPr userDrawn="1"/>
        </p:nvSpPr>
        <p:spPr bwMode="gray">
          <a:xfrm>
            <a:off x="1" y="2"/>
            <a:ext cx="12192000" cy="6858001"/>
          </a:xfrm>
          <a:prstGeom prst="rect">
            <a:avLst/>
          </a:prstGeom>
          <a:solidFill>
            <a:srgbClr val="503291"/>
          </a:solidFill>
          <a:ln w="9525" cap="flat" cmpd="sng" algn="ctr">
            <a:noFill/>
            <a:prstDash val="solid"/>
          </a:ln>
          <a:effectLst/>
        </p:spPr>
        <p:txBody>
          <a:bodyPr rtlCol="0" anchor="ctr" anchorCtr="0"/>
          <a:lstStyle/>
          <a:p>
            <a:pPr marL="0" indent="0" algn="ctr">
              <a:spcBef>
                <a:spcPts val="225"/>
              </a:spcBef>
              <a:spcAft>
                <a:spcPts val="225"/>
              </a:spcAft>
              <a:buClr>
                <a:schemeClr val="bg1"/>
              </a:buClr>
              <a:buSzPct val="100000"/>
              <a:buFont typeface="Arial" panose="020B0604020202020204" pitchFamily="34" charset="0"/>
              <a:buNone/>
            </a:pPr>
            <a:endParaRPr lang="en-US" sz="1050" kern="0">
              <a:solidFill>
                <a:srgbClr val="FFFFFF"/>
              </a:solidFill>
              <a:latin typeface="Verdana"/>
            </a:endParaRPr>
          </a:p>
        </p:txBody>
      </p:sp>
      <p:sp>
        <p:nvSpPr>
          <p:cNvPr id="16" name="Freeform 15"/>
          <p:cNvSpPr/>
          <p:nvPr userDrawn="1"/>
        </p:nvSpPr>
        <p:spPr bwMode="gray">
          <a:xfrm>
            <a:off x="1" y="0"/>
            <a:ext cx="8832236" cy="6858000"/>
          </a:xfrm>
          <a:custGeom>
            <a:avLst/>
            <a:gdLst>
              <a:gd name="connsiteX0" fmla="*/ 1333675 w 8832236"/>
              <a:gd name="connsiteY0" fmla="*/ 0 h 6858000"/>
              <a:gd name="connsiteX1" fmla="*/ 1543197 w 8832236"/>
              <a:gd name="connsiteY1" fmla="*/ 0 h 6858000"/>
              <a:gd name="connsiteX2" fmla="*/ 1739629 w 8832236"/>
              <a:gd name="connsiteY2" fmla="*/ 0 h 6858000"/>
              <a:gd name="connsiteX3" fmla="*/ 1923392 w 8832236"/>
              <a:gd name="connsiteY3" fmla="*/ 0 h 6858000"/>
              <a:gd name="connsiteX4" fmla="*/ 2094910 w 8832236"/>
              <a:gd name="connsiteY4" fmla="*/ 0 h 6858000"/>
              <a:gd name="connsiteX5" fmla="*/ 2402895 w 8832236"/>
              <a:gd name="connsiteY5" fmla="*/ 0 h 6858000"/>
              <a:gd name="connsiteX6" fmla="*/ 2666962 w 8832236"/>
              <a:gd name="connsiteY6" fmla="*/ 0 h 6858000"/>
              <a:gd name="connsiteX7" fmla="*/ 2890490 w 8832236"/>
              <a:gd name="connsiteY7" fmla="*/ 0 h 6858000"/>
              <a:gd name="connsiteX8" fmla="*/ 3076858 w 8832236"/>
              <a:gd name="connsiteY8" fmla="*/ 0 h 6858000"/>
              <a:gd name="connsiteX9" fmla="*/ 3229442 w 8832236"/>
              <a:gd name="connsiteY9" fmla="*/ 0 h 6858000"/>
              <a:gd name="connsiteX10" fmla="*/ 3351623 w 8832236"/>
              <a:gd name="connsiteY10" fmla="*/ 0 h 6858000"/>
              <a:gd name="connsiteX11" fmla="*/ 3446777 w 8832236"/>
              <a:gd name="connsiteY11" fmla="*/ 0 h 6858000"/>
              <a:gd name="connsiteX12" fmla="*/ 3518284 w 8832236"/>
              <a:gd name="connsiteY12" fmla="*/ 0 h 6858000"/>
              <a:gd name="connsiteX13" fmla="*/ 3569521 w 8832236"/>
              <a:gd name="connsiteY13" fmla="*/ 0 h 6858000"/>
              <a:gd name="connsiteX14" fmla="*/ 3603867 w 8832236"/>
              <a:gd name="connsiteY14" fmla="*/ 0 h 6858000"/>
              <a:gd name="connsiteX15" fmla="*/ 3624699 w 8832236"/>
              <a:gd name="connsiteY15" fmla="*/ 0 h 6858000"/>
              <a:gd name="connsiteX16" fmla="*/ 3635397 w 8832236"/>
              <a:gd name="connsiteY16" fmla="*/ 0 h 6858000"/>
              <a:gd name="connsiteX17" fmla="*/ 3639901 w 8832236"/>
              <a:gd name="connsiteY17" fmla="*/ 0 h 6858000"/>
              <a:gd name="connsiteX18" fmla="*/ 3703874 w 8832236"/>
              <a:gd name="connsiteY18" fmla="*/ 368087 h 6858000"/>
              <a:gd name="connsiteX19" fmla="*/ 4081315 w 8832236"/>
              <a:gd name="connsiteY19" fmla="*/ 368087 h 6858000"/>
              <a:gd name="connsiteX20" fmla="*/ 4145288 w 8832236"/>
              <a:gd name="connsiteY20" fmla="*/ 595341 h 6858000"/>
              <a:gd name="connsiteX21" fmla="*/ 3707073 w 8832236"/>
              <a:gd name="connsiteY21" fmla="*/ 707368 h 6858000"/>
              <a:gd name="connsiteX22" fmla="*/ 2520374 w 8832236"/>
              <a:gd name="connsiteY22" fmla="*/ 822595 h 6858000"/>
              <a:gd name="connsiteX23" fmla="*/ 1848657 w 8832236"/>
              <a:gd name="connsiteY23" fmla="*/ 1273902 h 6858000"/>
              <a:gd name="connsiteX24" fmla="*/ 1375257 w 8832236"/>
              <a:gd name="connsiteY24" fmla="*/ 2160511 h 6858000"/>
              <a:gd name="connsiteX25" fmla="*/ 1247311 w 8832236"/>
              <a:gd name="connsiteY25" fmla="*/ 2589413 h 6858000"/>
              <a:gd name="connsiteX26" fmla="*/ 1253709 w 8832236"/>
              <a:gd name="connsiteY26" fmla="*/ 3034318 h 6858000"/>
              <a:gd name="connsiteX27" fmla="*/ 1544786 w 8832236"/>
              <a:gd name="connsiteY27" fmla="*/ 4532273 h 6858000"/>
              <a:gd name="connsiteX28" fmla="*/ 1986199 w 8832236"/>
              <a:gd name="connsiteY28" fmla="*/ 5278049 h 6858000"/>
              <a:gd name="connsiteX29" fmla="*/ 3495962 w 8832236"/>
              <a:gd name="connsiteY29" fmla="*/ 6529546 h 6858000"/>
              <a:gd name="connsiteX30" fmla="*/ 4298823 w 8832236"/>
              <a:gd name="connsiteY30" fmla="*/ 6724792 h 6858000"/>
              <a:gd name="connsiteX31" fmla="*/ 6768180 w 8832236"/>
              <a:gd name="connsiteY31" fmla="*/ 6174262 h 6858000"/>
              <a:gd name="connsiteX32" fmla="*/ 8824911 w 8832236"/>
              <a:gd name="connsiteY32" fmla="*/ 6779205 h 6858000"/>
              <a:gd name="connsiteX33" fmla="*/ 8832236 w 8832236"/>
              <a:gd name="connsiteY33" fmla="*/ 6858000 h 6858000"/>
              <a:gd name="connsiteX34" fmla="*/ 3544539 w 8832236"/>
              <a:gd name="connsiteY34" fmla="*/ 6858000 h 6858000"/>
              <a:gd name="connsiteX35" fmla="*/ 3492763 w 8832236"/>
              <a:gd name="connsiteY35" fmla="*/ 6808012 h 6858000"/>
              <a:gd name="connsiteX36" fmla="*/ 1877445 w 8832236"/>
              <a:gd name="connsiteY36" fmla="*/ 5476496 h 6858000"/>
              <a:gd name="connsiteX37" fmla="*/ 1173742 w 8832236"/>
              <a:gd name="connsiteY37" fmla="*/ 5486099 h 6858000"/>
              <a:gd name="connsiteX38" fmla="*/ 703541 w 8832236"/>
              <a:gd name="connsiteY38" fmla="*/ 5895796 h 6858000"/>
              <a:gd name="connsiteX39" fmla="*/ 118188 w 8832236"/>
              <a:gd name="connsiteY39" fmla="*/ 6379110 h 6858000"/>
              <a:gd name="connsiteX40" fmla="*/ 3143 w 8832236"/>
              <a:gd name="connsiteY40" fmla="*/ 5345084 h 6858000"/>
              <a:gd name="connsiteX41" fmla="*/ 0 w 8832236"/>
              <a:gd name="connsiteY41" fmla="*/ 5310760 h 6858000"/>
              <a:gd name="connsiteX42" fmla="*/ 0 w 8832236"/>
              <a:gd name="connsiteY42" fmla="*/ 2620801 h 6858000"/>
              <a:gd name="connsiteX43" fmla="*/ 53610 w 8832236"/>
              <a:gd name="connsiteY43" fmla="*/ 2608649 h 6858000"/>
              <a:gd name="connsiteX44" fmla="*/ 194956 w 8832236"/>
              <a:gd name="connsiteY44" fmla="*/ 2576610 h 6858000"/>
              <a:gd name="connsiteX45" fmla="*/ 508423 w 8832236"/>
              <a:gd name="connsiteY45" fmla="*/ 2525398 h 6858000"/>
              <a:gd name="connsiteX46" fmla="*/ 1176941 w 8832236"/>
              <a:gd name="connsiteY46" fmla="*/ 2042084 h 6858000"/>
              <a:gd name="connsiteX47" fmla="*/ 1621553 w 8832236"/>
              <a:gd name="connsiteY47" fmla="*/ 1200284 h 6858000"/>
              <a:gd name="connsiteX48" fmla="*/ 1589567 w 8832236"/>
              <a:gd name="connsiteY48" fmla="*/ 406496 h 6858000"/>
              <a:gd name="connsiteX49" fmla="*/ 1333675 w 8832236"/>
              <a:gd name="connsiteY4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8832236" h="6858000">
                <a:moveTo>
                  <a:pt x="1333675" y="0"/>
                </a:moveTo>
                <a:lnTo>
                  <a:pt x="1543197" y="0"/>
                </a:lnTo>
                <a:lnTo>
                  <a:pt x="1739629" y="0"/>
                </a:lnTo>
                <a:lnTo>
                  <a:pt x="1923392" y="0"/>
                </a:lnTo>
                <a:lnTo>
                  <a:pt x="2094910" y="0"/>
                </a:lnTo>
                <a:lnTo>
                  <a:pt x="2402895" y="0"/>
                </a:lnTo>
                <a:lnTo>
                  <a:pt x="2666962" y="0"/>
                </a:lnTo>
                <a:lnTo>
                  <a:pt x="2890490" y="0"/>
                </a:lnTo>
                <a:lnTo>
                  <a:pt x="3076858" y="0"/>
                </a:lnTo>
                <a:lnTo>
                  <a:pt x="3229442" y="0"/>
                </a:lnTo>
                <a:lnTo>
                  <a:pt x="3351623" y="0"/>
                </a:lnTo>
                <a:lnTo>
                  <a:pt x="3446777" y="0"/>
                </a:lnTo>
                <a:lnTo>
                  <a:pt x="3518284" y="0"/>
                </a:lnTo>
                <a:lnTo>
                  <a:pt x="3569521" y="0"/>
                </a:lnTo>
                <a:lnTo>
                  <a:pt x="3603867" y="0"/>
                </a:lnTo>
                <a:lnTo>
                  <a:pt x="3624699" y="0"/>
                </a:lnTo>
                <a:lnTo>
                  <a:pt x="3635397" y="0"/>
                </a:lnTo>
                <a:lnTo>
                  <a:pt x="3639901" y="0"/>
                </a:lnTo>
                <a:cubicBezTo>
                  <a:pt x="3703874" y="368087"/>
                  <a:pt x="3703874" y="368087"/>
                  <a:pt x="3703874" y="368087"/>
                </a:cubicBezTo>
                <a:cubicBezTo>
                  <a:pt x="4081315" y="368087"/>
                  <a:pt x="4081315" y="368087"/>
                  <a:pt x="4081315" y="368087"/>
                </a:cubicBezTo>
                <a:cubicBezTo>
                  <a:pt x="4145288" y="595341"/>
                  <a:pt x="4145288" y="595341"/>
                  <a:pt x="4145288" y="595341"/>
                </a:cubicBezTo>
                <a:cubicBezTo>
                  <a:pt x="3707073" y="707368"/>
                  <a:pt x="3707073" y="707368"/>
                  <a:pt x="3707073" y="707368"/>
                </a:cubicBezTo>
                <a:cubicBezTo>
                  <a:pt x="2520374" y="822595"/>
                  <a:pt x="2520374" y="822595"/>
                  <a:pt x="2520374" y="822595"/>
                </a:cubicBezTo>
                <a:cubicBezTo>
                  <a:pt x="2270879" y="848201"/>
                  <a:pt x="1967008" y="1053049"/>
                  <a:pt x="1848657" y="1273902"/>
                </a:cubicBezTo>
                <a:cubicBezTo>
                  <a:pt x="1375257" y="2160511"/>
                  <a:pt x="1375257" y="2160511"/>
                  <a:pt x="1375257" y="2160511"/>
                </a:cubicBezTo>
                <a:cubicBezTo>
                  <a:pt x="1317682" y="2272538"/>
                  <a:pt x="1272901" y="2429375"/>
                  <a:pt x="1247311" y="2589413"/>
                </a:cubicBezTo>
                <a:cubicBezTo>
                  <a:pt x="1253709" y="3034318"/>
                  <a:pt x="1253709" y="3034318"/>
                  <a:pt x="1253709" y="3034318"/>
                </a:cubicBezTo>
                <a:cubicBezTo>
                  <a:pt x="1544786" y="4532273"/>
                  <a:pt x="1544786" y="4532273"/>
                  <a:pt x="1544786" y="4532273"/>
                </a:cubicBezTo>
                <a:cubicBezTo>
                  <a:pt x="1592766" y="4778731"/>
                  <a:pt x="1794280" y="5114811"/>
                  <a:pt x="1986199" y="5278049"/>
                </a:cubicBezTo>
                <a:cubicBezTo>
                  <a:pt x="3495962" y="6529546"/>
                  <a:pt x="3495962" y="6529546"/>
                  <a:pt x="3495962" y="6529546"/>
                </a:cubicBezTo>
                <a:cubicBezTo>
                  <a:pt x="3687881" y="6692784"/>
                  <a:pt x="4049328" y="6779205"/>
                  <a:pt x="4298823" y="6724792"/>
                </a:cubicBezTo>
                <a:cubicBezTo>
                  <a:pt x="6768180" y="6174262"/>
                  <a:pt x="6768180" y="6174262"/>
                  <a:pt x="6768180" y="6174262"/>
                </a:cubicBezTo>
                <a:cubicBezTo>
                  <a:pt x="8824911" y="6779205"/>
                  <a:pt x="8824911" y="6779205"/>
                  <a:pt x="8824911" y="6779205"/>
                </a:cubicBezTo>
                <a:lnTo>
                  <a:pt x="8832236" y="6858000"/>
                </a:lnTo>
                <a:lnTo>
                  <a:pt x="3544539" y="6858000"/>
                </a:lnTo>
                <a:lnTo>
                  <a:pt x="3492763" y="6808012"/>
                </a:lnTo>
                <a:cubicBezTo>
                  <a:pt x="1877445" y="5476496"/>
                  <a:pt x="1877445" y="5476496"/>
                  <a:pt x="1877445" y="5476496"/>
                </a:cubicBezTo>
                <a:cubicBezTo>
                  <a:pt x="1682328" y="5316459"/>
                  <a:pt x="1365661" y="5319659"/>
                  <a:pt x="1173742" y="5486099"/>
                </a:cubicBezTo>
                <a:cubicBezTo>
                  <a:pt x="703541" y="5895796"/>
                  <a:pt x="703541" y="5895796"/>
                  <a:pt x="703541" y="5895796"/>
                </a:cubicBezTo>
                <a:cubicBezTo>
                  <a:pt x="118188" y="6379110"/>
                  <a:pt x="118188" y="6379110"/>
                  <a:pt x="118188" y="6379110"/>
                </a:cubicBezTo>
                <a:cubicBezTo>
                  <a:pt x="110191" y="6303092"/>
                  <a:pt x="43469" y="5766965"/>
                  <a:pt x="3143" y="5345084"/>
                </a:cubicBezTo>
                <a:lnTo>
                  <a:pt x="0" y="5310760"/>
                </a:lnTo>
                <a:lnTo>
                  <a:pt x="0" y="2620801"/>
                </a:lnTo>
                <a:lnTo>
                  <a:pt x="53610" y="2608649"/>
                </a:lnTo>
                <a:cubicBezTo>
                  <a:pt x="194956" y="2576610"/>
                  <a:pt x="194956" y="2576610"/>
                  <a:pt x="194956" y="2576610"/>
                </a:cubicBezTo>
                <a:cubicBezTo>
                  <a:pt x="508423" y="2525398"/>
                  <a:pt x="508423" y="2525398"/>
                  <a:pt x="508423" y="2525398"/>
                </a:cubicBezTo>
                <a:cubicBezTo>
                  <a:pt x="757918" y="2483788"/>
                  <a:pt x="1058591" y="2266137"/>
                  <a:pt x="1176941" y="2042084"/>
                </a:cubicBezTo>
                <a:cubicBezTo>
                  <a:pt x="1621553" y="1200284"/>
                  <a:pt x="1621553" y="1200284"/>
                  <a:pt x="1621553" y="1200284"/>
                </a:cubicBezTo>
                <a:cubicBezTo>
                  <a:pt x="1739903" y="976231"/>
                  <a:pt x="1727109" y="620947"/>
                  <a:pt x="1589567" y="406496"/>
                </a:cubicBezTo>
                <a:cubicBezTo>
                  <a:pt x="1333675" y="0"/>
                  <a:pt x="1333675" y="0"/>
                  <a:pt x="1333675" y="0"/>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7" name="Freeform 16"/>
          <p:cNvSpPr/>
          <p:nvPr userDrawn="1"/>
        </p:nvSpPr>
        <p:spPr bwMode="gray">
          <a:xfrm>
            <a:off x="0" y="0"/>
            <a:ext cx="12192000" cy="6858000"/>
          </a:xfrm>
          <a:custGeom>
            <a:avLst/>
            <a:gdLst>
              <a:gd name="connsiteX0" fmla="*/ 3639563 w 12192000"/>
              <a:gd name="connsiteY0" fmla="*/ 0 h 6858000"/>
              <a:gd name="connsiteX1" fmla="*/ 4053406 w 12192000"/>
              <a:gd name="connsiteY1" fmla="*/ 0 h 6858000"/>
              <a:gd name="connsiteX2" fmla="*/ 4441393 w 12192000"/>
              <a:gd name="connsiteY2" fmla="*/ 0 h 6858000"/>
              <a:gd name="connsiteX3" fmla="*/ 4804357 w 12192000"/>
              <a:gd name="connsiteY3" fmla="*/ 0 h 6858000"/>
              <a:gd name="connsiteX4" fmla="*/ 5143133 w 12192000"/>
              <a:gd name="connsiteY4" fmla="*/ 0 h 6858000"/>
              <a:gd name="connsiteX5" fmla="*/ 5458554 w 12192000"/>
              <a:gd name="connsiteY5" fmla="*/ 0 h 6858000"/>
              <a:gd name="connsiteX6" fmla="*/ 5751455 w 12192000"/>
              <a:gd name="connsiteY6" fmla="*/ 0 h 6858000"/>
              <a:gd name="connsiteX7" fmla="*/ 6022671 w 12192000"/>
              <a:gd name="connsiteY7" fmla="*/ 0 h 6858000"/>
              <a:gd name="connsiteX8" fmla="*/ 6273034 w 12192000"/>
              <a:gd name="connsiteY8" fmla="*/ 0 h 6858000"/>
              <a:gd name="connsiteX9" fmla="*/ 6503379 w 12192000"/>
              <a:gd name="connsiteY9" fmla="*/ 0 h 6858000"/>
              <a:gd name="connsiteX10" fmla="*/ 6714541 w 12192000"/>
              <a:gd name="connsiteY10" fmla="*/ 0 h 6858000"/>
              <a:gd name="connsiteX11" fmla="*/ 6907352 w 12192000"/>
              <a:gd name="connsiteY11" fmla="*/ 0 h 6858000"/>
              <a:gd name="connsiteX12" fmla="*/ 7082648 w 12192000"/>
              <a:gd name="connsiteY12" fmla="*/ 0 h 6858000"/>
              <a:gd name="connsiteX13" fmla="*/ 7241262 w 12192000"/>
              <a:gd name="connsiteY13" fmla="*/ 0 h 6858000"/>
              <a:gd name="connsiteX14" fmla="*/ 7384029 w 12192000"/>
              <a:gd name="connsiteY14" fmla="*/ 0 h 6858000"/>
              <a:gd name="connsiteX15" fmla="*/ 7511783 w 12192000"/>
              <a:gd name="connsiteY15" fmla="*/ 0 h 6858000"/>
              <a:gd name="connsiteX16" fmla="*/ 7625357 w 12192000"/>
              <a:gd name="connsiteY16" fmla="*/ 0 h 6858000"/>
              <a:gd name="connsiteX17" fmla="*/ 7725585 w 12192000"/>
              <a:gd name="connsiteY17" fmla="*/ 0 h 6858000"/>
              <a:gd name="connsiteX18" fmla="*/ 7813303 w 12192000"/>
              <a:gd name="connsiteY18" fmla="*/ 0 h 6858000"/>
              <a:gd name="connsiteX19" fmla="*/ 7954540 w 12192000"/>
              <a:gd name="connsiteY19" fmla="*/ 0 h 6858000"/>
              <a:gd name="connsiteX20" fmla="*/ 8055742 w 12192000"/>
              <a:gd name="connsiteY20" fmla="*/ 0 h 6858000"/>
              <a:gd name="connsiteX21" fmla="*/ 8123581 w 12192000"/>
              <a:gd name="connsiteY21" fmla="*/ 0 h 6858000"/>
              <a:gd name="connsiteX22" fmla="*/ 8164729 w 12192000"/>
              <a:gd name="connsiteY22" fmla="*/ 0 h 6858000"/>
              <a:gd name="connsiteX23" fmla="*/ 8185859 w 12192000"/>
              <a:gd name="connsiteY23" fmla="*/ 0 h 6858000"/>
              <a:gd name="connsiteX24" fmla="*/ 8193644 w 12192000"/>
              <a:gd name="connsiteY24" fmla="*/ 0 h 6858000"/>
              <a:gd name="connsiteX25" fmla="*/ 8194756 w 12192000"/>
              <a:gd name="connsiteY25" fmla="*/ 0 h 6858000"/>
              <a:gd name="connsiteX26" fmla="*/ 8412720 w 12192000"/>
              <a:gd name="connsiteY26" fmla="*/ 0 h 6858000"/>
              <a:gd name="connsiteX27" fmla="*/ 8617067 w 12192000"/>
              <a:gd name="connsiteY27" fmla="*/ 0 h 6858000"/>
              <a:gd name="connsiteX28" fmla="*/ 8808235 w 12192000"/>
              <a:gd name="connsiteY28" fmla="*/ 0 h 6858000"/>
              <a:gd name="connsiteX29" fmla="*/ 8986664 w 12192000"/>
              <a:gd name="connsiteY29" fmla="*/ 0 h 6858000"/>
              <a:gd name="connsiteX30" fmla="*/ 9307058 w 12192000"/>
              <a:gd name="connsiteY30" fmla="*/ 0 h 6858000"/>
              <a:gd name="connsiteX31" fmla="*/ 9581766 w 12192000"/>
              <a:gd name="connsiteY31" fmla="*/ 0 h 6858000"/>
              <a:gd name="connsiteX32" fmla="*/ 9814301 w 12192000"/>
              <a:gd name="connsiteY32" fmla="*/ 0 h 6858000"/>
              <a:gd name="connsiteX33" fmla="*/ 10008178 w 12192000"/>
              <a:gd name="connsiteY33" fmla="*/ 0 h 6858000"/>
              <a:gd name="connsiteX34" fmla="*/ 10166911 w 12192000"/>
              <a:gd name="connsiteY34" fmla="*/ 0 h 6858000"/>
              <a:gd name="connsiteX35" fmla="*/ 10294015 w 12192000"/>
              <a:gd name="connsiteY35" fmla="*/ 0 h 6858000"/>
              <a:gd name="connsiteX36" fmla="*/ 10393003 w 12192000"/>
              <a:gd name="connsiteY36" fmla="*/ 0 h 6858000"/>
              <a:gd name="connsiteX37" fmla="*/ 10467391 w 12192000"/>
              <a:gd name="connsiteY37" fmla="*/ 0 h 6858000"/>
              <a:gd name="connsiteX38" fmla="*/ 10520693 w 12192000"/>
              <a:gd name="connsiteY38" fmla="*/ 0 h 6858000"/>
              <a:gd name="connsiteX39" fmla="*/ 10556422 w 12192000"/>
              <a:gd name="connsiteY39" fmla="*/ 0 h 6858000"/>
              <a:gd name="connsiteX40" fmla="*/ 10578094 w 12192000"/>
              <a:gd name="connsiteY40" fmla="*/ 0 h 6858000"/>
              <a:gd name="connsiteX41" fmla="*/ 10589223 w 12192000"/>
              <a:gd name="connsiteY41" fmla="*/ 0 h 6858000"/>
              <a:gd name="connsiteX42" fmla="*/ 10593909 w 12192000"/>
              <a:gd name="connsiteY42" fmla="*/ 0 h 6858000"/>
              <a:gd name="connsiteX43" fmla="*/ 10964417 w 12192000"/>
              <a:gd name="connsiteY43" fmla="*/ 0 h 6858000"/>
              <a:gd name="connsiteX44" fmla="*/ 11288676 w 12192000"/>
              <a:gd name="connsiteY44" fmla="*/ 0 h 6858000"/>
              <a:gd name="connsiteX45" fmla="*/ 11569769 w 12192000"/>
              <a:gd name="connsiteY45" fmla="*/ 0 h 6858000"/>
              <a:gd name="connsiteX46" fmla="*/ 11810779 w 12192000"/>
              <a:gd name="connsiteY46" fmla="*/ 0 h 6858000"/>
              <a:gd name="connsiteX47" fmla="*/ 12014790 w 12192000"/>
              <a:gd name="connsiteY47" fmla="*/ 0 h 6858000"/>
              <a:gd name="connsiteX48" fmla="*/ 12184885 w 12192000"/>
              <a:gd name="connsiteY48" fmla="*/ 0 h 6858000"/>
              <a:gd name="connsiteX49" fmla="*/ 12192000 w 12192000"/>
              <a:gd name="connsiteY49" fmla="*/ 0 h 6858000"/>
              <a:gd name="connsiteX50" fmla="*/ 12192000 w 12192000"/>
              <a:gd name="connsiteY50" fmla="*/ 6858000 h 6858000"/>
              <a:gd name="connsiteX51" fmla="*/ 8661018 w 12192000"/>
              <a:gd name="connsiteY51" fmla="*/ 6858000 h 6858000"/>
              <a:gd name="connsiteX52" fmla="*/ 8618886 w 12192000"/>
              <a:gd name="connsiteY52" fmla="*/ 6845587 h 6858000"/>
              <a:gd name="connsiteX53" fmla="*/ 6524945 w 12192000"/>
              <a:gd name="connsiteY53" fmla="*/ 6228674 h 6858000"/>
              <a:gd name="connsiteX54" fmla="*/ 5610068 w 12192000"/>
              <a:gd name="connsiteY54" fmla="*/ 5959811 h 6858000"/>
              <a:gd name="connsiteX55" fmla="*/ 4810350 w 12192000"/>
              <a:gd name="connsiteY55" fmla="*/ 5102008 h 6858000"/>
              <a:gd name="connsiteX56" fmla="*/ 4151383 w 12192000"/>
              <a:gd name="connsiteY56" fmla="*/ 2067690 h 6858000"/>
              <a:gd name="connsiteX57" fmla="*/ 3418841 w 12192000"/>
              <a:gd name="connsiteY57" fmla="*/ 1747614 h 6858000"/>
              <a:gd name="connsiteX58" fmla="*/ 1253205 w 12192000"/>
              <a:gd name="connsiteY58" fmla="*/ 3034318 h 6858000"/>
              <a:gd name="connsiteX59" fmla="*/ 1003694 w 12192000"/>
              <a:gd name="connsiteY59" fmla="*/ 3181553 h 6858000"/>
              <a:gd name="connsiteX60" fmla="*/ 498272 w 12192000"/>
              <a:gd name="connsiteY60" fmla="*/ 4205796 h 6858000"/>
              <a:gd name="connsiteX61" fmla="*/ 703000 w 12192000"/>
              <a:gd name="connsiteY61" fmla="*/ 5895796 h 6858000"/>
              <a:gd name="connsiteX62" fmla="*/ 811779 w 12192000"/>
              <a:gd name="connsiteY62" fmla="*/ 6789988 h 6858000"/>
              <a:gd name="connsiteX63" fmla="*/ 820053 w 12192000"/>
              <a:gd name="connsiteY63" fmla="*/ 6858000 h 6858000"/>
              <a:gd name="connsiteX64" fmla="*/ 0 w 12192000"/>
              <a:gd name="connsiteY64" fmla="*/ 6858000 h 6858000"/>
              <a:gd name="connsiteX65" fmla="*/ 0 w 12192000"/>
              <a:gd name="connsiteY65" fmla="*/ 1386925 h 6858000"/>
              <a:gd name="connsiteX66" fmla="*/ 8776 w 12192000"/>
              <a:gd name="connsiteY66" fmla="*/ 1442892 h 6858000"/>
              <a:gd name="connsiteX67" fmla="*/ 171987 w 12192000"/>
              <a:gd name="connsiteY67" fmla="*/ 2483788 h 6858000"/>
              <a:gd name="connsiteX68" fmla="*/ 194379 w 12192000"/>
              <a:gd name="connsiteY68" fmla="*/ 2576610 h 6858000"/>
              <a:gd name="connsiteX69" fmla="*/ 866142 w 12192000"/>
              <a:gd name="connsiteY69" fmla="*/ 2813466 h 6858000"/>
              <a:gd name="connsiteX70" fmla="*/ 1246808 w 12192000"/>
              <a:gd name="connsiteY70" fmla="*/ 2589413 h 6858000"/>
              <a:gd name="connsiteX71" fmla="*/ 3242903 w 12192000"/>
              <a:gd name="connsiteY71" fmla="*/ 1414735 h 6858000"/>
              <a:gd name="connsiteX72" fmla="*/ 3706740 w 12192000"/>
              <a:gd name="connsiteY72" fmla="*/ 707368 h 6858000"/>
              <a:gd name="connsiteX73" fmla="*/ 3709938 w 12192000"/>
              <a:gd name="connsiteY73" fmla="*/ 400095 h 6858000"/>
              <a:gd name="connsiteX74" fmla="*/ 3639563 w 12192000"/>
              <a:gd name="connsiteY74"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2192000" h="6858000">
                <a:moveTo>
                  <a:pt x="3639563" y="0"/>
                </a:moveTo>
                <a:lnTo>
                  <a:pt x="4053406" y="0"/>
                </a:lnTo>
                <a:lnTo>
                  <a:pt x="4441393" y="0"/>
                </a:lnTo>
                <a:lnTo>
                  <a:pt x="4804357" y="0"/>
                </a:lnTo>
                <a:lnTo>
                  <a:pt x="5143133" y="0"/>
                </a:lnTo>
                <a:lnTo>
                  <a:pt x="5458554" y="0"/>
                </a:lnTo>
                <a:lnTo>
                  <a:pt x="5751455" y="0"/>
                </a:lnTo>
                <a:lnTo>
                  <a:pt x="6022671" y="0"/>
                </a:lnTo>
                <a:lnTo>
                  <a:pt x="6273034" y="0"/>
                </a:lnTo>
                <a:lnTo>
                  <a:pt x="6503379" y="0"/>
                </a:lnTo>
                <a:lnTo>
                  <a:pt x="6714541" y="0"/>
                </a:lnTo>
                <a:lnTo>
                  <a:pt x="6907352" y="0"/>
                </a:lnTo>
                <a:lnTo>
                  <a:pt x="7082648" y="0"/>
                </a:lnTo>
                <a:lnTo>
                  <a:pt x="7241262" y="0"/>
                </a:lnTo>
                <a:lnTo>
                  <a:pt x="7384029" y="0"/>
                </a:lnTo>
                <a:lnTo>
                  <a:pt x="7511783" y="0"/>
                </a:lnTo>
                <a:lnTo>
                  <a:pt x="7625357" y="0"/>
                </a:lnTo>
                <a:lnTo>
                  <a:pt x="7725585" y="0"/>
                </a:lnTo>
                <a:lnTo>
                  <a:pt x="7813303" y="0"/>
                </a:lnTo>
                <a:lnTo>
                  <a:pt x="7954540" y="0"/>
                </a:lnTo>
                <a:lnTo>
                  <a:pt x="8055742" y="0"/>
                </a:lnTo>
                <a:lnTo>
                  <a:pt x="8123581" y="0"/>
                </a:lnTo>
                <a:lnTo>
                  <a:pt x="8164729" y="0"/>
                </a:lnTo>
                <a:lnTo>
                  <a:pt x="8185859" y="0"/>
                </a:lnTo>
                <a:lnTo>
                  <a:pt x="8193644" y="0"/>
                </a:lnTo>
                <a:lnTo>
                  <a:pt x="8194756" y="0"/>
                </a:lnTo>
                <a:lnTo>
                  <a:pt x="8412720" y="0"/>
                </a:lnTo>
                <a:lnTo>
                  <a:pt x="8617067" y="0"/>
                </a:lnTo>
                <a:lnTo>
                  <a:pt x="8808235" y="0"/>
                </a:lnTo>
                <a:lnTo>
                  <a:pt x="8986664" y="0"/>
                </a:lnTo>
                <a:lnTo>
                  <a:pt x="9307058" y="0"/>
                </a:lnTo>
                <a:lnTo>
                  <a:pt x="9581766" y="0"/>
                </a:lnTo>
                <a:lnTo>
                  <a:pt x="9814301" y="0"/>
                </a:lnTo>
                <a:lnTo>
                  <a:pt x="10008178" y="0"/>
                </a:lnTo>
                <a:lnTo>
                  <a:pt x="10166911" y="0"/>
                </a:lnTo>
                <a:lnTo>
                  <a:pt x="10294015" y="0"/>
                </a:lnTo>
                <a:lnTo>
                  <a:pt x="10393003" y="0"/>
                </a:lnTo>
                <a:lnTo>
                  <a:pt x="10467391" y="0"/>
                </a:lnTo>
                <a:lnTo>
                  <a:pt x="10520693" y="0"/>
                </a:lnTo>
                <a:lnTo>
                  <a:pt x="10556422" y="0"/>
                </a:lnTo>
                <a:lnTo>
                  <a:pt x="10578094" y="0"/>
                </a:lnTo>
                <a:lnTo>
                  <a:pt x="10589223" y="0"/>
                </a:lnTo>
                <a:lnTo>
                  <a:pt x="10593909" y="0"/>
                </a:lnTo>
                <a:lnTo>
                  <a:pt x="10964417" y="0"/>
                </a:lnTo>
                <a:lnTo>
                  <a:pt x="11288676" y="0"/>
                </a:lnTo>
                <a:lnTo>
                  <a:pt x="11569769" y="0"/>
                </a:lnTo>
                <a:lnTo>
                  <a:pt x="11810779" y="0"/>
                </a:lnTo>
                <a:lnTo>
                  <a:pt x="12014790" y="0"/>
                </a:lnTo>
                <a:lnTo>
                  <a:pt x="12184885" y="0"/>
                </a:lnTo>
                <a:lnTo>
                  <a:pt x="12192000" y="0"/>
                </a:lnTo>
                <a:lnTo>
                  <a:pt x="12192000" y="6858000"/>
                </a:lnTo>
                <a:lnTo>
                  <a:pt x="8661018" y="6858000"/>
                </a:lnTo>
                <a:lnTo>
                  <a:pt x="8618886" y="6845587"/>
                </a:lnTo>
                <a:cubicBezTo>
                  <a:pt x="6524945" y="6228674"/>
                  <a:pt x="6524945" y="6228674"/>
                  <a:pt x="6524945" y="6228674"/>
                </a:cubicBezTo>
                <a:cubicBezTo>
                  <a:pt x="5610068" y="5959811"/>
                  <a:pt x="5610068" y="5959811"/>
                  <a:pt x="5610068" y="5959811"/>
                </a:cubicBezTo>
                <a:cubicBezTo>
                  <a:pt x="5251795" y="5850985"/>
                  <a:pt x="4890323" y="5466894"/>
                  <a:pt x="4810350" y="5102008"/>
                </a:cubicBezTo>
                <a:cubicBezTo>
                  <a:pt x="4151383" y="2067690"/>
                  <a:pt x="4151383" y="2067690"/>
                  <a:pt x="4151383" y="2067690"/>
                </a:cubicBezTo>
                <a:cubicBezTo>
                  <a:pt x="4071411" y="1699602"/>
                  <a:pt x="3741927" y="1558769"/>
                  <a:pt x="3418841" y="1747614"/>
                </a:cubicBezTo>
                <a:cubicBezTo>
                  <a:pt x="1253205" y="3034318"/>
                  <a:pt x="1253205" y="3034318"/>
                  <a:pt x="1253205" y="3034318"/>
                </a:cubicBezTo>
                <a:cubicBezTo>
                  <a:pt x="1003694" y="3181553"/>
                  <a:pt x="1003694" y="3181553"/>
                  <a:pt x="1003694" y="3181553"/>
                </a:cubicBezTo>
                <a:cubicBezTo>
                  <a:pt x="680608" y="3373599"/>
                  <a:pt x="453488" y="3831307"/>
                  <a:pt x="498272" y="4205796"/>
                </a:cubicBezTo>
                <a:cubicBezTo>
                  <a:pt x="703000" y="5895796"/>
                  <a:pt x="703000" y="5895796"/>
                  <a:pt x="703000" y="5895796"/>
                </a:cubicBezTo>
                <a:cubicBezTo>
                  <a:pt x="748484" y="6269684"/>
                  <a:pt x="784018" y="6561785"/>
                  <a:pt x="811779" y="6789988"/>
                </a:cubicBezTo>
                <a:lnTo>
                  <a:pt x="820053" y="6858000"/>
                </a:lnTo>
                <a:lnTo>
                  <a:pt x="0" y="6858000"/>
                </a:lnTo>
                <a:lnTo>
                  <a:pt x="0" y="1386925"/>
                </a:lnTo>
                <a:lnTo>
                  <a:pt x="8776" y="1442892"/>
                </a:lnTo>
                <a:cubicBezTo>
                  <a:pt x="171987" y="2483788"/>
                  <a:pt x="171987" y="2483788"/>
                  <a:pt x="171987" y="2483788"/>
                </a:cubicBezTo>
                <a:cubicBezTo>
                  <a:pt x="178385" y="2515796"/>
                  <a:pt x="184783" y="2547803"/>
                  <a:pt x="194379" y="2576610"/>
                </a:cubicBezTo>
                <a:cubicBezTo>
                  <a:pt x="287146" y="2877481"/>
                  <a:pt x="571846" y="2986307"/>
                  <a:pt x="866142" y="2813466"/>
                </a:cubicBezTo>
                <a:cubicBezTo>
                  <a:pt x="1246808" y="2589413"/>
                  <a:pt x="1246808" y="2589413"/>
                  <a:pt x="1246808" y="2589413"/>
                </a:cubicBezTo>
                <a:cubicBezTo>
                  <a:pt x="3242903" y="1414735"/>
                  <a:pt x="3242903" y="1414735"/>
                  <a:pt x="3242903" y="1414735"/>
                </a:cubicBezTo>
                <a:cubicBezTo>
                  <a:pt x="3479620" y="1277102"/>
                  <a:pt x="3655558" y="992235"/>
                  <a:pt x="3706740" y="707368"/>
                </a:cubicBezTo>
                <a:cubicBezTo>
                  <a:pt x="3725933" y="601743"/>
                  <a:pt x="3729132" y="499318"/>
                  <a:pt x="3709938" y="400095"/>
                </a:cubicBezTo>
                <a:cubicBezTo>
                  <a:pt x="3639563" y="0"/>
                  <a:pt x="3639563" y="0"/>
                  <a:pt x="3639563" y="0"/>
                </a:cubicBez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2" name="Text Placeholder 16"/>
          <p:cNvSpPr>
            <a:spLocks noGrp="1"/>
          </p:cNvSpPr>
          <p:nvPr>
            <p:ph type="body" sz="quarter" idx="13" hasCustomPrompt="1"/>
          </p:nvPr>
        </p:nvSpPr>
        <p:spPr bwMode="gray">
          <a:xfrm>
            <a:off x="6001475" y="1799194"/>
            <a:ext cx="1006525" cy="648325"/>
          </a:xfrm>
          <a:prstGeom prst="rect">
            <a:avLst/>
          </a:prstGeom>
        </p:spPr>
        <p:txBody>
          <a:bodyPr wrap="none"/>
          <a:lstStyle>
            <a:lvl1pPr marL="0" indent="0">
              <a:buFont typeface="Arial" panose="020B0604020202020204" pitchFamily="34" charset="0"/>
              <a:buNone/>
              <a:defRPr sz="3600" b="0">
                <a:ln>
                  <a:solidFill>
                    <a:srgbClr val="EB3C96"/>
                  </a:solidFill>
                </a:ln>
                <a:noFill/>
                <a:latin typeface="Merck" panose="04040805020F02020302" pitchFamily="82" charset="0"/>
              </a:defRPr>
            </a:lvl1pPr>
            <a:lvl2pPr marL="0" indent="0">
              <a:spcBef>
                <a:spcPts val="450"/>
              </a:spcBef>
              <a:buFont typeface="Arial" panose="020B0604020202020204" pitchFamily="34" charset="0"/>
              <a:buNone/>
              <a:defRPr sz="3600" b="0">
                <a:ln>
                  <a:solidFill>
                    <a:srgbClr val="EB3C96"/>
                  </a:solidFill>
                </a:ln>
                <a:noFill/>
                <a:latin typeface="Merck" panose="04040805020F02020302" pitchFamily="82" charset="0"/>
              </a:defRPr>
            </a:lvl2pPr>
            <a:lvl3pPr marL="0" indent="0">
              <a:spcBef>
                <a:spcPts val="450"/>
              </a:spcBef>
              <a:buNone/>
              <a:defRPr sz="3600" b="0">
                <a:ln>
                  <a:solidFill>
                    <a:srgbClr val="EB3C96"/>
                  </a:solidFill>
                </a:ln>
                <a:noFill/>
                <a:latin typeface="Merck" panose="04040805020F02020302" pitchFamily="82" charset="0"/>
              </a:defRPr>
            </a:lvl3pPr>
            <a:lvl4pPr marL="0" indent="0">
              <a:spcBef>
                <a:spcPts val="450"/>
              </a:spcBef>
              <a:buNone/>
              <a:defRPr sz="3600" b="0">
                <a:ln>
                  <a:solidFill>
                    <a:srgbClr val="EB3C96"/>
                  </a:solidFill>
                </a:ln>
                <a:noFill/>
                <a:latin typeface="Merck" panose="04040805020F02020302" pitchFamily="82" charset="0"/>
              </a:defRPr>
            </a:lvl4pPr>
            <a:lvl5pPr marL="0" indent="0">
              <a:spcBef>
                <a:spcPts val="450"/>
              </a:spcBef>
              <a:buNone/>
              <a:defRPr sz="3600" b="0">
                <a:ln>
                  <a:solidFill>
                    <a:srgbClr val="EB3C96"/>
                  </a:solidFill>
                </a:ln>
                <a:noFill/>
                <a:latin typeface="Merck" panose="04040805020F02020302" pitchFamily="82" charset="0"/>
              </a:defRPr>
            </a:lvl5pPr>
            <a:lvl6pPr marL="0" indent="0">
              <a:spcBef>
                <a:spcPts val="450"/>
              </a:spcBef>
              <a:buNone/>
              <a:defRPr sz="3600" b="0">
                <a:ln>
                  <a:solidFill>
                    <a:srgbClr val="EB3C96"/>
                  </a:solidFill>
                </a:ln>
                <a:noFill/>
                <a:latin typeface="Merck" panose="04040805020F02020302" pitchFamily="82" charset="0"/>
              </a:defRPr>
            </a:lvl6pPr>
            <a:lvl7pPr marL="0" indent="0">
              <a:spcBef>
                <a:spcPts val="450"/>
              </a:spcBef>
              <a:buNone/>
              <a:defRPr sz="3600" b="0">
                <a:ln>
                  <a:solidFill>
                    <a:srgbClr val="EB3C96"/>
                  </a:solidFill>
                </a:ln>
                <a:noFill/>
                <a:latin typeface="Merck" panose="04040805020F02020302" pitchFamily="82" charset="0"/>
              </a:defRPr>
            </a:lvl7pPr>
            <a:lvl8pPr marL="0" indent="0">
              <a:spcBef>
                <a:spcPts val="450"/>
              </a:spcBef>
              <a:buNone/>
              <a:defRPr sz="3600" b="0">
                <a:ln>
                  <a:solidFill>
                    <a:srgbClr val="EB3C96"/>
                  </a:solidFill>
                </a:ln>
                <a:noFill/>
                <a:latin typeface="Merck" panose="04040805020F02020302" pitchFamily="82" charset="0"/>
              </a:defRPr>
            </a:lvl8pPr>
            <a:lvl9pPr marL="0" indent="0">
              <a:spcBef>
                <a:spcPts val="450"/>
              </a:spcBef>
              <a:buNone/>
              <a:defRPr sz="3600" b="0">
                <a:ln>
                  <a:solidFill>
                    <a:srgbClr val="EB3C96"/>
                  </a:solidFill>
                </a:ln>
                <a:noFill/>
                <a:latin typeface="Merck" panose="04040805020F02020302" pitchFamily="82" charset="0"/>
              </a:defRPr>
            </a:lvl9pPr>
          </a:lstStyle>
          <a:p>
            <a:pPr lvl="0"/>
            <a:r>
              <a:rPr lang="en-US" noProof="0" dirty="0"/>
              <a:t>00</a:t>
            </a:r>
            <a:endParaRPr lang="en-US" dirty="0"/>
          </a:p>
          <a:p>
            <a:pPr lvl="0"/>
            <a:endParaRPr lang="en-US" dirty="0"/>
          </a:p>
          <a:p>
            <a:pPr lvl="0"/>
            <a:endParaRPr lang="en-US" noProof="0" dirty="0"/>
          </a:p>
        </p:txBody>
      </p:sp>
      <p:sp>
        <p:nvSpPr>
          <p:cNvPr id="13" name="Title 1"/>
          <p:cNvSpPr>
            <a:spLocks noGrp="1"/>
          </p:cNvSpPr>
          <p:nvPr>
            <p:ph type="title" hasCustomPrompt="1"/>
          </p:nvPr>
        </p:nvSpPr>
        <p:spPr bwMode="gray">
          <a:xfrm>
            <a:off x="7176119" y="1879993"/>
            <a:ext cx="4657508" cy="903700"/>
          </a:xfrm>
          <a:prstGeom prst="rect">
            <a:avLst/>
          </a:prstGeom>
          <a:noFill/>
        </p:spPr>
        <p:txBody>
          <a:bodyPr tIns="72000" bIns="0" anchor="t" anchorCtr="0"/>
          <a:lstStyle>
            <a:lvl1pPr>
              <a:lnSpc>
                <a:spcPct val="100000"/>
              </a:lnSpc>
              <a:defRPr sz="2700" cap="none" baseline="0">
                <a:latin typeface="Merck" panose="04040805020F02020302" pitchFamily="82" charset="0"/>
              </a:defRPr>
            </a:lvl1pPr>
          </a:lstStyle>
          <a:p>
            <a:pPr lvl="0"/>
            <a:r>
              <a:rPr lang="en-US" noProof="0" dirty="0"/>
              <a:t>Chapter name </a:t>
            </a:r>
            <a:br>
              <a:rPr lang="en-US" noProof="0" dirty="0"/>
            </a:br>
            <a:r>
              <a:rPr lang="en-US" noProof="0" dirty="0"/>
              <a:t>in two lines</a:t>
            </a:r>
          </a:p>
        </p:txBody>
      </p:sp>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Organic">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2097"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4" name="Rectangle 13"/>
          <p:cNvSpPr/>
          <p:nvPr userDrawn="1"/>
        </p:nvSpPr>
        <p:spPr bwMode="gray">
          <a:xfrm>
            <a:off x="1" y="2"/>
            <a:ext cx="12192000" cy="6858001"/>
          </a:xfrm>
          <a:prstGeom prst="rect">
            <a:avLst/>
          </a:prstGeom>
          <a:solidFill>
            <a:schemeClr val="bg2"/>
          </a:solidFill>
          <a:ln w="9525" cap="flat" cmpd="sng" algn="ctr">
            <a:noFill/>
            <a:prstDash val="solid"/>
          </a:ln>
          <a:effectLst/>
        </p:spPr>
        <p:txBody>
          <a:bodyPr rtlCol="0" anchor="ctr" anchorCtr="0"/>
          <a:lstStyle/>
          <a:p>
            <a:pPr marL="0" indent="0" algn="ctr">
              <a:spcBef>
                <a:spcPts val="225"/>
              </a:spcBef>
              <a:spcAft>
                <a:spcPts val="225"/>
              </a:spcAft>
              <a:buClr>
                <a:schemeClr val="bg1"/>
              </a:buClr>
              <a:buSzPct val="100000"/>
              <a:buFont typeface="Arial" panose="020B0604020202020204" pitchFamily="34" charset="0"/>
              <a:buNone/>
            </a:pPr>
            <a:endParaRPr lang="en-US" sz="1050" kern="0">
              <a:solidFill>
                <a:srgbClr val="FFFFFF"/>
              </a:solidFill>
              <a:latin typeface="Verdana"/>
            </a:endParaRPr>
          </a:p>
        </p:txBody>
      </p:sp>
      <p:sp>
        <p:nvSpPr>
          <p:cNvPr id="17" name="Freeform 16"/>
          <p:cNvSpPr/>
          <p:nvPr userDrawn="1"/>
        </p:nvSpPr>
        <p:spPr bwMode="gray">
          <a:xfrm>
            <a:off x="0" y="0"/>
            <a:ext cx="12192000" cy="6858000"/>
          </a:xfrm>
          <a:custGeom>
            <a:avLst/>
            <a:gdLst>
              <a:gd name="connsiteX0" fmla="*/ 1048909 w 12192000"/>
              <a:gd name="connsiteY0" fmla="*/ 0 h 6858000"/>
              <a:gd name="connsiteX1" fmla="*/ 1437815 w 12192000"/>
              <a:gd name="connsiteY1" fmla="*/ 0 h 6858000"/>
              <a:gd name="connsiteX2" fmla="*/ 1416616 w 12192000"/>
              <a:gd name="connsiteY2" fmla="*/ 63049 h 6858000"/>
              <a:gd name="connsiteX3" fmla="*/ 2816130 w 12192000"/>
              <a:gd name="connsiteY3" fmla="*/ 4208716 h 6858000"/>
              <a:gd name="connsiteX4" fmla="*/ 7652880 w 12192000"/>
              <a:gd name="connsiteY4" fmla="*/ 1881693 h 6858000"/>
              <a:gd name="connsiteX5" fmla="*/ 7686890 w 12192000"/>
              <a:gd name="connsiteY5" fmla="*/ 260273 h 6858000"/>
              <a:gd name="connsiteX6" fmla="*/ 7621110 w 12192000"/>
              <a:gd name="connsiteY6" fmla="*/ 0 h 6858000"/>
              <a:gd name="connsiteX7" fmla="*/ 8544177 w 12192000"/>
              <a:gd name="connsiteY7" fmla="*/ 0 h 6858000"/>
              <a:gd name="connsiteX8" fmla="*/ 8534881 w 12192000"/>
              <a:gd name="connsiteY8" fmla="*/ 27654 h 6858000"/>
              <a:gd name="connsiteX9" fmla="*/ 8868237 w 12192000"/>
              <a:gd name="connsiteY9" fmla="*/ 2461905 h 6858000"/>
              <a:gd name="connsiteX10" fmla="*/ 12032141 w 12192000"/>
              <a:gd name="connsiteY10" fmla="*/ 2639688 h 6858000"/>
              <a:gd name="connsiteX11" fmla="*/ 12192000 w 12192000"/>
              <a:gd name="connsiteY11" fmla="*/ 2566729 h 6858000"/>
              <a:gd name="connsiteX12" fmla="*/ 12192000 w 12192000"/>
              <a:gd name="connsiteY12" fmla="*/ 5274395 h 6858000"/>
              <a:gd name="connsiteX13" fmla="*/ 12109445 w 12192000"/>
              <a:gd name="connsiteY13" fmla="*/ 5202936 h 6858000"/>
              <a:gd name="connsiteX14" fmla="*/ 8843559 w 12192000"/>
              <a:gd name="connsiteY14" fmla="*/ 3187171 h 6858000"/>
              <a:gd name="connsiteX15" fmla="*/ 6548571 w 12192000"/>
              <a:gd name="connsiteY15" fmla="*/ 5362969 h 6858000"/>
              <a:gd name="connsiteX16" fmla="*/ 7312459 w 12192000"/>
              <a:gd name="connsiteY16" fmla="*/ 6747870 h 6858000"/>
              <a:gd name="connsiteX17" fmla="*/ 7402349 w 12192000"/>
              <a:gd name="connsiteY17" fmla="*/ 6858000 h 6858000"/>
              <a:gd name="connsiteX18" fmla="*/ 6793220 w 12192000"/>
              <a:gd name="connsiteY18" fmla="*/ 6858000 h 6858000"/>
              <a:gd name="connsiteX19" fmla="*/ 6780454 w 12192000"/>
              <a:gd name="connsiteY19" fmla="*/ 6849222 h 6858000"/>
              <a:gd name="connsiteX20" fmla="*/ 4262283 w 12192000"/>
              <a:gd name="connsiteY20" fmla="*/ 6852446 h 6858000"/>
              <a:gd name="connsiteX21" fmla="*/ 4251244 w 12192000"/>
              <a:gd name="connsiteY21" fmla="*/ 6858000 h 6858000"/>
              <a:gd name="connsiteX22" fmla="*/ 1584781 w 12192000"/>
              <a:gd name="connsiteY22" fmla="*/ 6858000 h 6858000"/>
              <a:gd name="connsiteX23" fmla="*/ 1548685 w 12192000"/>
              <a:gd name="connsiteY23" fmla="*/ 6742445 h 6858000"/>
              <a:gd name="connsiteX24" fmla="*/ 193301 w 12192000"/>
              <a:gd name="connsiteY24" fmla="*/ 4363992 h 6858000"/>
              <a:gd name="connsiteX25" fmla="*/ 0 w 12192000"/>
              <a:gd name="connsiteY25" fmla="*/ 4101454 h 6858000"/>
              <a:gd name="connsiteX26" fmla="*/ 0 w 12192000"/>
              <a:gd name="connsiteY26" fmla="*/ 1829578 h 6858000"/>
              <a:gd name="connsiteX27" fmla="*/ 44396 w 12192000"/>
              <a:gd name="connsiteY27" fmla="*/ 1812744 h 6858000"/>
              <a:gd name="connsiteX28" fmla="*/ 1036786 w 12192000"/>
              <a:gd name="connsiteY28" fmla="*/ 479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192000" h="6858000">
                <a:moveTo>
                  <a:pt x="1048909" y="0"/>
                </a:moveTo>
                <a:lnTo>
                  <a:pt x="1437815" y="0"/>
                </a:lnTo>
                <a:lnTo>
                  <a:pt x="1416616" y="63049"/>
                </a:lnTo>
                <a:cubicBezTo>
                  <a:pt x="992565" y="1544377"/>
                  <a:pt x="1463892" y="3409380"/>
                  <a:pt x="2816130" y="4208716"/>
                </a:cubicBezTo>
                <a:cubicBezTo>
                  <a:pt x="5009325" y="5504936"/>
                  <a:pt x="7251874" y="4378459"/>
                  <a:pt x="7652880" y="1881693"/>
                </a:cubicBezTo>
                <a:cubicBezTo>
                  <a:pt x="7782051" y="1285663"/>
                  <a:pt x="7787111" y="748706"/>
                  <a:pt x="7686890" y="260273"/>
                </a:cubicBezTo>
                <a:lnTo>
                  <a:pt x="7621110" y="0"/>
                </a:lnTo>
                <a:lnTo>
                  <a:pt x="8544177" y="0"/>
                </a:lnTo>
                <a:lnTo>
                  <a:pt x="8534881" y="27654"/>
                </a:lnTo>
                <a:cubicBezTo>
                  <a:pt x="8264692" y="917087"/>
                  <a:pt x="8339410" y="1890180"/>
                  <a:pt x="8868237" y="2461905"/>
                </a:cubicBezTo>
                <a:cubicBezTo>
                  <a:pt x="9562479" y="3216683"/>
                  <a:pt x="11087554" y="3034258"/>
                  <a:pt x="12032141" y="2639688"/>
                </a:cubicBezTo>
                <a:lnTo>
                  <a:pt x="12192000" y="2566729"/>
                </a:lnTo>
                <a:lnTo>
                  <a:pt x="12192000" y="5274395"/>
                </a:lnTo>
                <a:lnTo>
                  <a:pt x="12109445" y="5202936"/>
                </a:lnTo>
                <a:cubicBezTo>
                  <a:pt x="11001136" y="4281532"/>
                  <a:pt x="9774742" y="3519327"/>
                  <a:pt x="8843559" y="3187171"/>
                </a:cubicBezTo>
                <a:cubicBezTo>
                  <a:pt x="8013786" y="2893979"/>
                  <a:pt x="6434439" y="4418580"/>
                  <a:pt x="6548571" y="5362969"/>
                </a:cubicBezTo>
                <a:cubicBezTo>
                  <a:pt x="6624917" y="6006449"/>
                  <a:pt x="6909477" y="6262800"/>
                  <a:pt x="7312459" y="6747870"/>
                </a:cubicBezTo>
                <a:lnTo>
                  <a:pt x="7402349" y="6858000"/>
                </a:lnTo>
                <a:lnTo>
                  <a:pt x="6793220" y="6858000"/>
                </a:lnTo>
                <a:lnTo>
                  <a:pt x="6780454" y="6849222"/>
                </a:lnTo>
                <a:cubicBezTo>
                  <a:pt x="6043609" y="6404533"/>
                  <a:pt x="5082598" y="6474138"/>
                  <a:pt x="4262283" y="6852446"/>
                </a:cubicBezTo>
                <a:lnTo>
                  <a:pt x="4251244" y="6858000"/>
                </a:lnTo>
                <a:lnTo>
                  <a:pt x="1584781" y="6858000"/>
                </a:lnTo>
                <a:lnTo>
                  <a:pt x="1548685" y="6742445"/>
                </a:lnTo>
                <a:cubicBezTo>
                  <a:pt x="1258353" y="5895779"/>
                  <a:pt x="735767" y="5109994"/>
                  <a:pt x="193301" y="4363992"/>
                </a:cubicBezTo>
                <a:lnTo>
                  <a:pt x="0" y="4101454"/>
                </a:lnTo>
                <a:lnTo>
                  <a:pt x="0" y="1829578"/>
                </a:lnTo>
                <a:lnTo>
                  <a:pt x="44396" y="1812744"/>
                </a:lnTo>
                <a:cubicBezTo>
                  <a:pt x="583685" y="1572617"/>
                  <a:pt x="878396" y="656734"/>
                  <a:pt x="1036786" y="47913"/>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8" name="Freeform 17"/>
          <p:cNvSpPr/>
          <p:nvPr userDrawn="1"/>
        </p:nvSpPr>
        <p:spPr bwMode="gray">
          <a:xfrm>
            <a:off x="0" y="0"/>
            <a:ext cx="12192000" cy="6858000"/>
          </a:xfrm>
          <a:custGeom>
            <a:avLst/>
            <a:gdLst>
              <a:gd name="connsiteX0" fmla="*/ 5001047 w 12192000"/>
              <a:gd name="connsiteY0" fmla="*/ 0 h 6858000"/>
              <a:gd name="connsiteX1" fmla="*/ 12192000 w 12192000"/>
              <a:gd name="connsiteY1" fmla="*/ 0 h 6858000"/>
              <a:gd name="connsiteX2" fmla="*/ 12192000 w 12192000"/>
              <a:gd name="connsiteY2" fmla="*/ 6858000 h 6858000"/>
              <a:gd name="connsiteX3" fmla="*/ 7221720 w 12192000"/>
              <a:gd name="connsiteY3" fmla="*/ 6858000 h 6858000"/>
              <a:gd name="connsiteX4" fmla="*/ 7237775 w 12192000"/>
              <a:gd name="connsiteY4" fmla="*/ 6819435 h 6858000"/>
              <a:gd name="connsiteX5" fmla="*/ 3518715 w 12192000"/>
              <a:gd name="connsiteY5" fmla="*/ 3017531 h 6858000"/>
              <a:gd name="connsiteX6" fmla="*/ 315503 w 12192000"/>
              <a:gd name="connsiteY6" fmla="*/ 4221858 h 6858000"/>
              <a:gd name="connsiteX7" fmla="*/ 0 w 12192000"/>
              <a:gd name="connsiteY7" fmla="*/ 4410739 h 6858000"/>
              <a:gd name="connsiteX8" fmla="*/ 0 w 12192000"/>
              <a:gd name="connsiteY8" fmla="*/ 3559956 h 6858000"/>
              <a:gd name="connsiteX9" fmla="*/ 14834 w 12192000"/>
              <a:gd name="connsiteY9" fmla="*/ 3558786 h 6858000"/>
              <a:gd name="connsiteX10" fmla="*/ 2614859 w 12192000"/>
              <a:gd name="connsiteY10" fmla="*/ 2721259 h 6858000"/>
              <a:gd name="connsiteX11" fmla="*/ 4920506 w 12192000"/>
              <a:gd name="connsiteY11" fmla="*/ 16407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5001047" y="0"/>
                </a:moveTo>
                <a:lnTo>
                  <a:pt x="12192000" y="0"/>
                </a:lnTo>
                <a:lnTo>
                  <a:pt x="12192000" y="6858000"/>
                </a:lnTo>
                <a:lnTo>
                  <a:pt x="7221720" y="6858000"/>
                </a:lnTo>
                <a:lnTo>
                  <a:pt x="7237775" y="6819435"/>
                </a:lnTo>
                <a:cubicBezTo>
                  <a:pt x="8169822" y="4313901"/>
                  <a:pt x="5459267" y="2690590"/>
                  <a:pt x="3518715" y="3017531"/>
                </a:cubicBezTo>
                <a:cubicBezTo>
                  <a:pt x="2350334" y="3211959"/>
                  <a:pt x="1301685" y="3656366"/>
                  <a:pt x="315503" y="4221858"/>
                </a:cubicBezTo>
                <a:lnTo>
                  <a:pt x="0" y="4410739"/>
                </a:lnTo>
                <a:lnTo>
                  <a:pt x="0" y="3559956"/>
                </a:lnTo>
                <a:lnTo>
                  <a:pt x="14834" y="3558786"/>
                </a:lnTo>
                <a:cubicBezTo>
                  <a:pt x="1005734" y="3455332"/>
                  <a:pt x="2070964" y="3027175"/>
                  <a:pt x="2614859" y="2721259"/>
                </a:cubicBezTo>
                <a:cubicBezTo>
                  <a:pt x="3683753" y="2116371"/>
                  <a:pt x="4438525" y="1086171"/>
                  <a:pt x="4920506" y="16407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2" name="Text Placeholder 16"/>
          <p:cNvSpPr>
            <a:spLocks noGrp="1"/>
          </p:cNvSpPr>
          <p:nvPr>
            <p:ph type="body" sz="quarter" idx="13" hasCustomPrompt="1"/>
          </p:nvPr>
        </p:nvSpPr>
        <p:spPr bwMode="gray">
          <a:xfrm>
            <a:off x="6001475" y="1799194"/>
            <a:ext cx="1006525" cy="648325"/>
          </a:xfrm>
          <a:prstGeom prst="rect">
            <a:avLst/>
          </a:prstGeom>
        </p:spPr>
        <p:txBody>
          <a:bodyPr wrap="none"/>
          <a:lstStyle>
            <a:lvl1pPr marL="0" indent="0">
              <a:buFont typeface="Arial" panose="020B0604020202020204" pitchFamily="34" charset="0"/>
              <a:buNone/>
              <a:defRPr sz="3600" b="0">
                <a:ln>
                  <a:solidFill>
                    <a:schemeClr val="accent4"/>
                  </a:solidFill>
                </a:ln>
                <a:noFill/>
                <a:latin typeface="Merck" panose="04040805020F02020302" pitchFamily="82" charset="0"/>
              </a:defRPr>
            </a:lvl1pPr>
            <a:lvl2pPr marL="0" indent="0">
              <a:spcBef>
                <a:spcPts val="450"/>
              </a:spcBef>
              <a:buFont typeface="Arial" panose="020B0604020202020204" pitchFamily="34" charset="0"/>
              <a:buNone/>
              <a:defRPr sz="3600" b="0">
                <a:ln>
                  <a:solidFill>
                    <a:schemeClr val="accent4"/>
                  </a:solidFill>
                </a:ln>
                <a:noFill/>
                <a:latin typeface="Merck" panose="04040805020F02020302" pitchFamily="82" charset="0"/>
              </a:defRPr>
            </a:lvl2pPr>
            <a:lvl3pPr marL="0" indent="0">
              <a:spcBef>
                <a:spcPts val="450"/>
              </a:spcBef>
              <a:buNone/>
              <a:defRPr sz="3600" b="0">
                <a:ln>
                  <a:solidFill>
                    <a:schemeClr val="accent4"/>
                  </a:solidFill>
                </a:ln>
                <a:noFill/>
                <a:latin typeface="Merck" panose="04040805020F02020302" pitchFamily="82" charset="0"/>
              </a:defRPr>
            </a:lvl3pPr>
            <a:lvl4pPr marL="0" indent="0">
              <a:spcBef>
                <a:spcPts val="450"/>
              </a:spcBef>
              <a:buNone/>
              <a:defRPr sz="3600" b="0">
                <a:ln>
                  <a:solidFill>
                    <a:schemeClr val="accent4"/>
                  </a:solidFill>
                </a:ln>
                <a:noFill/>
                <a:latin typeface="Merck" panose="04040805020F02020302" pitchFamily="82" charset="0"/>
              </a:defRPr>
            </a:lvl4pPr>
            <a:lvl5pPr marL="0" indent="0">
              <a:spcBef>
                <a:spcPts val="450"/>
              </a:spcBef>
              <a:buNone/>
              <a:defRPr sz="3600" b="0">
                <a:ln>
                  <a:solidFill>
                    <a:schemeClr val="accent4"/>
                  </a:solidFill>
                </a:ln>
                <a:noFill/>
                <a:latin typeface="Merck" panose="04040805020F02020302" pitchFamily="82" charset="0"/>
              </a:defRPr>
            </a:lvl5pPr>
            <a:lvl6pPr marL="0" indent="0">
              <a:spcBef>
                <a:spcPts val="450"/>
              </a:spcBef>
              <a:buNone/>
              <a:defRPr sz="3600" b="0">
                <a:ln>
                  <a:solidFill>
                    <a:schemeClr val="accent4"/>
                  </a:solidFill>
                </a:ln>
                <a:noFill/>
                <a:latin typeface="Merck" panose="04040805020F02020302" pitchFamily="82" charset="0"/>
              </a:defRPr>
            </a:lvl6pPr>
            <a:lvl7pPr marL="0" indent="0">
              <a:spcBef>
                <a:spcPts val="450"/>
              </a:spcBef>
              <a:buNone/>
              <a:defRPr sz="3600" b="0">
                <a:ln>
                  <a:solidFill>
                    <a:schemeClr val="accent4"/>
                  </a:solidFill>
                </a:ln>
                <a:noFill/>
                <a:latin typeface="Merck" panose="04040805020F02020302" pitchFamily="82" charset="0"/>
              </a:defRPr>
            </a:lvl7pPr>
            <a:lvl8pPr marL="0" indent="0">
              <a:spcBef>
                <a:spcPts val="450"/>
              </a:spcBef>
              <a:buNone/>
              <a:defRPr sz="3600" b="0">
                <a:ln>
                  <a:solidFill>
                    <a:schemeClr val="accent4"/>
                  </a:solidFill>
                </a:ln>
                <a:noFill/>
                <a:latin typeface="Merck" panose="04040805020F02020302" pitchFamily="82" charset="0"/>
              </a:defRPr>
            </a:lvl8pPr>
            <a:lvl9pPr marL="0" indent="0">
              <a:spcBef>
                <a:spcPts val="450"/>
              </a:spcBef>
              <a:buNone/>
              <a:defRPr sz="3600" b="0">
                <a:ln>
                  <a:solidFill>
                    <a:schemeClr val="accent4"/>
                  </a:solidFill>
                </a:ln>
                <a:noFill/>
                <a:latin typeface="Merck" panose="04040805020F02020302" pitchFamily="82" charset="0"/>
              </a:defRPr>
            </a:lvl9pPr>
          </a:lstStyle>
          <a:p>
            <a:pPr lvl="0"/>
            <a:r>
              <a:rPr lang="en-US" noProof="0" dirty="0"/>
              <a:t>00</a:t>
            </a:r>
          </a:p>
        </p:txBody>
      </p:sp>
      <p:sp>
        <p:nvSpPr>
          <p:cNvPr id="13" name="Title 1"/>
          <p:cNvSpPr>
            <a:spLocks noGrp="1"/>
          </p:cNvSpPr>
          <p:nvPr>
            <p:ph type="title" hasCustomPrompt="1"/>
          </p:nvPr>
        </p:nvSpPr>
        <p:spPr bwMode="gray">
          <a:xfrm>
            <a:off x="7176119" y="1879993"/>
            <a:ext cx="4657508" cy="903700"/>
          </a:xfrm>
          <a:prstGeom prst="rect">
            <a:avLst/>
          </a:prstGeom>
          <a:noFill/>
        </p:spPr>
        <p:txBody>
          <a:bodyPr tIns="72000" bIns="0" anchor="t" anchorCtr="0"/>
          <a:lstStyle>
            <a:lvl1pPr>
              <a:lnSpc>
                <a:spcPct val="100000"/>
              </a:lnSpc>
              <a:defRPr sz="2700" cap="none" baseline="0">
                <a:solidFill>
                  <a:schemeClr val="bg2"/>
                </a:solidFill>
                <a:latin typeface="Merck" panose="04040805020F02020302" pitchFamily="82" charset="0"/>
              </a:defRPr>
            </a:lvl1pPr>
          </a:lstStyle>
          <a:p>
            <a:pPr lvl="0"/>
            <a:r>
              <a:rPr lang="en-US" noProof="0" dirty="0"/>
              <a:t>Chapter name </a:t>
            </a:r>
            <a:br>
              <a:rPr lang="en-US" noProof="0" dirty="0"/>
            </a:br>
            <a:r>
              <a:rPr lang="en-US" noProof="0" dirty="0"/>
              <a:t>in two lines</a:t>
            </a:r>
          </a:p>
        </p:txBody>
      </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act | 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3122"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1" name="Rectangle 10"/>
          <p:cNvSpPr/>
          <p:nvPr userDrawn="1"/>
        </p:nvSpPr>
        <p:spPr bwMode="gray">
          <a:xfrm>
            <a:off x="1" y="2"/>
            <a:ext cx="12192000" cy="6858001"/>
          </a:xfrm>
          <a:prstGeom prst="rect">
            <a:avLst/>
          </a:prstGeom>
          <a:solidFill>
            <a:srgbClr val="FFC832"/>
          </a:solidFill>
          <a:ln w="9525" cap="flat" cmpd="sng" algn="ctr">
            <a:noFill/>
            <a:prstDash val="solid"/>
          </a:ln>
          <a:effectLst/>
        </p:spPr>
        <p:txBody>
          <a:bodyPr rtlCol="0" anchor="ctr" anchorCtr="0"/>
          <a:lstStyle/>
          <a:p>
            <a:pPr marL="0" indent="0" algn="ctr">
              <a:spcBef>
                <a:spcPts val="225"/>
              </a:spcBef>
              <a:spcAft>
                <a:spcPts val="225"/>
              </a:spcAft>
              <a:buClr>
                <a:schemeClr val="bg1"/>
              </a:buClr>
              <a:buSzPct val="100000"/>
              <a:buFont typeface="Arial" panose="020B0604020202020204" pitchFamily="34" charset="0"/>
              <a:buNone/>
            </a:pPr>
            <a:endParaRPr lang="en-US" sz="1050" kern="0">
              <a:solidFill>
                <a:srgbClr val="FFFFFF"/>
              </a:solidFill>
              <a:latin typeface="Verdana"/>
            </a:endParaRPr>
          </a:p>
        </p:txBody>
      </p:sp>
      <p:sp>
        <p:nvSpPr>
          <p:cNvPr id="13" name="Text Placeholder AP3 Details"/>
          <p:cNvSpPr>
            <a:spLocks noGrp="1"/>
          </p:cNvSpPr>
          <p:nvPr>
            <p:ph type="body" sz="quarter" idx="25" hasCustomPrompt="1"/>
          </p:nvPr>
        </p:nvSpPr>
        <p:spPr bwMode="gray">
          <a:xfrm>
            <a:off x="3504002" y="4365001"/>
            <a:ext cx="2735999" cy="1727825"/>
          </a:xfrm>
          <a:prstGeom prst="rect">
            <a:avLst/>
          </a:prstGeom>
          <a:noFill/>
        </p:spPr>
        <p:txBody>
          <a:bodyPr vert="horz" lIns="0" tIns="0" rIns="0" bIns="0" rtlCol="0" anchor="t" anchorCtr="0">
            <a:noAutofit/>
          </a:bodyPr>
          <a:lstStyle>
            <a:lvl1pPr>
              <a:spcBef>
                <a:spcPts val="0"/>
              </a:spcBef>
              <a:defRPr lang="de-DE" sz="9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900" baseline="0">
                <a:solidFill>
                  <a:schemeClr val="accent1"/>
                </a:solidFill>
              </a:defRPr>
            </a:lvl2pPr>
            <a:lvl3pPr marL="0" indent="0">
              <a:spcBef>
                <a:spcPts val="0"/>
              </a:spcBef>
              <a:buFontTx/>
              <a:buNone/>
              <a:defRPr sz="900">
                <a:solidFill>
                  <a:schemeClr val="accent1"/>
                </a:solidFill>
              </a:defRPr>
            </a:lvl3pPr>
            <a:lvl4pPr marL="0" indent="0">
              <a:spcBef>
                <a:spcPts val="0"/>
              </a:spcBef>
              <a:buFontTx/>
              <a:buNone/>
              <a:defRPr sz="900" baseline="0">
                <a:solidFill>
                  <a:schemeClr val="accent1"/>
                </a:solidFill>
              </a:defRPr>
            </a:lvl4pPr>
            <a:lvl5pPr marL="0" indent="0">
              <a:spcBef>
                <a:spcPts val="0"/>
              </a:spcBef>
              <a:buFontTx/>
              <a:buNone/>
              <a:defRPr sz="900">
                <a:solidFill>
                  <a:schemeClr val="accent1"/>
                </a:solidFill>
              </a:defRPr>
            </a:lvl5pPr>
            <a:lvl6pPr marL="0" indent="0">
              <a:spcBef>
                <a:spcPts val="0"/>
              </a:spcBef>
              <a:buFontTx/>
              <a:buNone/>
              <a:defRPr sz="900">
                <a:solidFill>
                  <a:schemeClr val="accent1"/>
                </a:solidFill>
              </a:defRPr>
            </a:lvl6pPr>
            <a:lvl7pPr marL="0" indent="0">
              <a:spcBef>
                <a:spcPts val="0"/>
              </a:spcBef>
              <a:buFontTx/>
              <a:buNone/>
              <a:defRPr sz="900">
                <a:solidFill>
                  <a:schemeClr val="accent1"/>
                </a:solidFill>
              </a:defRPr>
            </a:lvl7pPr>
            <a:lvl8pPr marL="0" indent="0">
              <a:spcBef>
                <a:spcPts val="0"/>
              </a:spcBef>
              <a:buNone/>
              <a:defRPr sz="900">
                <a:solidFill>
                  <a:schemeClr val="accent1"/>
                </a:solidFill>
              </a:defRPr>
            </a:lvl8pPr>
            <a:lvl9pPr marL="0" indent="0">
              <a:spcBef>
                <a:spcPts val="0"/>
              </a:spcBef>
              <a:buNone/>
              <a:defRPr sz="900">
                <a:solidFill>
                  <a:schemeClr val="accent1"/>
                </a:solidFill>
              </a:defRPr>
            </a:lvl9pPr>
          </a:lstStyle>
          <a:p>
            <a:pPr lvl="0"/>
            <a:r>
              <a:rPr lang="en-US" noProof="0" dirty="0"/>
              <a:t>Add your contact details here.</a:t>
            </a:r>
          </a:p>
        </p:txBody>
      </p:sp>
      <p:sp>
        <p:nvSpPr>
          <p:cNvPr id="20" name="Text Placeholder AP3 Name"/>
          <p:cNvSpPr>
            <a:spLocks noGrp="1"/>
          </p:cNvSpPr>
          <p:nvPr>
            <p:ph type="body" sz="quarter" idx="21" hasCustomPrompt="1"/>
          </p:nvPr>
        </p:nvSpPr>
        <p:spPr bwMode="gray">
          <a:xfrm>
            <a:off x="3504622" y="3931827"/>
            <a:ext cx="2735501" cy="432048"/>
          </a:xfrm>
          <a:prstGeom prst="rect">
            <a:avLst/>
          </a:prstGeom>
        </p:spPr>
        <p:txBody>
          <a:bodyPr vert="horz" lIns="0" tIns="36000" rIns="0" bIns="0" rtlCol="0" anchor="b" anchorCtr="0">
            <a:normAutofit/>
          </a:bodyPr>
          <a:lstStyle>
            <a:lvl1pPr marL="0" indent="0">
              <a:spcBef>
                <a:spcPts val="0"/>
              </a:spcBef>
              <a:spcAft>
                <a:spcPts val="0"/>
              </a:spcAft>
              <a:buFont typeface="Arial" panose="020B0604020202020204" pitchFamily="34" charset="0"/>
              <a:buNone/>
              <a:defRPr lang="en-US" sz="105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cap="none">
                <a:solidFill>
                  <a:schemeClr val="accent1"/>
                </a:solidFill>
                <a:latin typeface="Merck" panose="04040805020F02020302" pitchFamily="82" charset="0"/>
              </a:defRPr>
            </a:lvl2pPr>
            <a:lvl3pPr marL="0" indent="0">
              <a:spcBef>
                <a:spcPts val="0"/>
              </a:spcBef>
              <a:spcAft>
                <a:spcPts val="0"/>
              </a:spcAft>
              <a:buNone/>
              <a:defRPr cap="none">
                <a:solidFill>
                  <a:schemeClr val="accent1"/>
                </a:solidFill>
                <a:latin typeface="Merck" panose="04040805020F02020302" pitchFamily="82" charset="0"/>
              </a:defRPr>
            </a:lvl3pPr>
            <a:lvl4pPr marL="0" indent="0">
              <a:spcBef>
                <a:spcPts val="0"/>
              </a:spcBef>
              <a:spcAft>
                <a:spcPts val="0"/>
              </a:spcAft>
              <a:buNone/>
              <a:defRPr cap="none">
                <a:solidFill>
                  <a:schemeClr val="accent1"/>
                </a:solidFill>
                <a:latin typeface="Merck" panose="04040805020F02020302" pitchFamily="82" charset="0"/>
              </a:defRPr>
            </a:lvl4pPr>
            <a:lvl5pPr marL="0" indent="0">
              <a:spcBef>
                <a:spcPts val="0"/>
              </a:spcBef>
              <a:spcAft>
                <a:spcPts val="0"/>
              </a:spcAft>
              <a:buNone/>
              <a:defRPr cap="none">
                <a:solidFill>
                  <a:schemeClr val="accent1"/>
                </a:solidFill>
                <a:latin typeface="Merck" panose="04040805020F02020302" pitchFamily="82" charset="0"/>
              </a:defRPr>
            </a:lvl5pPr>
            <a:lvl6pPr marL="0" indent="0">
              <a:spcBef>
                <a:spcPts val="0"/>
              </a:spcBef>
              <a:spcAft>
                <a:spcPts val="0"/>
              </a:spcAft>
              <a:buNone/>
              <a:defRPr cap="none">
                <a:solidFill>
                  <a:schemeClr val="accent1"/>
                </a:solidFill>
                <a:latin typeface="Merck" panose="04040805020F02020302" pitchFamily="82" charset="0"/>
              </a:defRPr>
            </a:lvl6pPr>
            <a:lvl7pPr marL="0" indent="0">
              <a:spcBef>
                <a:spcPts val="0"/>
              </a:spcBef>
              <a:spcAft>
                <a:spcPts val="0"/>
              </a:spcAft>
              <a:buNone/>
              <a:defRPr cap="none">
                <a:solidFill>
                  <a:schemeClr val="accent1"/>
                </a:solidFill>
                <a:latin typeface="Merck" panose="04040805020F02020302" pitchFamily="82" charset="0"/>
              </a:defRPr>
            </a:lvl7pPr>
            <a:lvl8pPr marL="0" indent="0">
              <a:spcBef>
                <a:spcPts val="0"/>
              </a:spcBef>
              <a:spcAft>
                <a:spcPts val="0"/>
              </a:spcAft>
              <a:buNone/>
              <a:defRPr cap="none">
                <a:solidFill>
                  <a:schemeClr val="accent1"/>
                </a:solidFill>
                <a:latin typeface="Merck" panose="04040805020F02020302" pitchFamily="82" charset="0"/>
              </a:defRPr>
            </a:lvl8pPr>
            <a:lvl9pPr marL="0" indent="0">
              <a:spcBef>
                <a:spcPts val="0"/>
              </a:spcBef>
              <a:spcAft>
                <a:spcPts val="0"/>
              </a:spcAft>
              <a:buNone/>
              <a:defRPr cap="none">
                <a:solidFill>
                  <a:schemeClr val="accent1"/>
                </a:solidFill>
                <a:latin typeface="Merck" panose="04040805020F02020302" pitchFamily="82" charset="0"/>
              </a:defRPr>
            </a:lvl9pPr>
          </a:lstStyle>
          <a:p>
            <a:pPr lvl="0"/>
            <a:r>
              <a:rPr lang="en-US" noProof="0" dirty="0"/>
              <a:t>Contact (Please edit)</a:t>
            </a:r>
          </a:p>
        </p:txBody>
      </p:sp>
      <p:sp>
        <p:nvSpPr>
          <p:cNvPr id="12" name="Text Placeholder AP2 Details"/>
          <p:cNvSpPr>
            <a:spLocks noGrp="1"/>
          </p:cNvSpPr>
          <p:nvPr>
            <p:ph type="body" sz="quarter" idx="24" hasCustomPrompt="1"/>
          </p:nvPr>
        </p:nvSpPr>
        <p:spPr bwMode="gray">
          <a:xfrm>
            <a:off x="624002" y="4366126"/>
            <a:ext cx="2735501" cy="1727825"/>
          </a:xfrm>
          <a:prstGeom prst="rect">
            <a:avLst/>
          </a:prstGeom>
          <a:noFill/>
        </p:spPr>
        <p:txBody>
          <a:bodyPr vert="horz" lIns="0" tIns="0" rIns="0" bIns="0" rtlCol="0" anchor="t" anchorCtr="0">
            <a:noAutofit/>
          </a:bodyPr>
          <a:lstStyle>
            <a:lvl1pPr>
              <a:spcBef>
                <a:spcPts val="0"/>
              </a:spcBef>
              <a:defRPr lang="de-DE" sz="9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900" baseline="0">
                <a:solidFill>
                  <a:schemeClr val="accent1"/>
                </a:solidFill>
              </a:defRPr>
            </a:lvl2pPr>
            <a:lvl3pPr marL="0" indent="0">
              <a:spcBef>
                <a:spcPts val="0"/>
              </a:spcBef>
              <a:buFontTx/>
              <a:buNone/>
              <a:defRPr sz="900">
                <a:solidFill>
                  <a:schemeClr val="accent1"/>
                </a:solidFill>
              </a:defRPr>
            </a:lvl3pPr>
            <a:lvl4pPr marL="0" indent="0">
              <a:spcBef>
                <a:spcPts val="0"/>
              </a:spcBef>
              <a:buFontTx/>
              <a:buNone/>
              <a:defRPr sz="900" baseline="0">
                <a:solidFill>
                  <a:schemeClr val="accent1"/>
                </a:solidFill>
              </a:defRPr>
            </a:lvl4pPr>
            <a:lvl5pPr marL="0" indent="0">
              <a:spcBef>
                <a:spcPts val="0"/>
              </a:spcBef>
              <a:buFontTx/>
              <a:buNone/>
              <a:defRPr sz="900">
                <a:solidFill>
                  <a:schemeClr val="accent1"/>
                </a:solidFill>
              </a:defRPr>
            </a:lvl5pPr>
            <a:lvl6pPr marL="0" indent="0">
              <a:spcBef>
                <a:spcPts val="0"/>
              </a:spcBef>
              <a:buFontTx/>
              <a:buNone/>
              <a:defRPr sz="900">
                <a:solidFill>
                  <a:schemeClr val="accent1"/>
                </a:solidFill>
              </a:defRPr>
            </a:lvl6pPr>
            <a:lvl7pPr marL="0" indent="0">
              <a:spcBef>
                <a:spcPts val="0"/>
              </a:spcBef>
              <a:buFontTx/>
              <a:buNone/>
              <a:defRPr sz="900">
                <a:solidFill>
                  <a:schemeClr val="accent1"/>
                </a:solidFill>
              </a:defRPr>
            </a:lvl7pPr>
            <a:lvl8pPr marL="0" indent="0">
              <a:spcBef>
                <a:spcPts val="0"/>
              </a:spcBef>
              <a:buNone/>
              <a:defRPr sz="900">
                <a:solidFill>
                  <a:schemeClr val="accent1"/>
                </a:solidFill>
              </a:defRPr>
            </a:lvl8pPr>
            <a:lvl9pPr marL="0" indent="0">
              <a:spcBef>
                <a:spcPts val="0"/>
              </a:spcBef>
              <a:buNone/>
              <a:defRPr sz="900">
                <a:solidFill>
                  <a:schemeClr val="accent1"/>
                </a:solidFill>
              </a:defRPr>
            </a:lvl9pPr>
          </a:lstStyle>
          <a:p>
            <a:pPr lvl="0"/>
            <a:r>
              <a:rPr lang="en-US" noProof="0" dirty="0"/>
              <a:t>Add your contact details here.</a:t>
            </a:r>
          </a:p>
        </p:txBody>
      </p:sp>
      <p:sp>
        <p:nvSpPr>
          <p:cNvPr id="19" name="Text Placeholder AP2 Name"/>
          <p:cNvSpPr>
            <a:spLocks noGrp="1"/>
          </p:cNvSpPr>
          <p:nvPr>
            <p:ph type="body" sz="quarter" idx="20" hasCustomPrompt="1"/>
          </p:nvPr>
        </p:nvSpPr>
        <p:spPr bwMode="gray">
          <a:xfrm>
            <a:off x="624115" y="3932953"/>
            <a:ext cx="2735501" cy="432048"/>
          </a:xfrm>
          <a:prstGeom prst="rect">
            <a:avLst/>
          </a:prstGeom>
        </p:spPr>
        <p:txBody>
          <a:bodyPr vert="horz" lIns="0" tIns="36000" rIns="0" bIns="0" rtlCol="0" anchor="b" anchorCtr="0">
            <a:noAutofit/>
          </a:bodyPr>
          <a:lstStyle>
            <a:lvl1pPr marL="0" indent="0">
              <a:spcBef>
                <a:spcPts val="0"/>
              </a:spcBef>
              <a:spcAft>
                <a:spcPts val="0"/>
              </a:spcAft>
              <a:buFont typeface="Arial" panose="020B0604020202020204" pitchFamily="34" charset="0"/>
              <a:buNone/>
              <a:defRPr lang="en-US" sz="105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sz="1050" cap="none">
                <a:solidFill>
                  <a:schemeClr val="accent1"/>
                </a:solidFill>
                <a:latin typeface="Merck" panose="04040805020F02020302" pitchFamily="82" charset="0"/>
              </a:defRPr>
            </a:lvl2pPr>
            <a:lvl3pPr marL="0" indent="0">
              <a:spcBef>
                <a:spcPts val="0"/>
              </a:spcBef>
              <a:spcAft>
                <a:spcPts val="0"/>
              </a:spcAft>
              <a:buNone/>
              <a:defRPr sz="1050" cap="none">
                <a:solidFill>
                  <a:schemeClr val="accent1"/>
                </a:solidFill>
                <a:latin typeface="Merck" panose="04040805020F02020302" pitchFamily="82" charset="0"/>
              </a:defRPr>
            </a:lvl3pPr>
            <a:lvl4pPr marL="0" indent="0">
              <a:spcBef>
                <a:spcPts val="0"/>
              </a:spcBef>
              <a:spcAft>
                <a:spcPts val="0"/>
              </a:spcAft>
              <a:buNone/>
              <a:defRPr sz="1050" cap="none">
                <a:solidFill>
                  <a:schemeClr val="accent1"/>
                </a:solidFill>
                <a:latin typeface="Merck" panose="04040805020F02020302" pitchFamily="82" charset="0"/>
              </a:defRPr>
            </a:lvl4pPr>
            <a:lvl5pPr marL="0" indent="0">
              <a:spcBef>
                <a:spcPts val="0"/>
              </a:spcBef>
              <a:spcAft>
                <a:spcPts val="0"/>
              </a:spcAft>
              <a:buNone/>
              <a:defRPr sz="1050" cap="none">
                <a:solidFill>
                  <a:schemeClr val="accent1"/>
                </a:solidFill>
                <a:latin typeface="Merck" panose="04040805020F02020302" pitchFamily="82" charset="0"/>
              </a:defRPr>
            </a:lvl5pPr>
            <a:lvl6pPr marL="0" indent="0">
              <a:spcBef>
                <a:spcPts val="0"/>
              </a:spcBef>
              <a:spcAft>
                <a:spcPts val="0"/>
              </a:spcAft>
              <a:buNone/>
              <a:defRPr sz="1050" cap="none">
                <a:solidFill>
                  <a:schemeClr val="accent1"/>
                </a:solidFill>
                <a:latin typeface="Merck" panose="04040805020F02020302" pitchFamily="82" charset="0"/>
              </a:defRPr>
            </a:lvl6pPr>
            <a:lvl7pPr marL="0" indent="0">
              <a:spcBef>
                <a:spcPts val="0"/>
              </a:spcBef>
              <a:spcAft>
                <a:spcPts val="0"/>
              </a:spcAft>
              <a:buNone/>
              <a:defRPr sz="1050" cap="none">
                <a:solidFill>
                  <a:schemeClr val="accent1"/>
                </a:solidFill>
                <a:latin typeface="Merck" panose="04040805020F02020302" pitchFamily="82" charset="0"/>
              </a:defRPr>
            </a:lvl7pPr>
            <a:lvl8pPr marL="0" indent="0">
              <a:spcBef>
                <a:spcPts val="0"/>
              </a:spcBef>
              <a:spcAft>
                <a:spcPts val="0"/>
              </a:spcAft>
              <a:buNone/>
              <a:defRPr sz="1050" cap="none">
                <a:solidFill>
                  <a:schemeClr val="accent1"/>
                </a:solidFill>
                <a:latin typeface="Merck" panose="04040805020F02020302" pitchFamily="82" charset="0"/>
              </a:defRPr>
            </a:lvl8pPr>
            <a:lvl9pPr marL="0" indent="0">
              <a:spcBef>
                <a:spcPts val="0"/>
              </a:spcBef>
              <a:spcAft>
                <a:spcPts val="0"/>
              </a:spcAft>
              <a:buNone/>
              <a:defRPr sz="1050" cap="none">
                <a:solidFill>
                  <a:schemeClr val="accent1"/>
                </a:solidFill>
                <a:latin typeface="Merck" panose="04040805020F02020302" pitchFamily="82" charset="0"/>
              </a:defRPr>
            </a:lvl9pPr>
          </a:lstStyle>
          <a:p>
            <a:pPr lvl="0"/>
            <a:r>
              <a:rPr lang="en-US" noProof="0" dirty="0"/>
              <a:t>Contact (Please edit)</a:t>
            </a:r>
          </a:p>
        </p:txBody>
      </p:sp>
      <p:sp>
        <p:nvSpPr>
          <p:cNvPr id="18" name="Text Placeholder AP1 Details"/>
          <p:cNvSpPr>
            <a:spLocks noGrp="1"/>
          </p:cNvSpPr>
          <p:nvPr>
            <p:ph type="body" sz="quarter" idx="19" hasCustomPrompt="1"/>
          </p:nvPr>
        </p:nvSpPr>
        <p:spPr bwMode="gray">
          <a:xfrm>
            <a:off x="624092" y="1989001"/>
            <a:ext cx="2735411" cy="1727825"/>
          </a:xfrm>
          <a:prstGeom prst="rect">
            <a:avLst/>
          </a:prstGeom>
          <a:noFill/>
        </p:spPr>
        <p:txBody>
          <a:bodyPr vert="horz" lIns="0" tIns="0" rIns="0" bIns="0" rtlCol="0" anchor="t" anchorCtr="0">
            <a:noAutofit/>
          </a:bodyPr>
          <a:lstStyle>
            <a:lvl1pPr>
              <a:spcBef>
                <a:spcPts val="0"/>
              </a:spcBef>
              <a:defRPr lang="de-DE" sz="9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900" baseline="0">
                <a:solidFill>
                  <a:schemeClr val="accent1"/>
                </a:solidFill>
              </a:defRPr>
            </a:lvl2pPr>
            <a:lvl3pPr marL="0" indent="0">
              <a:spcBef>
                <a:spcPts val="0"/>
              </a:spcBef>
              <a:buFontTx/>
              <a:buNone/>
              <a:defRPr sz="900">
                <a:solidFill>
                  <a:schemeClr val="accent1"/>
                </a:solidFill>
              </a:defRPr>
            </a:lvl3pPr>
            <a:lvl4pPr marL="0" indent="0">
              <a:spcBef>
                <a:spcPts val="0"/>
              </a:spcBef>
              <a:buFontTx/>
              <a:buNone/>
              <a:defRPr sz="900" baseline="0">
                <a:solidFill>
                  <a:schemeClr val="accent1"/>
                </a:solidFill>
              </a:defRPr>
            </a:lvl4pPr>
            <a:lvl5pPr marL="0" indent="0">
              <a:spcBef>
                <a:spcPts val="0"/>
              </a:spcBef>
              <a:buFontTx/>
              <a:buNone/>
              <a:defRPr sz="900">
                <a:solidFill>
                  <a:schemeClr val="accent1"/>
                </a:solidFill>
              </a:defRPr>
            </a:lvl5pPr>
            <a:lvl6pPr marL="0" indent="0">
              <a:spcBef>
                <a:spcPts val="0"/>
              </a:spcBef>
              <a:buFontTx/>
              <a:buNone/>
              <a:defRPr sz="900">
                <a:solidFill>
                  <a:schemeClr val="accent1"/>
                </a:solidFill>
              </a:defRPr>
            </a:lvl6pPr>
            <a:lvl7pPr marL="0" indent="0">
              <a:spcBef>
                <a:spcPts val="0"/>
              </a:spcBef>
              <a:buFontTx/>
              <a:buNone/>
              <a:defRPr sz="900">
                <a:solidFill>
                  <a:schemeClr val="accent1"/>
                </a:solidFill>
              </a:defRPr>
            </a:lvl7pPr>
            <a:lvl8pPr marL="0" indent="0">
              <a:spcBef>
                <a:spcPts val="0"/>
              </a:spcBef>
              <a:buNone/>
              <a:defRPr sz="900">
                <a:solidFill>
                  <a:schemeClr val="accent1"/>
                </a:solidFill>
              </a:defRPr>
            </a:lvl8pPr>
            <a:lvl9pPr marL="0" indent="0">
              <a:spcBef>
                <a:spcPts val="0"/>
              </a:spcBef>
              <a:buNone/>
              <a:defRPr sz="900">
                <a:solidFill>
                  <a:schemeClr val="accent1"/>
                </a:solidFill>
              </a:defRPr>
            </a:lvl9pPr>
          </a:lstStyle>
          <a:p>
            <a:pPr lvl="0">
              <a:spcBef>
                <a:spcPts val="0"/>
              </a:spcBef>
              <a:buClr>
                <a:srgbClr val="52328F"/>
              </a:buClr>
            </a:pPr>
            <a:r>
              <a:rPr lang="en-US" noProof="0" dirty="0"/>
              <a:t>Add your contact details here.</a:t>
            </a:r>
          </a:p>
        </p:txBody>
      </p:sp>
      <p:sp>
        <p:nvSpPr>
          <p:cNvPr id="4" name="Text Placeholder AP1 Name"/>
          <p:cNvSpPr>
            <a:spLocks noGrp="1"/>
          </p:cNvSpPr>
          <p:nvPr>
            <p:ph type="body" sz="quarter" idx="10" hasCustomPrompt="1"/>
          </p:nvPr>
        </p:nvSpPr>
        <p:spPr bwMode="gray">
          <a:xfrm>
            <a:off x="624002" y="1556952"/>
            <a:ext cx="273550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050" b="0" i="0" kern="1200" cap="none" baseline="0" noProof="0" dirty="0" smtClean="0">
                <a:solidFill>
                  <a:schemeClr val="accent1"/>
                </a:solidFill>
                <a:latin typeface="Merck" panose="04040805020F02020302" pitchFamily="82" charset="0"/>
                <a:ea typeface="Verdana" panose="020B0604030504040204" pitchFamily="34" charset="0"/>
                <a:cs typeface="Verdana" panose="020B0604030504040204" pitchFamily="34" charset="0"/>
              </a:defRPr>
            </a:lvl1pPr>
            <a:lvl2pPr marL="0" indent="0">
              <a:spcBef>
                <a:spcPts val="0"/>
              </a:spcBef>
              <a:spcAft>
                <a:spcPts val="0"/>
              </a:spcAft>
              <a:buNone/>
              <a:defRPr sz="1050" cap="none">
                <a:solidFill>
                  <a:schemeClr val="accent1"/>
                </a:solidFill>
                <a:latin typeface="Merck" panose="04040805020F02020302" pitchFamily="82" charset="0"/>
              </a:defRPr>
            </a:lvl2pPr>
            <a:lvl3pPr marL="0" indent="0">
              <a:spcBef>
                <a:spcPts val="0"/>
              </a:spcBef>
              <a:spcAft>
                <a:spcPts val="0"/>
              </a:spcAft>
              <a:buNone/>
              <a:defRPr sz="1050" cap="none">
                <a:solidFill>
                  <a:schemeClr val="accent1"/>
                </a:solidFill>
                <a:latin typeface="Merck" panose="04040805020F02020302" pitchFamily="82" charset="0"/>
              </a:defRPr>
            </a:lvl3pPr>
            <a:lvl4pPr marL="0" indent="0">
              <a:spcBef>
                <a:spcPts val="0"/>
              </a:spcBef>
              <a:spcAft>
                <a:spcPts val="0"/>
              </a:spcAft>
              <a:buNone/>
              <a:defRPr sz="1050" cap="none">
                <a:solidFill>
                  <a:schemeClr val="accent1"/>
                </a:solidFill>
                <a:latin typeface="Merck" panose="04040805020F02020302" pitchFamily="82" charset="0"/>
              </a:defRPr>
            </a:lvl4pPr>
            <a:lvl5pPr marL="0" indent="0">
              <a:spcBef>
                <a:spcPts val="0"/>
              </a:spcBef>
              <a:spcAft>
                <a:spcPts val="0"/>
              </a:spcAft>
              <a:buNone/>
              <a:defRPr sz="1050" cap="none">
                <a:solidFill>
                  <a:schemeClr val="accent1"/>
                </a:solidFill>
                <a:latin typeface="Merck" panose="04040805020F02020302" pitchFamily="82" charset="0"/>
              </a:defRPr>
            </a:lvl5pPr>
            <a:lvl6pPr marL="0" indent="0">
              <a:spcBef>
                <a:spcPts val="0"/>
              </a:spcBef>
              <a:spcAft>
                <a:spcPts val="0"/>
              </a:spcAft>
              <a:buNone/>
              <a:defRPr sz="1050" cap="none">
                <a:solidFill>
                  <a:schemeClr val="accent1"/>
                </a:solidFill>
                <a:latin typeface="Merck" panose="04040805020F02020302" pitchFamily="82" charset="0"/>
              </a:defRPr>
            </a:lvl6pPr>
            <a:lvl7pPr marL="0" indent="0">
              <a:spcBef>
                <a:spcPts val="0"/>
              </a:spcBef>
              <a:spcAft>
                <a:spcPts val="0"/>
              </a:spcAft>
              <a:buNone/>
              <a:defRPr sz="1050" cap="none">
                <a:solidFill>
                  <a:schemeClr val="accent1"/>
                </a:solidFill>
                <a:latin typeface="Merck" panose="04040805020F02020302" pitchFamily="82" charset="0"/>
              </a:defRPr>
            </a:lvl7pPr>
            <a:lvl8pPr marL="0" indent="0">
              <a:spcBef>
                <a:spcPts val="0"/>
              </a:spcBef>
              <a:spcAft>
                <a:spcPts val="0"/>
              </a:spcAft>
              <a:buNone/>
              <a:defRPr sz="1050" cap="none">
                <a:solidFill>
                  <a:schemeClr val="accent1"/>
                </a:solidFill>
                <a:latin typeface="Merck" panose="04040805020F02020302" pitchFamily="82" charset="0"/>
              </a:defRPr>
            </a:lvl8pPr>
            <a:lvl9pPr marL="0" indent="0">
              <a:spcBef>
                <a:spcPts val="0"/>
              </a:spcBef>
              <a:spcAft>
                <a:spcPts val="0"/>
              </a:spcAft>
              <a:buNone/>
              <a:defRPr sz="1050" cap="none">
                <a:solidFill>
                  <a:schemeClr val="accent1"/>
                </a:solidFill>
                <a:latin typeface="Merck" panose="04040805020F02020302" pitchFamily="82" charset="0"/>
              </a:defRPr>
            </a:lvl9pPr>
          </a:lstStyle>
          <a:p>
            <a:pPr lvl="0"/>
            <a:r>
              <a:rPr lang="en-US" noProof="0" dirty="0"/>
              <a:t>Contact (Please edit)</a:t>
            </a:r>
          </a:p>
        </p:txBody>
      </p:sp>
      <p:grpSp>
        <p:nvGrpSpPr>
          <p:cNvPr id="2" name="Logo Merck"/>
          <p:cNvGrpSpPr/>
          <p:nvPr userDrawn="1"/>
        </p:nvGrpSpPr>
        <p:grpSpPr bwMode="gray">
          <a:xfrm>
            <a:off x="7453808" y="4123208"/>
            <a:ext cx="4114800" cy="1970088"/>
            <a:chOff x="7453313" y="4122737"/>
            <a:chExt cx="4114800" cy="1970088"/>
          </a:xfrm>
        </p:grpSpPr>
        <p:sp>
          <p:nvSpPr>
            <p:cNvPr id="15" name="Freeform 6"/>
            <p:cNvSpPr>
              <a:spLocks noEditPoints="1"/>
            </p:cNvSpPr>
            <p:nvPr userDrawn="1"/>
          </p:nvSpPr>
          <p:spPr bwMode="gray">
            <a:xfrm>
              <a:off x="7453313" y="4122737"/>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6" name="Freeform 7"/>
            <p:cNvSpPr>
              <a:spLocks/>
            </p:cNvSpPr>
            <p:nvPr userDrawn="1"/>
          </p:nvSpPr>
          <p:spPr bwMode="gray">
            <a:xfrm>
              <a:off x="7453313" y="4122737"/>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sz="1350" dirty="0"/>
            </a:p>
          </p:txBody>
        </p:sp>
      </p:grpSp>
    </p:spTree>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act | P">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146"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4" name="Rectangle 13"/>
          <p:cNvSpPr/>
          <p:nvPr userDrawn="1"/>
        </p:nvSpPr>
        <p:spPr bwMode="gray">
          <a:xfrm>
            <a:off x="1" y="2"/>
            <a:ext cx="12192000" cy="6858001"/>
          </a:xfrm>
          <a:prstGeom prst="rect">
            <a:avLst/>
          </a:prstGeom>
          <a:solidFill>
            <a:srgbClr val="A5CD50"/>
          </a:solidFill>
          <a:ln w="9525" cap="flat" cmpd="sng" algn="ctr">
            <a:noFill/>
            <a:prstDash val="solid"/>
          </a:ln>
          <a:effectLst/>
        </p:spPr>
        <p:txBody>
          <a:bodyPr rtlCol="0" anchor="ctr" anchorCtr="0"/>
          <a:lstStyle/>
          <a:p>
            <a:pPr marL="0" indent="0" algn="ctr">
              <a:spcBef>
                <a:spcPts val="225"/>
              </a:spcBef>
              <a:spcAft>
                <a:spcPts val="225"/>
              </a:spcAft>
              <a:buClr>
                <a:schemeClr val="bg1"/>
              </a:buClr>
              <a:buSzPct val="100000"/>
              <a:buFont typeface="Arial" panose="020B0604020202020204" pitchFamily="34" charset="0"/>
              <a:buNone/>
            </a:pPr>
            <a:endParaRPr lang="en-US" sz="1050" kern="0">
              <a:solidFill>
                <a:srgbClr val="FFFFFF"/>
              </a:solidFill>
              <a:latin typeface="Verdana"/>
            </a:endParaRPr>
          </a:p>
        </p:txBody>
      </p:sp>
      <p:sp>
        <p:nvSpPr>
          <p:cNvPr id="12" name="Text Placeholder AP3 Details"/>
          <p:cNvSpPr>
            <a:spLocks noGrp="1"/>
          </p:cNvSpPr>
          <p:nvPr>
            <p:ph type="body" sz="quarter" idx="25" hasCustomPrompt="1"/>
          </p:nvPr>
        </p:nvSpPr>
        <p:spPr bwMode="gray">
          <a:xfrm>
            <a:off x="3504002" y="4365001"/>
            <a:ext cx="2735999" cy="1727825"/>
          </a:xfrm>
          <a:prstGeom prst="rect">
            <a:avLst/>
          </a:prstGeom>
          <a:noFill/>
        </p:spPr>
        <p:txBody>
          <a:bodyPr vert="horz" lIns="0" tIns="0" rIns="0" bIns="0" rtlCol="0" anchor="t" anchorCtr="0">
            <a:noAutofit/>
          </a:bodyPr>
          <a:lstStyle>
            <a:lvl1pPr>
              <a:spcBef>
                <a:spcPts val="0"/>
              </a:spcBef>
              <a:defRPr lang="de-DE" sz="9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900" baseline="0">
                <a:solidFill>
                  <a:schemeClr val="accent1"/>
                </a:solidFill>
              </a:defRPr>
            </a:lvl2pPr>
            <a:lvl3pPr marL="0" indent="0">
              <a:spcBef>
                <a:spcPts val="0"/>
              </a:spcBef>
              <a:buFontTx/>
              <a:buNone/>
              <a:defRPr sz="900">
                <a:solidFill>
                  <a:schemeClr val="accent1"/>
                </a:solidFill>
              </a:defRPr>
            </a:lvl3pPr>
            <a:lvl4pPr marL="0" indent="0">
              <a:spcBef>
                <a:spcPts val="0"/>
              </a:spcBef>
              <a:buFontTx/>
              <a:buNone/>
              <a:defRPr sz="900" baseline="0">
                <a:solidFill>
                  <a:schemeClr val="accent1"/>
                </a:solidFill>
              </a:defRPr>
            </a:lvl4pPr>
            <a:lvl5pPr marL="0" indent="0">
              <a:spcBef>
                <a:spcPts val="0"/>
              </a:spcBef>
              <a:buFontTx/>
              <a:buNone/>
              <a:defRPr sz="900">
                <a:solidFill>
                  <a:schemeClr val="accent1"/>
                </a:solidFill>
              </a:defRPr>
            </a:lvl5pPr>
            <a:lvl6pPr marL="0" indent="0">
              <a:spcBef>
                <a:spcPts val="0"/>
              </a:spcBef>
              <a:buFontTx/>
              <a:buNone/>
              <a:defRPr sz="900">
                <a:solidFill>
                  <a:schemeClr val="accent1"/>
                </a:solidFill>
              </a:defRPr>
            </a:lvl6pPr>
            <a:lvl7pPr marL="0" indent="0">
              <a:spcBef>
                <a:spcPts val="0"/>
              </a:spcBef>
              <a:buFontTx/>
              <a:buNone/>
              <a:defRPr sz="900">
                <a:solidFill>
                  <a:schemeClr val="accent1"/>
                </a:solidFill>
              </a:defRPr>
            </a:lvl7pPr>
            <a:lvl8pPr marL="0" indent="0">
              <a:spcBef>
                <a:spcPts val="0"/>
              </a:spcBef>
              <a:buNone/>
              <a:defRPr sz="900">
                <a:solidFill>
                  <a:schemeClr val="accent1"/>
                </a:solidFill>
              </a:defRPr>
            </a:lvl8pPr>
            <a:lvl9pPr marL="0" indent="0">
              <a:spcBef>
                <a:spcPts val="0"/>
              </a:spcBef>
              <a:buNone/>
              <a:defRPr sz="900">
                <a:solidFill>
                  <a:schemeClr val="accent1"/>
                </a:solidFill>
              </a:defRPr>
            </a:lvl9pPr>
          </a:lstStyle>
          <a:p>
            <a:pPr lvl="0"/>
            <a:r>
              <a:rPr lang="en-US" noProof="0" dirty="0"/>
              <a:t>Add your contact details here.</a:t>
            </a:r>
          </a:p>
        </p:txBody>
      </p:sp>
      <p:sp>
        <p:nvSpPr>
          <p:cNvPr id="18" name="Text Placeholder AP2 Details"/>
          <p:cNvSpPr>
            <a:spLocks noGrp="1"/>
          </p:cNvSpPr>
          <p:nvPr>
            <p:ph type="body" sz="quarter" idx="24" hasCustomPrompt="1"/>
          </p:nvPr>
        </p:nvSpPr>
        <p:spPr bwMode="gray">
          <a:xfrm>
            <a:off x="624002" y="4366126"/>
            <a:ext cx="2735501" cy="1727825"/>
          </a:xfrm>
          <a:prstGeom prst="rect">
            <a:avLst/>
          </a:prstGeom>
          <a:noFill/>
        </p:spPr>
        <p:txBody>
          <a:bodyPr vert="horz" lIns="0" tIns="0" rIns="0" bIns="0" rtlCol="0" anchor="t" anchorCtr="0">
            <a:noAutofit/>
          </a:bodyPr>
          <a:lstStyle>
            <a:lvl1pPr>
              <a:spcBef>
                <a:spcPts val="0"/>
              </a:spcBef>
              <a:defRPr lang="de-DE" sz="9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900" baseline="0">
                <a:solidFill>
                  <a:schemeClr val="accent1"/>
                </a:solidFill>
              </a:defRPr>
            </a:lvl2pPr>
            <a:lvl3pPr marL="0" indent="0">
              <a:spcBef>
                <a:spcPts val="0"/>
              </a:spcBef>
              <a:buFontTx/>
              <a:buNone/>
              <a:defRPr sz="900">
                <a:solidFill>
                  <a:schemeClr val="accent1"/>
                </a:solidFill>
              </a:defRPr>
            </a:lvl3pPr>
            <a:lvl4pPr marL="0" indent="0">
              <a:spcBef>
                <a:spcPts val="0"/>
              </a:spcBef>
              <a:buFontTx/>
              <a:buNone/>
              <a:defRPr sz="900" baseline="0">
                <a:solidFill>
                  <a:schemeClr val="accent1"/>
                </a:solidFill>
              </a:defRPr>
            </a:lvl4pPr>
            <a:lvl5pPr marL="0" indent="0">
              <a:spcBef>
                <a:spcPts val="0"/>
              </a:spcBef>
              <a:buFontTx/>
              <a:buNone/>
              <a:defRPr sz="900">
                <a:solidFill>
                  <a:schemeClr val="accent1"/>
                </a:solidFill>
              </a:defRPr>
            </a:lvl5pPr>
            <a:lvl6pPr marL="0" indent="0">
              <a:spcBef>
                <a:spcPts val="0"/>
              </a:spcBef>
              <a:buFontTx/>
              <a:buNone/>
              <a:defRPr sz="900">
                <a:solidFill>
                  <a:schemeClr val="accent1"/>
                </a:solidFill>
              </a:defRPr>
            </a:lvl6pPr>
            <a:lvl7pPr marL="0" indent="0">
              <a:spcBef>
                <a:spcPts val="0"/>
              </a:spcBef>
              <a:buFontTx/>
              <a:buNone/>
              <a:defRPr sz="900">
                <a:solidFill>
                  <a:schemeClr val="accent1"/>
                </a:solidFill>
              </a:defRPr>
            </a:lvl7pPr>
            <a:lvl8pPr marL="0" indent="0">
              <a:spcBef>
                <a:spcPts val="0"/>
              </a:spcBef>
              <a:buNone/>
              <a:defRPr sz="900">
                <a:solidFill>
                  <a:schemeClr val="accent1"/>
                </a:solidFill>
              </a:defRPr>
            </a:lvl8pPr>
            <a:lvl9pPr marL="0" indent="0">
              <a:spcBef>
                <a:spcPts val="0"/>
              </a:spcBef>
              <a:buNone/>
              <a:defRPr sz="900">
                <a:solidFill>
                  <a:schemeClr val="accent1"/>
                </a:solidFill>
              </a:defRPr>
            </a:lvl9pPr>
          </a:lstStyle>
          <a:p>
            <a:pPr lvl="0"/>
            <a:r>
              <a:rPr lang="en-US" noProof="0" dirty="0"/>
              <a:t>Add your contact details here.</a:t>
            </a:r>
          </a:p>
        </p:txBody>
      </p:sp>
      <p:sp>
        <p:nvSpPr>
          <p:cNvPr id="20" name="Text Placeholder AP1 Details"/>
          <p:cNvSpPr>
            <a:spLocks noGrp="1"/>
          </p:cNvSpPr>
          <p:nvPr>
            <p:ph type="body" sz="quarter" idx="19" hasCustomPrompt="1"/>
          </p:nvPr>
        </p:nvSpPr>
        <p:spPr bwMode="gray">
          <a:xfrm>
            <a:off x="624092" y="1989001"/>
            <a:ext cx="2735411" cy="1727825"/>
          </a:xfrm>
          <a:prstGeom prst="rect">
            <a:avLst/>
          </a:prstGeom>
          <a:noFill/>
        </p:spPr>
        <p:txBody>
          <a:bodyPr vert="horz" lIns="0" tIns="0" rIns="0" bIns="0" rtlCol="0" anchor="t" anchorCtr="0">
            <a:noAutofit/>
          </a:bodyPr>
          <a:lstStyle>
            <a:lvl1pPr>
              <a:spcBef>
                <a:spcPts val="0"/>
              </a:spcBef>
              <a:defRPr lang="de-DE" sz="9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900" baseline="0">
                <a:solidFill>
                  <a:schemeClr val="accent1"/>
                </a:solidFill>
              </a:defRPr>
            </a:lvl2pPr>
            <a:lvl3pPr marL="0" indent="0">
              <a:spcBef>
                <a:spcPts val="0"/>
              </a:spcBef>
              <a:buFontTx/>
              <a:buNone/>
              <a:defRPr sz="900">
                <a:solidFill>
                  <a:schemeClr val="accent1"/>
                </a:solidFill>
              </a:defRPr>
            </a:lvl3pPr>
            <a:lvl4pPr marL="0" indent="0">
              <a:spcBef>
                <a:spcPts val="0"/>
              </a:spcBef>
              <a:buFontTx/>
              <a:buNone/>
              <a:defRPr sz="900" baseline="0">
                <a:solidFill>
                  <a:schemeClr val="accent1"/>
                </a:solidFill>
              </a:defRPr>
            </a:lvl4pPr>
            <a:lvl5pPr marL="0" indent="0">
              <a:spcBef>
                <a:spcPts val="0"/>
              </a:spcBef>
              <a:buFontTx/>
              <a:buNone/>
              <a:defRPr sz="900">
                <a:solidFill>
                  <a:schemeClr val="accent1"/>
                </a:solidFill>
              </a:defRPr>
            </a:lvl5pPr>
            <a:lvl6pPr marL="0" indent="0">
              <a:spcBef>
                <a:spcPts val="0"/>
              </a:spcBef>
              <a:buFontTx/>
              <a:buNone/>
              <a:defRPr sz="900">
                <a:solidFill>
                  <a:schemeClr val="accent1"/>
                </a:solidFill>
              </a:defRPr>
            </a:lvl6pPr>
            <a:lvl7pPr marL="0" indent="0">
              <a:spcBef>
                <a:spcPts val="0"/>
              </a:spcBef>
              <a:buFontTx/>
              <a:buNone/>
              <a:defRPr sz="900">
                <a:solidFill>
                  <a:schemeClr val="accent1"/>
                </a:solidFill>
              </a:defRPr>
            </a:lvl7pPr>
            <a:lvl8pPr marL="0" indent="0">
              <a:spcBef>
                <a:spcPts val="0"/>
              </a:spcBef>
              <a:buNone/>
              <a:defRPr sz="900">
                <a:solidFill>
                  <a:schemeClr val="accent1"/>
                </a:solidFill>
              </a:defRPr>
            </a:lvl8pPr>
            <a:lvl9pPr marL="0" indent="0">
              <a:spcBef>
                <a:spcPts val="0"/>
              </a:spcBef>
              <a:buNone/>
              <a:defRPr sz="900">
                <a:solidFill>
                  <a:schemeClr val="accent1"/>
                </a:solidFill>
              </a:defRPr>
            </a:lvl9pPr>
          </a:lstStyle>
          <a:p>
            <a:pPr lvl="0"/>
            <a:r>
              <a:rPr lang="en-US" noProof="0" dirty="0"/>
              <a:t>Add your contact details here.</a:t>
            </a:r>
          </a:p>
        </p:txBody>
      </p:sp>
      <p:grpSp>
        <p:nvGrpSpPr>
          <p:cNvPr id="9" name="Logo Merck"/>
          <p:cNvGrpSpPr/>
          <p:nvPr userDrawn="1"/>
        </p:nvGrpSpPr>
        <p:grpSpPr bwMode="gray">
          <a:xfrm>
            <a:off x="7453808" y="4123208"/>
            <a:ext cx="4114800" cy="1970088"/>
            <a:chOff x="7453313" y="4122737"/>
            <a:chExt cx="4114800" cy="1970088"/>
          </a:xfrm>
        </p:grpSpPr>
        <p:sp>
          <p:nvSpPr>
            <p:cNvPr id="10" name="Freeform 6"/>
            <p:cNvSpPr>
              <a:spLocks noEditPoints="1"/>
            </p:cNvSpPr>
            <p:nvPr userDrawn="1"/>
          </p:nvSpPr>
          <p:spPr bwMode="gray">
            <a:xfrm>
              <a:off x="7453313" y="4122737"/>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7"/>
            <p:cNvSpPr>
              <a:spLocks/>
            </p:cNvSpPr>
            <p:nvPr userDrawn="1"/>
          </p:nvSpPr>
          <p:spPr bwMode="gray">
            <a:xfrm>
              <a:off x="7453313" y="4122737"/>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350" dirty="0"/>
            </a:p>
          </p:txBody>
        </p:sp>
      </p:grpSp>
      <p:sp>
        <p:nvSpPr>
          <p:cNvPr id="11" name="Text Placeholder AP3 Name"/>
          <p:cNvSpPr>
            <a:spLocks noGrp="1"/>
          </p:cNvSpPr>
          <p:nvPr>
            <p:ph type="body" sz="quarter" idx="21" hasCustomPrompt="1"/>
          </p:nvPr>
        </p:nvSpPr>
        <p:spPr bwMode="gray">
          <a:xfrm>
            <a:off x="3504622" y="3931827"/>
            <a:ext cx="2735501" cy="432048"/>
          </a:xfrm>
          <a:prstGeom prst="rect">
            <a:avLst/>
          </a:prstGeom>
        </p:spPr>
        <p:txBody>
          <a:bodyPr vert="horz" lIns="0" tIns="36000" rIns="0" bIns="0" rtlCol="0" anchor="b" anchorCtr="0">
            <a:normAutofit/>
          </a:bodyPr>
          <a:lstStyle>
            <a:lvl1pPr marL="0" indent="0">
              <a:spcBef>
                <a:spcPts val="0"/>
              </a:spcBef>
              <a:spcAft>
                <a:spcPts val="0"/>
              </a:spcAft>
              <a:buFont typeface="Arial" panose="020B0604020202020204" pitchFamily="34" charset="0"/>
              <a:buNone/>
              <a:defRPr lang="en-US" sz="105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cap="none">
                <a:solidFill>
                  <a:schemeClr val="accent1"/>
                </a:solidFill>
                <a:latin typeface="Merck" panose="04040805020F02020302" pitchFamily="82" charset="0"/>
              </a:defRPr>
            </a:lvl2pPr>
            <a:lvl3pPr marL="0" indent="0">
              <a:spcBef>
                <a:spcPts val="0"/>
              </a:spcBef>
              <a:spcAft>
                <a:spcPts val="0"/>
              </a:spcAft>
              <a:buNone/>
              <a:defRPr cap="none">
                <a:solidFill>
                  <a:schemeClr val="accent1"/>
                </a:solidFill>
                <a:latin typeface="Merck" panose="04040805020F02020302" pitchFamily="82" charset="0"/>
              </a:defRPr>
            </a:lvl3pPr>
            <a:lvl4pPr marL="0" indent="0">
              <a:spcBef>
                <a:spcPts val="0"/>
              </a:spcBef>
              <a:spcAft>
                <a:spcPts val="0"/>
              </a:spcAft>
              <a:buNone/>
              <a:defRPr cap="none">
                <a:solidFill>
                  <a:schemeClr val="accent1"/>
                </a:solidFill>
                <a:latin typeface="Merck" panose="04040805020F02020302" pitchFamily="82" charset="0"/>
              </a:defRPr>
            </a:lvl4pPr>
            <a:lvl5pPr marL="0" indent="0">
              <a:spcBef>
                <a:spcPts val="0"/>
              </a:spcBef>
              <a:spcAft>
                <a:spcPts val="0"/>
              </a:spcAft>
              <a:buNone/>
              <a:defRPr cap="none">
                <a:solidFill>
                  <a:schemeClr val="accent1"/>
                </a:solidFill>
                <a:latin typeface="Merck" panose="04040805020F02020302" pitchFamily="82" charset="0"/>
              </a:defRPr>
            </a:lvl5pPr>
            <a:lvl6pPr marL="0" indent="0">
              <a:spcBef>
                <a:spcPts val="0"/>
              </a:spcBef>
              <a:spcAft>
                <a:spcPts val="0"/>
              </a:spcAft>
              <a:buNone/>
              <a:defRPr cap="none">
                <a:solidFill>
                  <a:schemeClr val="accent1"/>
                </a:solidFill>
                <a:latin typeface="Merck" panose="04040805020F02020302" pitchFamily="82" charset="0"/>
              </a:defRPr>
            </a:lvl6pPr>
            <a:lvl7pPr marL="0" indent="0">
              <a:spcBef>
                <a:spcPts val="0"/>
              </a:spcBef>
              <a:spcAft>
                <a:spcPts val="0"/>
              </a:spcAft>
              <a:buNone/>
              <a:defRPr cap="none">
                <a:solidFill>
                  <a:schemeClr val="accent1"/>
                </a:solidFill>
                <a:latin typeface="Merck" panose="04040805020F02020302" pitchFamily="82" charset="0"/>
              </a:defRPr>
            </a:lvl7pPr>
            <a:lvl8pPr marL="0" indent="0">
              <a:spcBef>
                <a:spcPts val="0"/>
              </a:spcBef>
              <a:spcAft>
                <a:spcPts val="0"/>
              </a:spcAft>
              <a:buNone/>
              <a:defRPr cap="none">
                <a:solidFill>
                  <a:schemeClr val="accent1"/>
                </a:solidFill>
                <a:latin typeface="Merck" panose="04040805020F02020302" pitchFamily="82" charset="0"/>
              </a:defRPr>
            </a:lvl8pPr>
            <a:lvl9pPr marL="0" indent="0">
              <a:spcBef>
                <a:spcPts val="0"/>
              </a:spcBef>
              <a:spcAft>
                <a:spcPts val="0"/>
              </a:spcAft>
              <a:buNone/>
              <a:defRPr cap="none">
                <a:solidFill>
                  <a:schemeClr val="accent1"/>
                </a:solidFill>
                <a:latin typeface="Merck" panose="04040805020F02020302" pitchFamily="82" charset="0"/>
              </a:defRPr>
            </a:lvl9pPr>
          </a:lstStyle>
          <a:p>
            <a:pPr lvl="0"/>
            <a:r>
              <a:rPr lang="en-US" noProof="0" dirty="0"/>
              <a:t>Contact (Please edit)</a:t>
            </a:r>
          </a:p>
        </p:txBody>
      </p:sp>
      <p:sp>
        <p:nvSpPr>
          <p:cNvPr id="15" name="Text Placeholder AP2 Name"/>
          <p:cNvSpPr>
            <a:spLocks noGrp="1"/>
          </p:cNvSpPr>
          <p:nvPr>
            <p:ph type="body" sz="quarter" idx="20" hasCustomPrompt="1"/>
          </p:nvPr>
        </p:nvSpPr>
        <p:spPr bwMode="gray">
          <a:xfrm>
            <a:off x="624115" y="3932953"/>
            <a:ext cx="2735501" cy="432048"/>
          </a:xfrm>
          <a:prstGeom prst="rect">
            <a:avLst/>
          </a:prstGeom>
        </p:spPr>
        <p:txBody>
          <a:bodyPr vert="horz" lIns="0" tIns="36000" rIns="0" bIns="0" rtlCol="0" anchor="b" anchorCtr="0">
            <a:noAutofit/>
          </a:bodyPr>
          <a:lstStyle>
            <a:lvl1pPr marL="0" indent="0">
              <a:spcBef>
                <a:spcPts val="0"/>
              </a:spcBef>
              <a:spcAft>
                <a:spcPts val="0"/>
              </a:spcAft>
              <a:buFont typeface="Arial" panose="020B0604020202020204" pitchFamily="34" charset="0"/>
              <a:buNone/>
              <a:defRPr lang="en-US" sz="105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sz="1050" cap="none">
                <a:solidFill>
                  <a:schemeClr val="accent1"/>
                </a:solidFill>
                <a:latin typeface="Merck" panose="04040805020F02020302" pitchFamily="82" charset="0"/>
              </a:defRPr>
            </a:lvl2pPr>
            <a:lvl3pPr marL="0" indent="0">
              <a:spcBef>
                <a:spcPts val="0"/>
              </a:spcBef>
              <a:spcAft>
                <a:spcPts val="0"/>
              </a:spcAft>
              <a:buNone/>
              <a:defRPr sz="1050" cap="none">
                <a:solidFill>
                  <a:schemeClr val="accent1"/>
                </a:solidFill>
                <a:latin typeface="Merck" panose="04040805020F02020302" pitchFamily="82" charset="0"/>
              </a:defRPr>
            </a:lvl3pPr>
            <a:lvl4pPr marL="0" indent="0">
              <a:spcBef>
                <a:spcPts val="0"/>
              </a:spcBef>
              <a:spcAft>
                <a:spcPts val="0"/>
              </a:spcAft>
              <a:buNone/>
              <a:defRPr sz="1050" cap="none">
                <a:solidFill>
                  <a:schemeClr val="accent1"/>
                </a:solidFill>
                <a:latin typeface="Merck" panose="04040805020F02020302" pitchFamily="82" charset="0"/>
              </a:defRPr>
            </a:lvl4pPr>
            <a:lvl5pPr marL="0" indent="0">
              <a:spcBef>
                <a:spcPts val="0"/>
              </a:spcBef>
              <a:spcAft>
                <a:spcPts val="0"/>
              </a:spcAft>
              <a:buNone/>
              <a:defRPr sz="1050" cap="none">
                <a:solidFill>
                  <a:schemeClr val="accent1"/>
                </a:solidFill>
                <a:latin typeface="Merck" panose="04040805020F02020302" pitchFamily="82" charset="0"/>
              </a:defRPr>
            </a:lvl5pPr>
            <a:lvl6pPr marL="0" indent="0">
              <a:spcBef>
                <a:spcPts val="0"/>
              </a:spcBef>
              <a:spcAft>
                <a:spcPts val="0"/>
              </a:spcAft>
              <a:buNone/>
              <a:defRPr sz="1050" cap="none">
                <a:solidFill>
                  <a:schemeClr val="accent1"/>
                </a:solidFill>
                <a:latin typeface="Merck" panose="04040805020F02020302" pitchFamily="82" charset="0"/>
              </a:defRPr>
            </a:lvl6pPr>
            <a:lvl7pPr marL="0" indent="0">
              <a:spcBef>
                <a:spcPts val="0"/>
              </a:spcBef>
              <a:spcAft>
                <a:spcPts val="0"/>
              </a:spcAft>
              <a:buNone/>
              <a:defRPr sz="1050" cap="none">
                <a:solidFill>
                  <a:schemeClr val="accent1"/>
                </a:solidFill>
                <a:latin typeface="Merck" panose="04040805020F02020302" pitchFamily="82" charset="0"/>
              </a:defRPr>
            </a:lvl7pPr>
            <a:lvl8pPr marL="0" indent="0">
              <a:spcBef>
                <a:spcPts val="0"/>
              </a:spcBef>
              <a:spcAft>
                <a:spcPts val="0"/>
              </a:spcAft>
              <a:buNone/>
              <a:defRPr sz="1050" cap="none">
                <a:solidFill>
                  <a:schemeClr val="accent1"/>
                </a:solidFill>
                <a:latin typeface="Merck" panose="04040805020F02020302" pitchFamily="82" charset="0"/>
              </a:defRPr>
            </a:lvl8pPr>
            <a:lvl9pPr marL="0" indent="0">
              <a:spcBef>
                <a:spcPts val="0"/>
              </a:spcBef>
              <a:spcAft>
                <a:spcPts val="0"/>
              </a:spcAft>
              <a:buNone/>
              <a:defRPr sz="1050" cap="none">
                <a:solidFill>
                  <a:schemeClr val="accent1"/>
                </a:solidFill>
                <a:latin typeface="Merck" panose="04040805020F02020302" pitchFamily="82" charset="0"/>
              </a:defRPr>
            </a:lvl9pPr>
          </a:lstStyle>
          <a:p>
            <a:pPr lvl="0"/>
            <a:r>
              <a:rPr lang="en-US" noProof="0" dirty="0"/>
              <a:t>Contact (Please edit)</a:t>
            </a:r>
          </a:p>
        </p:txBody>
      </p:sp>
      <p:sp>
        <p:nvSpPr>
          <p:cNvPr id="16" name="Text Placeholder AP1 Name"/>
          <p:cNvSpPr>
            <a:spLocks noGrp="1"/>
          </p:cNvSpPr>
          <p:nvPr>
            <p:ph type="body" sz="quarter" idx="10" hasCustomPrompt="1"/>
          </p:nvPr>
        </p:nvSpPr>
        <p:spPr bwMode="gray">
          <a:xfrm>
            <a:off x="624002" y="1556952"/>
            <a:ext cx="273550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050" b="0" i="0" kern="1200" cap="none" baseline="0" noProof="0" dirty="0" smtClean="0">
                <a:solidFill>
                  <a:schemeClr val="accent1"/>
                </a:solidFill>
                <a:latin typeface="Merck" panose="04040805020F02020302" pitchFamily="82" charset="0"/>
                <a:ea typeface="Verdana" panose="020B0604030504040204" pitchFamily="34" charset="0"/>
                <a:cs typeface="Verdana" panose="020B0604030504040204" pitchFamily="34" charset="0"/>
              </a:defRPr>
            </a:lvl1pPr>
            <a:lvl2pPr marL="0" indent="0">
              <a:spcBef>
                <a:spcPts val="0"/>
              </a:spcBef>
              <a:spcAft>
                <a:spcPts val="0"/>
              </a:spcAft>
              <a:buNone/>
              <a:defRPr sz="1050" cap="none">
                <a:solidFill>
                  <a:schemeClr val="accent1"/>
                </a:solidFill>
                <a:latin typeface="Merck" panose="04040805020F02020302" pitchFamily="82" charset="0"/>
              </a:defRPr>
            </a:lvl2pPr>
            <a:lvl3pPr marL="0" indent="0">
              <a:spcBef>
                <a:spcPts val="0"/>
              </a:spcBef>
              <a:spcAft>
                <a:spcPts val="0"/>
              </a:spcAft>
              <a:buNone/>
              <a:defRPr sz="1050" cap="none">
                <a:solidFill>
                  <a:schemeClr val="accent1"/>
                </a:solidFill>
                <a:latin typeface="Merck" panose="04040805020F02020302" pitchFamily="82" charset="0"/>
              </a:defRPr>
            </a:lvl3pPr>
            <a:lvl4pPr marL="0" indent="0">
              <a:spcBef>
                <a:spcPts val="0"/>
              </a:spcBef>
              <a:spcAft>
                <a:spcPts val="0"/>
              </a:spcAft>
              <a:buNone/>
              <a:defRPr sz="1050" cap="none">
                <a:solidFill>
                  <a:schemeClr val="accent1"/>
                </a:solidFill>
                <a:latin typeface="Merck" panose="04040805020F02020302" pitchFamily="82" charset="0"/>
              </a:defRPr>
            </a:lvl4pPr>
            <a:lvl5pPr marL="0" indent="0">
              <a:spcBef>
                <a:spcPts val="0"/>
              </a:spcBef>
              <a:spcAft>
                <a:spcPts val="0"/>
              </a:spcAft>
              <a:buNone/>
              <a:defRPr sz="1050" cap="none">
                <a:solidFill>
                  <a:schemeClr val="accent1"/>
                </a:solidFill>
                <a:latin typeface="Merck" panose="04040805020F02020302" pitchFamily="82" charset="0"/>
              </a:defRPr>
            </a:lvl5pPr>
            <a:lvl6pPr marL="0" indent="0">
              <a:spcBef>
                <a:spcPts val="0"/>
              </a:spcBef>
              <a:spcAft>
                <a:spcPts val="0"/>
              </a:spcAft>
              <a:buNone/>
              <a:defRPr sz="1050" cap="none">
                <a:solidFill>
                  <a:schemeClr val="accent1"/>
                </a:solidFill>
                <a:latin typeface="Merck" panose="04040805020F02020302" pitchFamily="82" charset="0"/>
              </a:defRPr>
            </a:lvl6pPr>
            <a:lvl7pPr marL="0" indent="0">
              <a:spcBef>
                <a:spcPts val="0"/>
              </a:spcBef>
              <a:spcAft>
                <a:spcPts val="0"/>
              </a:spcAft>
              <a:buNone/>
              <a:defRPr sz="1050" cap="none">
                <a:solidFill>
                  <a:schemeClr val="accent1"/>
                </a:solidFill>
                <a:latin typeface="Merck" panose="04040805020F02020302" pitchFamily="82" charset="0"/>
              </a:defRPr>
            </a:lvl7pPr>
            <a:lvl8pPr marL="0" indent="0">
              <a:spcBef>
                <a:spcPts val="0"/>
              </a:spcBef>
              <a:spcAft>
                <a:spcPts val="0"/>
              </a:spcAft>
              <a:buNone/>
              <a:defRPr sz="1050" cap="none">
                <a:solidFill>
                  <a:schemeClr val="accent1"/>
                </a:solidFill>
                <a:latin typeface="Merck" panose="04040805020F02020302" pitchFamily="82" charset="0"/>
              </a:defRPr>
            </a:lvl8pPr>
            <a:lvl9pPr marL="0" indent="0">
              <a:spcBef>
                <a:spcPts val="0"/>
              </a:spcBef>
              <a:spcAft>
                <a:spcPts val="0"/>
              </a:spcAft>
              <a:buNone/>
              <a:defRPr sz="1050" cap="none">
                <a:solidFill>
                  <a:schemeClr val="accent1"/>
                </a:solidFill>
                <a:latin typeface="Merck" panose="04040805020F02020302" pitchFamily="82" charset="0"/>
              </a:defRPr>
            </a:lvl9pPr>
          </a:lstStyle>
          <a:p>
            <a:pPr lvl="0"/>
            <a:r>
              <a:rPr lang="en-US" noProof="0" dirty="0"/>
              <a:t>Contact (Please edit)</a:t>
            </a:r>
          </a:p>
        </p:txBody>
      </p:sp>
    </p:spTree>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act | 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517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4" name="Rectangle 13"/>
          <p:cNvSpPr/>
          <p:nvPr userDrawn="1"/>
        </p:nvSpPr>
        <p:spPr bwMode="gray">
          <a:xfrm>
            <a:off x="1" y="2"/>
            <a:ext cx="12192000" cy="6858001"/>
          </a:xfrm>
          <a:prstGeom prst="rect">
            <a:avLst/>
          </a:prstGeom>
          <a:solidFill>
            <a:schemeClr val="accent1"/>
          </a:solidFill>
          <a:ln w="9525" cap="flat" cmpd="sng" algn="ctr">
            <a:noFill/>
            <a:prstDash val="solid"/>
          </a:ln>
          <a:effectLst/>
        </p:spPr>
        <p:txBody>
          <a:bodyPr rtlCol="0" anchor="ctr" anchorCtr="0"/>
          <a:lstStyle/>
          <a:p>
            <a:pPr marL="0" indent="0" algn="ctr">
              <a:spcBef>
                <a:spcPts val="225"/>
              </a:spcBef>
              <a:spcAft>
                <a:spcPts val="225"/>
              </a:spcAft>
              <a:buClr>
                <a:schemeClr val="bg1"/>
              </a:buClr>
              <a:buSzPct val="100000"/>
              <a:buFont typeface="Arial" panose="020B0604020202020204" pitchFamily="34" charset="0"/>
              <a:buNone/>
            </a:pPr>
            <a:endParaRPr lang="en-US" sz="1050" kern="0">
              <a:solidFill>
                <a:srgbClr val="FFFFFF"/>
              </a:solidFill>
              <a:latin typeface="Verdana"/>
            </a:endParaRPr>
          </a:p>
        </p:txBody>
      </p:sp>
      <p:sp>
        <p:nvSpPr>
          <p:cNvPr id="12" name="Text Placeholder AP3 Details"/>
          <p:cNvSpPr>
            <a:spLocks noGrp="1"/>
          </p:cNvSpPr>
          <p:nvPr>
            <p:ph type="body" sz="quarter" idx="25" hasCustomPrompt="1"/>
          </p:nvPr>
        </p:nvSpPr>
        <p:spPr bwMode="gray">
          <a:xfrm>
            <a:off x="3504002" y="4365001"/>
            <a:ext cx="2735999" cy="1727825"/>
          </a:xfrm>
          <a:prstGeom prst="rect">
            <a:avLst/>
          </a:prstGeom>
          <a:noFill/>
        </p:spPr>
        <p:txBody>
          <a:bodyPr vert="horz" lIns="0" tIns="0" rIns="0" bIns="0" rtlCol="0" anchor="t" anchorCtr="0">
            <a:noAutofit/>
          </a:bodyPr>
          <a:lstStyle>
            <a:lvl1pPr>
              <a:spcBef>
                <a:spcPts val="0"/>
              </a:spcBef>
              <a:defRPr lang="de-DE" sz="900" b="0" kern="1200" baseline="0" dirty="0"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900" baseline="0">
                <a:solidFill>
                  <a:schemeClr val="bg2"/>
                </a:solidFill>
              </a:defRPr>
            </a:lvl2pPr>
            <a:lvl3pPr marL="0" indent="0">
              <a:spcBef>
                <a:spcPts val="0"/>
              </a:spcBef>
              <a:buFontTx/>
              <a:buNone/>
              <a:defRPr sz="900">
                <a:solidFill>
                  <a:schemeClr val="bg2"/>
                </a:solidFill>
              </a:defRPr>
            </a:lvl3pPr>
            <a:lvl4pPr marL="0" indent="0">
              <a:spcBef>
                <a:spcPts val="0"/>
              </a:spcBef>
              <a:buFontTx/>
              <a:buNone/>
              <a:defRPr sz="900" baseline="0">
                <a:solidFill>
                  <a:schemeClr val="bg2"/>
                </a:solidFill>
              </a:defRPr>
            </a:lvl4pPr>
            <a:lvl5pPr marL="0" indent="0">
              <a:spcBef>
                <a:spcPts val="0"/>
              </a:spcBef>
              <a:buFontTx/>
              <a:buNone/>
              <a:defRPr sz="900">
                <a:solidFill>
                  <a:schemeClr val="bg2"/>
                </a:solidFill>
              </a:defRPr>
            </a:lvl5pPr>
            <a:lvl6pPr marL="0" indent="0">
              <a:spcBef>
                <a:spcPts val="0"/>
              </a:spcBef>
              <a:buFontTx/>
              <a:buNone/>
              <a:defRPr sz="900">
                <a:solidFill>
                  <a:schemeClr val="bg2"/>
                </a:solidFill>
              </a:defRPr>
            </a:lvl6pPr>
            <a:lvl7pPr marL="0" indent="0">
              <a:spcBef>
                <a:spcPts val="0"/>
              </a:spcBef>
              <a:buFontTx/>
              <a:buNone/>
              <a:defRPr sz="900">
                <a:solidFill>
                  <a:schemeClr val="bg2"/>
                </a:solidFill>
              </a:defRPr>
            </a:lvl7pPr>
            <a:lvl8pPr marL="0" indent="0">
              <a:spcBef>
                <a:spcPts val="0"/>
              </a:spcBef>
              <a:buNone/>
              <a:defRPr sz="900">
                <a:solidFill>
                  <a:schemeClr val="bg2"/>
                </a:solidFill>
              </a:defRPr>
            </a:lvl8pPr>
            <a:lvl9pPr marL="0" indent="0">
              <a:spcBef>
                <a:spcPts val="0"/>
              </a:spcBef>
              <a:buNone/>
              <a:defRPr sz="900">
                <a:solidFill>
                  <a:schemeClr val="bg2"/>
                </a:solidFill>
              </a:defRPr>
            </a:lvl9pPr>
          </a:lstStyle>
          <a:p>
            <a:pPr lvl="0"/>
            <a:r>
              <a:rPr lang="en-US" noProof="0" dirty="0"/>
              <a:t>Add your contact details here.</a:t>
            </a:r>
          </a:p>
        </p:txBody>
      </p:sp>
      <p:sp>
        <p:nvSpPr>
          <p:cNvPr id="17" name="Text Placeholder AP2 Details"/>
          <p:cNvSpPr>
            <a:spLocks noGrp="1"/>
          </p:cNvSpPr>
          <p:nvPr>
            <p:ph type="body" sz="quarter" idx="24" hasCustomPrompt="1"/>
          </p:nvPr>
        </p:nvSpPr>
        <p:spPr bwMode="gray">
          <a:xfrm>
            <a:off x="624002" y="4366126"/>
            <a:ext cx="2735501" cy="1727825"/>
          </a:xfrm>
          <a:prstGeom prst="rect">
            <a:avLst/>
          </a:prstGeom>
          <a:noFill/>
        </p:spPr>
        <p:txBody>
          <a:bodyPr vert="horz" lIns="0" tIns="0" rIns="0" bIns="0" rtlCol="0" anchor="t" anchorCtr="0">
            <a:noAutofit/>
          </a:bodyPr>
          <a:lstStyle>
            <a:lvl1pPr>
              <a:spcBef>
                <a:spcPts val="0"/>
              </a:spcBef>
              <a:buClr>
                <a:srgbClr val="52328F"/>
              </a:buClr>
              <a:defRPr lang="de-DE" sz="900" b="0" kern="1200" baseline="0" dirty="0"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900" baseline="0">
                <a:solidFill>
                  <a:schemeClr val="bg2"/>
                </a:solidFill>
              </a:defRPr>
            </a:lvl2pPr>
            <a:lvl3pPr marL="0" indent="0">
              <a:spcBef>
                <a:spcPts val="0"/>
              </a:spcBef>
              <a:buFontTx/>
              <a:buNone/>
              <a:defRPr sz="900">
                <a:solidFill>
                  <a:schemeClr val="bg2"/>
                </a:solidFill>
              </a:defRPr>
            </a:lvl3pPr>
            <a:lvl4pPr marL="0" indent="0">
              <a:spcBef>
                <a:spcPts val="0"/>
              </a:spcBef>
              <a:buFontTx/>
              <a:buNone/>
              <a:defRPr sz="900" baseline="0">
                <a:solidFill>
                  <a:schemeClr val="bg2"/>
                </a:solidFill>
              </a:defRPr>
            </a:lvl4pPr>
            <a:lvl5pPr marL="0" indent="0">
              <a:spcBef>
                <a:spcPts val="0"/>
              </a:spcBef>
              <a:buFontTx/>
              <a:buNone/>
              <a:defRPr sz="900">
                <a:solidFill>
                  <a:schemeClr val="bg2"/>
                </a:solidFill>
              </a:defRPr>
            </a:lvl5pPr>
            <a:lvl6pPr marL="0" indent="0">
              <a:spcBef>
                <a:spcPts val="0"/>
              </a:spcBef>
              <a:buFontTx/>
              <a:buNone/>
              <a:defRPr sz="900">
                <a:solidFill>
                  <a:schemeClr val="bg2"/>
                </a:solidFill>
              </a:defRPr>
            </a:lvl6pPr>
            <a:lvl7pPr marL="0" indent="0">
              <a:spcBef>
                <a:spcPts val="0"/>
              </a:spcBef>
              <a:buFontTx/>
              <a:buNone/>
              <a:defRPr sz="900">
                <a:solidFill>
                  <a:schemeClr val="bg2"/>
                </a:solidFill>
              </a:defRPr>
            </a:lvl7pPr>
            <a:lvl8pPr marL="0" indent="0">
              <a:spcBef>
                <a:spcPts val="0"/>
              </a:spcBef>
              <a:buNone/>
              <a:defRPr sz="900">
                <a:solidFill>
                  <a:schemeClr val="bg2"/>
                </a:solidFill>
              </a:defRPr>
            </a:lvl8pPr>
            <a:lvl9pPr marL="0" indent="0">
              <a:spcBef>
                <a:spcPts val="0"/>
              </a:spcBef>
              <a:buNone/>
              <a:defRPr sz="900">
                <a:solidFill>
                  <a:schemeClr val="bg2"/>
                </a:solidFill>
              </a:defRPr>
            </a:lvl9pPr>
          </a:lstStyle>
          <a:p>
            <a:pPr lvl="0"/>
            <a:r>
              <a:rPr lang="en-US" noProof="0" dirty="0"/>
              <a:t>Add your contact details here.</a:t>
            </a:r>
          </a:p>
        </p:txBody>
      </p:sp>
      <p:sp>
        <p:nvSpPr>
          <p:cNvPr id="19" name="Text Placeholder AP1 Details"/>
          <p:cNvSpPr>
            <a:spLocks noGrp="1"/>
          </p:cNvSpPr>
          <p:nvPr>
            <p:ph type="body" sz="quarter" idx="19" hasCustomPrompt="1"/>
          </p:nvPr>
        </p:nvSpPr>
        <p:spPr bwMode="gray">
          <a:xfrm>
            <a:off x="624092" y="1989001"/>
            <a:ext cx="2735411" cy="1727825"/>
          </a:xfrm>
          <a:prstGeom prst="rect">
            <a:avLst/>
          </a:prstGeom>
          <a:noFill/>
        </p:spPr>
        <p:txBody>
          <a:bodyPr vert="horz" lIns="0" tIns="0" rIns="0" bIns="0" rtlCol="0" anchor="t" anchorCtr="0">
            <a:noAutofit/>
          </a:bodyPr>
          <a:lstStyle>
            <a:lvl1pPr>
              <a:spcBef>
                <a:spcPts val="0"/>
              </a:spcBef>
              <a:defRPr lang="de-DE" sz="900" b="0" kern="1200" baseline="0" dirty="0"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900" baseline="0">
                <a:solidFill>
                  <a:schemeClr val="bg2"/>
                </a:solidFill>
              </a:defRPr>
            </a:lvl2pPr>
            <a:lvl3pPr marL="0" indent="0">
              <a:spcBef>
                <a:spcPts val="0"/>
              </a:spcBef>
              <a:buFontTx/>
              <a:buNone/>
              <a:defRPr sz="900">
                <a:solidFill>
                  <a:schemeClr val="bg2"/>
                </a:solidFill>
              </a:defRPr>
            </a:lvl3pPr>
            <a:lvl4pPr marL="0" indent="0">
              <a:spcBef>
                <a:spcPts val="0"/>
              </a:spcBef>
              <a:buFontTx/>
              <a:buNone/>
              <a:defRPr sz="900" baseline="0">
                <a:solidFill>
                  <a:schemeClr val="bg2"/>
                </a:solidFill>
              </a:defRPr>
            </a:lvl4pPr>
            <a:lvl5pPr marL="0" indent="0">
              <a:spcBef>
                <a:spcPts val="0"/>
              </a:spcBef>
              <a:buFontTx/>
              <a:buNone/>
              <a:defRPr sz="900">
                <a:solidFill>
                  <a:schemeClr val="bg2"/>
                </a:solidFill>
              </a:defRPr>
            </a:lvl5pPr>
            <a:lvl6pPr marL="0" indent="0">
              <a:spcBef>
                <a:spcPts val="0"/>
              </a:spcBef>
              <a:buFontTx/>
              <a:buNone/>
              <a:defRPr sz="900">
                <a:solidFill>
                  <a:schemeClr val="bg2"/>
                </a:solidFill>
              </a:defRPr>
            </a:lvl6pPr>
            <a:lvl7pPr marL="0" indent="0">
              <a:spcBef>
                <a:spcPts val="0"/>
              </a:spcBef>
              <a:buFontTx/>
              <a:buNone/>
              <a:defRPr sz="900">
                <a:solidFill>
                  <a:schemeClr val="bg2"/>
                </a:solidFill>
              </a:defRPr>
            </a:lvl7pPr>
            <a:lvl8pPr marL="0" indent="0">
              <a:spcBef>
                <a:spcPts val="0"/>
              </a:spcBef>
              <a:buNone/>
              <a:defRPr sz="900">
                <a:solidFill>
                  <a:schemeClr val="bg2"/>
                </a:solidFill>
              </a:defRPr>
            </a:lvl8pPr>
            <a:lvl9pPr marL="0" indent="0">
              <a:spcBef>
                <a:spcPts val="0"/>
              </a:spcBef>
              <a:buNone/>
              <a:defRPr sz="900">
                <a:solidFill>
                  <a:schemeClr val="bg2"/>
                </a:solidFill>
              </a:defRPr>
            </a:lvl9pPr>
          </a:lstStyle>
          <a:p>
            <a:pPr lvl="0"/>
            <a:r>
              <a:rPr lang="en-US" noProof="0" dirty="0"/>
              <a:t>Add your contact details here.</a:t>
            </a:r>
          </a:p>
        </p:txBody>
      </p:sp>
      <p:grpSp>
        <p:nvGrpSpPr>
          <p:cNvPr id="9" name="Logo Merck"/>
          <p:cNvGrpSpPr/>
          <p:nvPr userDrawn="1"/>
        </p:nvGrpSpPr>
        <p:grpSpPr bwMode="gray">
          <a:xfrm>
            <a:off x="7453808" y="4123208"/>
            <a:ext cx="4114800" cy="1970088"/>
            <a:chOff x="7453313" y="4122737"/>
            <a:chExt cx="4114800" cy="1970088"/>
          </a:xfrm>
        </p:grpSpPr>
        <p:sp>
          <p:nvSpPr>
            <p:cNvPr id="10" name="Freeform 6"/>
            <p:cNvSpPr>
              <a:spLocks noEditPoints="1"/>
            </p:cNvSpPr>
            <p:nvPr userDrawn="1"/>
          </p:nvSpPr>
          <p:spPr bwMode="gray">
            <a:xfrm>
              <a:off x="7453313" y="4122737"/>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1" name="Freeform 7"/>
            <p:cNvSpPr>
              <a:spLocks/>
            </p:cNvSpPr>
            <p:nvPr userDrawn="1"/>
          </p:nvSpPr>
          <p:spPr bwMode="gray">
            <a:xfrm>
              <a:off x="7453313" y="4122737"/>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350" dirty="0"/>
            </a:p>
          </p:txBody>
        </p:sp>
      </p:grpSp>
      <p:sp>
        <p:nvSpPr>
          <p:cNvPr id="13" name="Text Placeholder AP3 Name"/>
          <p:cNvSpPr>
            <a:spLocks noGrp="1"/>
          </p:cNvSpPr>
          <p:nvPr>
            <p:ph type="body" sz="quarter" idx="21" hasCustomPrompt="1"/>
          </p:nvPr>
        </p:nvSpPr>
        <p:spPr bwMode="gray">
          <a:xfrm>
            <a:off x="3504622" y="3931827"/>
            <a:ext cx="2735501" cy="432048"/>
          </a:xfrm>
          <a:prstGeom prst="rect">
            <a:avLst/>
          </a:prstGeom>
        </p:spPr>
        <p:txBody>
          <a:bodyPr vert="horz" lIns="0" tIns="36000" rIns="0" bIns="0" rtlCol="0" anchor="b" anchorCtr="0">
            <a:normAutofit/>
          </a:bodyPr>
          <a:lstStyle>
            <a:lvl1pPr marL="0" indent="0">
              <a:spcBef>
                <a:spcPts val="0"/>
              </a:spcBef>
              <a:spcAft>
                <a:spcPts val="0"/>
              </a:spcAft>
              <a:buFont typeface="Arial" panose="020B0604020202020204" pitchFamily="34" charset="0"/>
              <a:buNone/>
              <a:defRPr lang="en-US" sz="1050" b="0" i="0" cap="none" baseline="0" noProof="0" dirty="0" smtClean="0">
                <a:solidFill>
                  <a:schemeClr val="bg2"/>
                </a:solidFill>
                <a:latin typeface="Merck" panose="04040805020F02020302" pitchFamily="82" charset="0"/>
              </a:defRPr>
            </a:lvl1pPr>
            <a:lvl2pPr marL="0" indent="0">
              <a:spcBef>
                <a:spcPts val="0"/>
              </a:spcBef>
              <a:spcAft>
                <a:spcPts val="0"/>
              </a:spcAft>
              <a:buNone/>
              <a:defRPr cap="none">
                <a:solidFill>
                  <a:schemeClr val="bg2"/>
                </a:solidFill>
                <a:latin typeface="Merck" panose="04040805020F02020302" pitchFamily="82" charset="0"/>
              </a:defRPr>
            </a:lvl2pPr>
            <a:lvl3pPr marL="0" indent="0">
              <a:spcBef>
                <a:spcPts val="0"/>
              </a:spcBef>
              <a:spcAft>
                <a:spcPts val="0"/>
              </a:spcAft>
              <a:buNone/>
              <a:defRPr cap="none">
                <a:solidFill>
                  <a:schemeClr val="bg2"/>
                </a:solidFill>
                <a:latin typeface="Merck" panose="04040805020F02020302" pitchFamily="82" charset="0"/>
              </a:defRPr>
            </a:lvl3pPr>
            <a:lvl4pPr marL="0" indent="0">
              <a:spcBef>
                <a:spcPts val="0"/>
              </a:spcBef>
              <a:spcAft>
                <a:spcPts val="0"/>
              </a:spcAft>
              <a:buNone/>
              <a:defRPr cap="none">
                <a:solidFill>
                  <a:schemeClr val="bg2"/>
                </a:solidFill>
                <a:latin typeface="Merck" panose="04040805020F02020302" pitchFamily="82" charset="0"/>
              </a:defRPr>
            </a:lvl4pPr>
            <a:lvl5pPr marL="0" indent="0">
              <a:spcBef>
                <a:spcPts val="0"/>
              </a:spcBef>
              <a:spcAft>
                <a:spcPts val="0"/>
              </a:spcAft>
              <a:buNone/>
              <a:defRPr cap="none">
                <a:solidFill>
                  <a:schemeClr val="bg2"/>
                </a:solidFill>
                <a:latin typeface="Merck" panose="04040805020F02020302" pitchFamily="82" charset="0"/>
              </a:defRPr>
            </a:lvl5pPr>
            <a:lvl6pPr marL="0" indent="0">
              <a:spcBef>
                <a:spcPts val="0"/>
              </a:spcBef>
              <a:spcAft>
                <a:spcPts val="0"/>
              </a:spcAft>
              <a:buNone/>
              <a:defRPr cap="none">
                <a:solidFill>
                  <a:schemeClr val="bg2"/>
                </a:solidFill>
                <a:latin typeface="Merck" panose="04040805020F02020302" pitchFamily="82" charset="0"/>
              </a:defRPr>
            </a:lvl6pPr>
            <a:lvl7pPr marL="0" indent="0">
              <a:spcBef>
                <a:spcPts val="0"/>
              </a:spcBef>
              <a:spcAft>
                <a:spcPts val="0"/>
              </a:spcAft>
              <a:buNone/>
              <a:defRPr cap="none">
                <a:solidFill>
                  <a:schemeClr val="bg2"/>
                </a:solidFill>
                <a:latin typeface="Merck" panose="04040805020F02020302" pitchFamily="82" charset="0"/>
              </a:defRPr>
            </a:lvl7pPr>
            <a:lvl8pPr marL="0" indent="0">
              <a:spcBef>
                <a:spcPts val="0"/>
              </a:spcBef>
              <a:spcAft>
                <a:spcPts val="0"/>
              </a:spcAft>
              <a:buNone/>
              <a:defRPr cap="none">
                <a:solidFill>
                  <a:schemeClr val="bg2"/>
                </a:solidFill>
                <a:latin typeface="Merck" panose="04040805020F02020302" pitchFamily="82" charset="0"/>
              </a:defRPr>
            </a:lvl8pPr>
            <a:lvl9pPr marL="0" indent="0">
              <a:spcBef>
                <a:spcPts val="0"/>
              </a:spcBef>
              <a:spcAft>
                <a:spcPts val="0"/>
              </a:spcAft>
              <a:buNone/>
              <a:defRPr cap="none">
                <a:solidFill>
                  <a:schemeClr val="bg2"/>
                </a:solidFill>
                <a:latin typeface="Merck" panose="04040805020F02020302" pitchFamily="82" charset="0"/>
              </a:defRPr>
            </a:lvl9pPr>
          </a:lstStyle>
          <a:p>
            <a:pPr lvl="0"/>
            <a:r>
              <a:rPr lang="en-US" noProof="0" dirty="0"/>
              <a:t>Contact (Please edit)</a:t>
            </a:r>
          </a:p>
        </p:txBody>
      </p:sp>
      <p:sp>
        <p:nvSpPr>
          <p:cNvPr id="15" name="Text Placeholder AP2 Name"/>
          <p:cNvSpPr>
            <a:spLocks noGrp="1"/>
          </p:cNvSpPr>
          <p:nvPr>
            <p:ph type="body" sz="quarter" idx="20" hasCustomPrompt="1"/>
          </p:nvPr>
        </p:nvSpPr>
        <p:spPr bwMode="gray">
          <a:xfrm>
            <a:off x="624115" y="3932953"/>
            <a:ext cx="2735501" cy="432048"/>
          </a:xfrm>
          <a:prstGeom prst="rect">
            <a:avLst/>
          </a:prstGeom>
        </p:spPr>
        <p:txBody>
          <a:bodyPr vert="horz" lIns="0" tIns="36000" rIns="0" bIns="0" rtlCol="0" anchor="b" anchorCtr="0">
            <a:noAutofit/>
          </a:bodyPr>
          <a:lstStyle>
            <a:lvl1pPr marL="0" indent="0">
              <a:spcBef>
                <a:spcPts val="0"/>
              </a:spcBef>
              <a:spcAft>
                <a:spcPts val="0"/>
              </a:spcAft>
              <a:buFont typeface="Arial" panose="020B0604020202020204" pitchFamily="34" charset="0"/>
              <a:buNone/>
              <a:defRPr lang="en-US" sz="1050" b="0" i="0" cap="none" baseline="0" noProof="0" dirty="0" smtClean="0">
                <a:solidFill>
                  <a:schemeClr val="bg2"/>
                </a:solidFill>
                <a:latin typeface="Merck" panose="04040805020F02020302" pitchFamily="82" charset="0"/>
              </a:defRPr>
            </a:lvl1pPr>
            <a:lvl2pPr marL="0" indent="0">
              <a:spcBef>
                <a:spcPts val="0"/>
              </a:spcBef>
              <a:spcAft>
                <a:spcPts val="0"/>
              </a:spcAft>
              <a:buNone/>
              <a:defRPr sz="1050" cap="none">
                <a:solidFill>
                  <a:schemeClr val="bg2"/>
                </a:solidFill>
                <a:latin typeface="Merck" panose="04040805020F02020302" pitchFamily="82" charset="0"/>
              </a:defRPr>
            </a:lvl2pPr>
            <a:lvl3pPr marL="0" indent="0">
              <a:spcBef>
                <a:spcPts val="0"/>
              </a:spcBef>
              <a:spcAft>
                <a:spcPts val="0"/>
              </a:spcAft>
              <a:buNone/>
              <a:defRPr sz="1050" cap="none">
                <a:solidFill>
                  <a:schemeClr val="bg2"/>
                </a:solidFill>
                <a:latin typeface="Merck" panose="04040805020F02020302" pitchFamily="82" charset="0"/>
              </a:defRPr>
            </a:lvl3pPr>
            <a:lvl4pPr marL="0" indent="0">
              <a:spcBef>
                <a:spcPts val="0"/>
              </a:spcBef>
              <a:spcAft>
                <a:spcPts val="0"/>
              </a:spcAft>
              <a:buNone/>
              <a:defRPr sz="1050" cap="none">
                <a:solidFill>
                  <a:schemeClr val="bg2"/>
                </a:solidFill>
                <a:latin typeface="Merck" panose="04040805020F02020302" pitchFamily="82" charset="0"/>
              </a:defRPr>
            </a:lvl4pPr>
            <a:lvl5pPr marL="0" indent="0">
              <a:spcBef>
                <a:spcPts val="0"/>
              </a:spcBef>
              <a:spcAft>
                <a:spcPts val="0"/>
              </a:spcAft>
              <a:buNone/>
              <a:defRPr sz="1050" cap="none">
                <a:solidFill>
                  <a:schemeClr val="bg2"/>
                </a:solidFill>
                <a:latin typeface="Merck" panose="04040805020F02020302" pitchFamily="82" charset="0"/>
              </a:defRPr>
            </a:lvl5pPr>
            <a:lvl6pPr marL="0" indent="0">
              <a:spcBef>
                <a:spcPts val="0"/>
              </a:spcBef>
              <a:spcAft>
                <a:spcPts val="0"/>
              </a:spcAft>
              <a:buNone/>
              <a:defRPr sz="1050" cap="none">
                <a:solidFill>
                  <a:schemeClr val="bg2"/>
                </a:solidFill>
                <a:latin typeface="Merck" panose="04040805020F02020302" pitchFamily="82" charset="0"/>
              </a:defRPr>
            </a:lvl6pPr>
            <a:lvl7pPr marL="0" indent="0">
              <a:spcBef>
                <a:spcPts val="0"/>
              </a:spcBef>
              <a:spcAft>
                <a:spcPts val="0"/>
              </a:spcAft>
              <a:buNone/>
              <a:defRPr sz="1050" cap="none">
                <a:solidFill>
                  <a:schemeClr val="bg2"/>
                </a:solidFill>
                <a:latin typeface="Merck" panose="04040805020F02020302" pitchFamily="82" charset="0"/>
              </a:defRPr>
            </a:lvl7pPr>
            <a:lvl8pPr marL="0" indent="0">
              <a:spcBef>
                <a:spcPts val="0"/>
              </a:spcBef>
              <a:spcAft>
                <a:spcPts val="0"/>
              </a:spcAft>
              <a:buNone/>
              <a:defRPr sz="1050" cap="none">
                <a:solidFill>
                  <a:schemeClr val="bg2"/>
                </a:solidFill>
                <a:latin typeface="Merck" panose="04040805020F02020302" pitchFamily="82" charset="0"/>
              </a:defRPr>
            </a:lvl8pPr>
            <a:lvl9pPr marL="0" indent="0">
              <a:spcBef>
                <a:spcPts val="0"/>
              </a:spcBef>
              <a:spcAft>
                <a:spcPts val="0"/>
              </a:spcAft>
              <a:buNone/>
              <a:defRPr sz="1050" cap="none">
                <a:solidFill>
                  <a:schemeClr val="bg2"/>
                </a:solidFill>
                <a:latin typeface="Merck" panose="04040805020F02020302" pitchFamily="82" charset="0"/>
              </a:defRPr>
            </a:lvl9pPr>
          </a:lstStyle>
          <a:p>
            <a:pPr lvl="0"/>
            <a:r>
              <a:rPr lang="en-US" noProof="0" dirty="0"/>
              <a:t>Contact (Please edit)</a:t>
            </a:r>
          </a:p>
        </p:txBody>
      </p:sp>
      <p:sp>
        <p:nvSpPr>
          <p:cNvPr id="16" name="Text Placeholder AP1 Name"/>
          <p:cNvSpPr>
            <a:spLocks noGrp="1"/>
          </p:cNvSpPr>
          <p:nvPr>
            <p:ph type="body" sz="quarter" idx="10" hasCustomPrompt="1"/>
          </p:nvPr>
        </p:nvSpPr>
        <p:spPr bwMode="gray">
          <a:xfrm>
            <a:off x="624002" y="1556952"/>
            <a:ext cx="273550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050" b="0" i="0" kern="1200" cap="none" baseline="0" noProof="0" dirty="0" smtClean="0">
                <a:solidFill>
                  <a:schemeClr val="bg2"/>
                </a:solidFill>
                <a:latin typeface="Merck" panose="04040805020F02020302" pitchFamily="82" charset="0"/>
                <a:ea typeface="Verdana" panose="020B0604030504040204" pitchFamily="34" charset="0"/>
                <a:cs typeface="Verdana" panose="020B0604030504040204" pitchFamily="34" charset="0"/>
              </a:defRPr>
            </a:lvl1pPr>
            <a:lvl2pPr marL="0" indent="0">
              <a:spcBef>
                <a:spcPts val="0"/>
              </a:spcBef>
              <a:spcAft>
                <a:spcPts val="0"/>
              </a:spcAft>
              <a:buNone/>
              <a:defRPr sz="1050" cap="none">
                <a:solidFill>
                  <a:schemeClr val="bg2"/>
                </a:solidFill>
                <a:latin typeface="Merck" panose="04040805020F02020302" pitchFamily="82" charset="0"/>
              </a:defRPr>
            </a:lvl2pPr>
            <a:lvl3pPr marL="0" indent="0">
              <a:spcBef>
                <a:spcPts val="0"/>
              </a:spcBef>
              <a:spcAft>
                <a:spcPts val="0"/>
              </a:spcAft>
              <a:buNone/>
              <a:defRPr sz="1050" cap="none">
                <a:solidFill>
                  <a:schemeClr val="bg2"/>
                </a:solidFill>
                <a:latin typeface="Merck" panose="04040805020F02020302" pitchFamily="82" charset="0"/>
              </a:defRPr>
            </a:lvl3pPr>
            <a:lvl4pPr marL="0" indent="0">
              <a:spcBef>
                <a:spcPts val="0"/>
              </a:spcBef>
              <a:spcAft>
                <a:spcPts val="0"/>
              </a:spcAft>
              <a:buNone/>
              <a:defRPr sz="1050" cap="none">
                <a:solidFill>
                  <a:schemeClr val="bg2"/>
                </a:solidFill>
                <a:latin typeface="Merck" panose="04040805020F02020302" pitchFamily="82" charset="0"/>
              </a:defRPr>
            </a:lvl4pPr>
            <a:lvl5pPr marL="0" indent="0">
              <a:spcBef>
                <a:spcPts val="0"/>
              </a:spcBef>
              <a:spcAft>
                <a:spcPts val="0"/>
              </a:spcAft>
              <a:buNone/>
              <a:defRPr sz="1050" cap="none">
                <a:solidFill>
                  <a:schemeClr val="bg2"/>
                </a:solidFill>
                <a:latin typeface="Merck" panose="04040805020F02020302" pitchFamily="82" charset="0"/>
              </a:defRPr>
            </a:lvl5pPr>
            <a:lvl6pPr marL="0" indent="0">
              <a:spcBef>
                <a:spcPts val="0"/>
              </a:spcBef>
              <a:spcAft>
                <a:spcPts val="0"/>
              </a:spcAft>
              <a:buNone/>
              <a:defRPr sz="1050" cap="none">
                <a:solidFill>
                  <a:schemeClr val="bg2"/>
                </a:solidFill>
                <a:latin typeface="Merck" panose="04040805020F02020302" pitchFamily="82" charset="0"/>
              </a:defRPr>
            </a:lvl6pPr>
            <a:lvl7pPr marL="0" indent="0">
              <a:spcBef>
                <a:spcPts val="0"/>
              </a:spcBef>
              <a:spcAft>
                <a:spcPts val="0"/>
              </a:spcAft>
              <a:buNone/>
              <a:defRPr sz="1050" cap="none">
                <a:solidFill>
                  <a:schemeClr val="bg2"/>
                </a:solidFill>
                <a:latin typeface="Merck" panose="04040805020F02020302" pitchFamily="82" charset="0"/>
              </a:defRPr>
            </a:lvl7pPr>
            <a:lvl8pPr marL="0" indent="0">
              <a:spcBef>
                <a:spcPts val="0"/>
              </a:spcBef>
              <a:spcAft>
                <a:spcPts val="0"/>
              </a:spcAft>
              <a:buNone/>
              <a:defRPr sz="1050" cap="none">
                <a:solidFill>
                  <a:schemeClr val="bg2"/>
                </a:solidFill>
                <a:latin typeface="Merck" panose="04040805020F02020302" pitchFamily="82" charset="0"/>
              </a:defRPr>
            </a:lvl8pPr>
            <a:lvl9pPr marL="0" indent="0">
              <a:spcBef>
                <a:spcPts val="0"/>
              </a:spcBef>
              <a:spcAft>
                <a:spcPts val="0"/>
              </a:spcAft>
              <a:buNone/>
              <a:defRPr sz="1050" cap="none">
                <a:solidFill>
                  <a:schemeClr val="bg2"/>
                </a:solidFill>
                <a:latin typeface="Merck" panose="04040805020F02020302" pitchFamily="82" charset="0"/>
              </a:defRPr>
            </a:lvl9pPr>
          </a:lstStyle>
          <a:p>
            <a:pPr lvl="0"/>
            <a:r>
              <a:rPr lang="en-US" noProof="0" dirty="0"/>
              <a:t>Contact (Please edit)</a:t>
            </a:r>
          </a:p>
        </p:txBody>
      </p:sp>
    </p:spTree>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tro | 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6194"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6" name="Rectangle 5"/>
          <p:cNvSpPr/>
          <p:nvPr userDrawn="1"/>
        </p:nvSpPr>
        <p:spPr bwMode="gray">
          <a:xfrm>
            <a:off x="1" y="2"/>
            <a:ext cx="12192000" cy="6858001"/>
          </a:xfrm>
          <a:prstGeom prst="rect">
            <a:avLst/>
          </a:prstGeom>
          <a:solidFill>
            <a:srgbClr val="FFC832"/>
          </a:solidFill>
          <a:ln w="9525" cap="flat" cmpd="sng" algn="ctr">
            <a:noFill/>
            <a:prstDash val="solid"/>
          </a:ln>
          <a:effectLst/>
        </p:spPr>
        <p:txBody>
          <a:bodyPr rtlCol="0" anchor="ctr" anchorCtr="0"/>
          <a:lstStyle/>
          <a:p>
            <a:pPr marL="0" indent="0" algn="ctr">
              <a:spcBef>
                <a:spcPts val="225"/>
              </a:spcBef>
              <a:spcAft>
                <a:spcPts val="225"/>
              </a:spcAft>
              <a:buClr>
                <a:schemeClr val="bg1"/>
              </a:buClr>
              <a:buSzPct val="100000"/>
              <a:buFont typeface="Arial" panose="020B0604020202020204" pitchFamily="34" charset="0"/>
              <a:buNone/>
            </a:pPr>
            <a:endParaRPr lang="en-US" sz="1050" kern="0">
              <a:solidFill>
                <a:srgbClr val="FFFFFF"/>
              </a:solidFill>
              <a:latin typeface="Verdana"/>
            </a:endParaRPr>
          </a:p>
        </p:txBody>
      </p:sp>
      <p:grpSp>
        <p:nvGrpSpPr>
          <p:cNvPr id="2" name="Gruppieren 1"/>
          <p:cNvGrpSpPr/>
          <p:nvPr userDrawn="1"/>
        </p:nvGrpSpPr>
        <p:grpSpPr bwMode="gray">
          <a:xfrm>
            <a:off x="4038600" y="2482850"/>
            <a:ext cx="4114800" cy="1970088"/>
            <a:chOff x="4038600" y="2482850"/>
            <a:chExt cx="4114800" cy="1970088"/>
          </a:xfrm>
        </p:grpSpPr>
        <p:sp>
          <p:nvSpPr>
            <p:cNvPr id="7" name="Freeform 5"/>
            <p:cNvSpPr>
              <a:spLocks/>
            </p:cNvSpPr>
            <p:nvPr userDrawn="1"/>
          </p:nvSpPr>
          <p:spPr bwMode="gray">
            <a:xfrm>
              <a:off x="4038600" y="2482850"/>
              <a:ext cx="4114800" cy="1970088"/>
            </a:xfrm>
            <a:custGeom>
              <a:avLst/>
              <a:gdLst>
                <a:gd name="T0" fmla="*/ 13648 w 13648"/>
                <a:gd name="T1" fmla="*/ 6343 h 6536"/>
                <a:gd name="T2" fmla="*/ 13648 w 13648"/>
                <a:gd name="T3" fmla="*/ 6112 h 6536"/>
                <a:gd name="T4" fmla="*/ 13648 w 13648"/>
                <a:gd name="T5" fmla="*/ 961 h 6536"/>
                <a:gd name="T6" fmla="*/ 12687 w 13648"/>
                <a:gd name="T7" fmla="*/ 0 h 6536"/>
                <a:gd name="T8" fmla="*/ 11669 w 13648"/>
                <a:gd name="T9" fmla="*/ 0 h 6536"/>
                <a:gd name="T10" fmla="*/ 11538 w 13648"/>
                <a:gd name="T11" fmla="*/ 53 h 6536"/>
                <a:gd name="T12" fmla="*/ 9497 w 13648"/>
                <a:gd name="T13" fmla="*/ 1968 h 6536"/>
                <a:gd name="T14" fmla="*/ 6824 w 13648"/>
                <a:gd name="T15" fmla="*/ 2994 h 6536"/>
                <a:gd name="T16" fmla="*/ 4064 w 13648"/>
                <a:gd name="T17" fmla="*/ 1885 h 6536"/>
                <a:gd name="T18" fmla="*/ 2550 w 13648"/>
                <a:gd name="T19" fmla="*/ 463 h 6536"/>
                <a:gd name="T20" fmla="*/ 1410 w 13648"/>
                <a:gd name="T21" fmla="*/ 0 h 6536"/>
                <a:gd name="T22" fmla="*/ 192 w 13648"/>
                <a:gd name="T23" fmla="*/ 0 h 6536"/>
                <a:gd name="T24" fmla="*/ 0 w 13648"/>
                <a:gd name="T25" fmla="*/ 192 h 6536"/>
                <a:gd name="T26" fmla="*/ 0 w 13648"/>
                <a:gd name="T27" fmla="*/ 5575 h 6536"/>
                <a:gd name="T28" fmla="*/ 961 w 13648"/>
                <a:gd name="T29" fmla="*/ 6536 h 6536"/>
                <a:gd name="T30" fmla="*/ 1333 w 13648"/>
                <a:gd name="T31" fmla="*/ 6536 h 6536"/>
                <a:gd name="T32" fmla="*/ 1584 w 13648"/>
                <a:gd name="T33" fmla="*/ 6536 h 6536"/>
                <a:gd name="T34" fmla="*/ 1777 w 13648"/>
                <a:gd name="T35" fmla="*/ 6342 h 6536"/>
                <a:gd name="T36" fmla="*/ 1778 w 13648"/>
                <a:gd name="T37" fmla="*/ 4427 h 6536"/>
                <a:gd name="T38" fmla="*/ 2679 w 13648"/>
                <a:gd name="T39" fmla="*/ 3514 h 6536"/>
                <a:gd name="T40" fmla="*/ 4847 w 13648"/>
                <a:gd name="T41" fmla="*/ 4823 h 6536"/>
                <a:gd name="T42" fmla="*/ 6824 w 13648"/>
                <a:gd name="T43" fmla="*/ 6085 h 6536"/>
                <a:gd name="T44" fmla="*/ 8801 w 13648"/>
                <a:gd name="T45" fmla="*/ 4823 h 6536"/>
                <a:gd name="T46" fmla="*/ 10968 w 13648"/>
                <a:gd name="T47" fmla="*/ 3514 h 6536"/>
                <a:gd name="T48" fmla="*/ 11869 w 13648"/>
                <a:gd name="T49" fmla="*/ 4419 h 6536"/>
                <a:gd name="T50" fmla="*/ 11869 w 13648"/>
                <a:gd name="T51" fmla="*/ 5575 h 6536"/>
                <a:gd name="T52" fmla="*/ 12831 w 13648"/>
                <a:gd name="T53" fmla="*/ 6535 h 6536"/>
                <a:gd name="T54" fmla="*/ 13246 w 13648"/>
                <a:gd name="T55" fmla="*/ 6535 h 6536"/>
                <a:gd name="T56" fmla="*/ 13455 w 13648"/>
                <a:gd name="T57" fmla="*/ 6536 h 6536"/>
                <a:gd name="T58" fmla="*/ 13455 w 13648"/>
                <a:gd name="T59" fmla="*/ 6536 h 6536"/>
                <a:gd name="T60" fmla="*/ 13648 w 13648"/>
                <a:gd name="T61" fmla="*/ 6343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648" h="6536">
                  <a:moveTo>
                    <a:pt x="13648" y="6343"/>
                  </a:moveTo>
                  <a:cubicBezTo>
                    <a:pt x="13648" y="6112"/>
                    <a:pt x="13648" y="6112"/>
                    <a:pt x="13648" y="6112"/>
                  </a:cubicBezTo>
                  <a:cubicBezTo>
                    <a:pt x="13648" y="5089"/>
                    <a:pt x="13648" y="1001"/>
                    <a:pt x="13648" y="961"/>
                  </a:cubicBezTo>
                  <a:cubicBezTo>
                    <a:pt x="13648" y="430"/>
                    <a:pt x="13217" y="0"/>
                    <a:pt x="12687" y="0"/>
                  </a:cubicBezTo>
                  <a:cubicBezTo>
                    <a:pt x="11669" y="0"/>
                    <a:pt x="11669" y="0"/>
                    <a:pt x="11669" y="0"/>
                  </a:cubicBezTo>
                  <a:cubicBezTo>
                    <a:pt x="11618" y="0"/>
                    <a:pt x="11572" y="20"/>
                    <a:pt x="11538" y="53"/>
                  </a:cubicBezTo>
                  <a:cubicBezTo>
                    <a:pt x="9497" y="1968"/>
                    <a:pt x="9497" y="1968"/>
                    <a:pt x="9497" y="1968"/>
                  </a:cubicBezTo>
                  <a:cubicBezTo>
                    <a:pt x="8798" y="2625"/>
                    <a:pt x="7858" y="2994"/>
                    <a:pt x="6824" y="2994"/>
                  </a:cubicBezTo>
                  <a:cubicBezTo>
                    <a:pt x="5746" y="2994"/>
                    <a:pt x="4770" y="2591"/>
                    <a:pt x="4064" y="1885"/>
                  </a:cubicBezTo>
                  <a:cubicBezTo>
                    <a:pt x="4064" y="1885"/>
                    <a:pt x="2563" y="476"/>
                    <a:pt x="2550" y="463"/>
                  </a:cubicBezTo>
                  <a:cubicBezTo>
                    <a:pt x="2262" y="195"/>
                    <a:pt x="1866" y="10"/>
                    <a:pt x="1410" y="0"/>
                  </a:cubicBezTo>
                  <a:cubicBezTo>
                    <a:pt x="192" y="0"/>
                    <a:pt x="192" y="0"/>
                    <a:pt x="192" y="0"/>
                  </a:cubicBezTo>
                  <a:cubicBezTo>
                    <a:pt x="86" y="0"/>
                    <a:pt x="0" y="86"/>
                    <a:pt x="0" y="192"/>
                  </a:cubicBezTo>
                  <a:cubicBezTo>
                    <a:pt x="0" y="5575"/>
                    <a:pt x="0" y="5575"/>
                    <a:pt x="0" y="5575"/>
                  </a:cubicBezTo>
                  <a:cubicBezTo>
                    <a:pt x="0" y="6105"/>
                    <a:pt x="430" y="6536"/>
                    <a:pt x="961" y="6536"/>
                  </a:cubicBezTo>
                  <a:cubicBezTo>
                    <a:pt x="1333" y="6536"/>
                    <a:pt x="1333" y="6536"/>
                    <a:pt x="1333" y="6536"/>
                  </a:cubicBezTo>
                  <a:cubicBezTo>
                    <a:pt x="1584" y="6536"/>
                    <a:pt x="1584" y="6536"/>
                    <a:pt x="1584" y="6536"/>
                  </a:cubicBezTo>
                  <a:cubicBezTo>
                    <a:pt x="1691" y="6536"/>
                    <a:pt x="1777" y="6449"/>
                    <a:pt x="1777" y="6342"/>
                  </a:cubicBezTo>
                  <a:cubicBezTo>
                    <a:pt x="1778" y="4427"/>
                    <a:pt x="1778" y="4427"/>
                    <a:pt x="1778" y="4427"/>
                  </a:cubicBezTo>
                  <a:cubicBezTo>
                    <a:pt x="1778" y="3927"/>
                    <a:pt x="2186" y="3514"/>
                    <a:pt x="2679" y="3514"/>
                  </a:cubicBezTo>
                  <a:cubicBezTo>
                    <a:pt x="3595" y="3514"/>
                    <a:pt x="4253" y="4299"/>
                    <a:pt x="4847" y="4823"/>
                  </a:cubicBezTo>
                  <a:cubicBezTo>
                    <a:pt x="5574" y="5466"/>
                    <a:pt x="6134" y="6085"/>
                    <a:pt x="6824" y="6085"/>
                  </a:cubicBezTo>
                  <a:cubicBezTo>
                    <a:pt x="7513" y="6085"/>
                    <a:pt x="8073" y="5466"/>
                    <a:pt x="8801" y="4823"/>
                  </a:cubicBezTo>
                  <a:cubicBezTo>
                    <a:pt x="9395" y="4299"/>
                    <a:pt x="10052" y="3514"/>
                    <a:pt x="10968" y="3514"/>
                  </a:cubicBezTo>
                  <a:cubicBezTo>
                    <a:pt x="11458" y="3514"/>
                    <a:pt x="11865" y="3922"/>
                    <a:pt x="11869" y="4419"/>
                  </a:cubicBezTo>
                  <a:cubicBezTo>
                    <a:pt x="11869" y="4419"/>
                    <a:pt x="11869" y="5567"/>
                    <a:pt x="11869" y="5575"/>
                  </a:cubicBezTo>
                  <a:cubicBezTo>
                    <a:pt x="11869" y="6105"/>
                    <a:pt x="12300" y="6535"/>
                    <a:pt x="12831" y="6535"/>
                  </a:cubicBezTo>
                  <a:cubicBezTo>
                    <a:pt x="13246" y="6535"/>
                    <a:pt x="13246" y="6535"/>
                    <a:pt x="13246" y="6535"/>
                  </a:cubicBezTo>
                  <a:cubicBezTo>
                    <a:pt x="13354" y="6535"/>
                    <a:pt x="13455" y="6536"/>
                    <a:pt x="13455" y="6536"/>
                  </a:cubicBezTo>
                  <a:cubicBezTo>
                    <a:pt x="13455" y="6536"/>
                    <a:pt x="13455" y="6536"/>
                    <a:pt x="13455" y="6536"/>
                  </a:cubicBezTo>
                  <a:cubicBezTo>
                    <a:pt x="13561" y="6536"/>
                    <a:pt x="13648" y="6449"/>
                    <a:pt x="13648" y="6343"/>
                  </a:cubicBezTo>
                  <a:close/>
                </a:path>
              </a:pathLst>
            </a:custGeom>
            <a:solidFill>
              <a:srgbClr val="FFCA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8" name="Freeform 6"/>
            <p:cNvSpPr>
              <a:spLocks noEditPoints="1"/>
            </p:cNvSpPr>
            <p:nvPr userDrawn="1"/>
          </p:nvSpPr>
          <p:spPr bwMode="gray">
            <a:xfrm>
              <a:off x="4038600" y="2482850"/>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350" dirty="0"/>
            </a:p>
          </p:txBody>
        </p:sp>
        <p:sp>
          <p:nvSpPr>
            <p:cNvPr id="9" name="Freeform 7"/>
            <p:cNvSpPr>
              <a:spLocks/>
            </p:cNvSpPr>
            <p:nvPr userDrawn="1"/>
          </p:nvSpPr>
          <p:spPr bwMode="gray">
            <a:xfrm>
              <a:off x="4038600" y="2482850"/>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sz="1350" dirty="0"/>
            </a:p>
          </p:txBody>
        </p:sp>
      </p:grpSp>
    </p:spTree>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Intro | P">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7218"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Rectangle 2"/>
          <p:cNvSpPr/>
          <p:nvPr userDrawn="1"/>
        </p:nvSpPr>
        <p:spPr bwMode="gray">
          <a:xfrm>
            <a:off x="1" y="2"/>
            <a:ext cx="12192000" cy="6858001"/>
          </a:xfrm>
          <a:prstGeom prst="rect">
            <a:avLst/>
          </a:prstGeom>
          <a:solidFill>
            <a:srgbClr val="A5CD50"/>
          </a:solidFill>
          <a:ln w="9525" cap="flat" cmpd="sng" algn="ctr">
            <a:noFill/>
            <a:prstDash val="solid"/>
          </a:ln>
          <a:effectLst/>
        </p:spPr>
        <p:txBody>
          <a:bodyPr rtlCol="0" anchor="ctr" anchorCtr="0"/>
          <a:lstStyle/>
          <a:p>
            <a:pPr marL="0" indent="0" algn="ctr">
              <a:spcBef>
                <a:spcPts val="225"/>
              </a:spcBef>
              <a:spcAft>
                <a:spcPts val="225"/>
              </a:spcAft>
              <a:buClr>
                <a:schemeClr val="bg1"/>
              </a:buClr>
              <a:buSzPct val="100000"/>
              <a:buFont typeface="Arial" panose="020B0604020202020204" pitchFamily="34" charset="0"/>
              <a:buNone/>
            </a:pPr>
            <a:endParaRPr lang="en-US" sz="1050" kern="0">
              <a:solidFill>
                <a:srgbClr val="FFFFFF"/>
              </a:solidFill>
              <a:latin typeface="Verdana"/>
            </a:endParaRPr>
          </a:p>
        </p:txBody>
      </p:sp>
      <p:pic>
        <p:nvPicPr>
          <p:cNvPr id="2" name="Grafik 1"/>
          <p:cNvPicPr>
            <a:picLocks noChangeAspect="1"/>
          </p:cNvPicPr>
          <p:nvPr userDrawn="1"/>
        </p:nvPicPr>
        <p:blipFill>
          <a:blip r:embed="rId6"/>
          <a:stretch>
            <a:fillRect/>
          </a:stretch>
        </p:blipFill>
        <p:spPr bwMode="gray">
          <a:xfrm>
            <a:off x="4038600" y="2404528"/>
            <a:ext cx="4114800" cy="2048363"/>
          </a:xfrm>
          <a:prstGeom prst="rect">
            <a:avLst/>
          </a:prstGeom>
        </p:spPr>
      </p:pic>
    </p:spTree>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Intro | 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8242"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Rectangle 4"/>
          <p:cNvSpPr/>
          <p:nvPr userDrawn="1"/>
        </p:nvSpPr>
        <p:spPr bwMode="gray">
          <a:xfrm>
            <a:off x="1" y="2"/>
            <a:ext cx="12192000" cy="6858001"/>
          </a:xfrm>
          <a:prstGeom prst="rect">
            <a:avLst/>
          </a:prstGeom>
          <a:solidFill>
            <a:schemeClr val="accent1"/>
          </a:solidFill>
          <a:ln w="9525" cap="flat" cmpd="sng" algn="ctr">
            <a:noFill/>
            <a:prstDash val="solid"/>
          </a:ln>
          <a:effectLst/>
        </p:spPr>
        <p:txBody>
          <a:bodyPr rtlCol="0" anchor="ctr" anchorCtr="0"/>
          <a:lstStyle/>
          <a:p>
            <a:pPr marL="0" indent="0" algn="ctr">
              <a:spcBef>
                <a:spcPts val="225"/>
              </a:spcBef>
              <a:spcAft>
                <a:spcPts val="225"/>
              </a:spcAft>
              <a:buClr>
                <a:schemeClr val="bg1"/>
              </a:buClr>
              <a:buSzPct val="100000"/>
              <a:buFont typeface="Arial" panose="020B0604020202020204" pitchFamily="34" charset="0"/>
              <a:buNone/>
            </a:pPr>
            <a:endParaRPr lang="en-US" sz="1050" kern="0">
              <a:solidFill>
                <a:srgbClr val="FFFFFF"/>
              </a:solidFill>
              <a:latin typeface="Verdana"/>
            </a:endParaRPr>
          </a:p>
        </p:txBody>
      </p:sp>
      <p:grpSp>
        <p:nvGrpSpPr>
          <p:cNvPr id="4" name="Gruppieren 3"/>
          <p:cNvGrpSpPr/>
          <p:nvPr userDrawn="1"/>
        </p:nvGrpSpPr>
        <p:grpSpPr bwMode="gray">
          <a:xfrm>
            <a:off x="4038600" y="2482850"/>
            <a:ext cx="4114800" cy="1970088"/>
            <a:chOff x="4038600" y="2482850"/>
            <a:chExt cx="4114800" cy="1970088"/>
          </a:xfrm>
        </p:grpSpPr>
        <p:sp>
          <p:nvSpPr>
            <p:cNvPr id="7" name="Freeform 6"/>
            <p:cNvSpPr>
              <a:spLocks noEditPoints="1"/>
            </p:cNvSpPr>
            <p:nvPr userDrawn="1"/>
          </p:nvSpPr>
          <p:spPr bwMode="gray">
            <a:xfrm>
              <a:off x="4038600" y="2482850"/>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sz="1350" dirty="0"/>
            </a:p>
          </p:txBody>
        </p:sp>
        <p:sp>
          <p:nvSpPr>
            <p:cNvPr id="8" name="Freeform 7"/>
            <p:cNvSpPr>
              <a:spLocks/>
            </p:cNvSpPr>
            <p:nvPr userDrawn="1"/>
          </p:nvSpPr>
          <p:spPr bwMode="gray">
            <a:xfrm>
              <a:off x="4038600" y="2482850"/>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350" dirty="0"/>
            </a:p>
          </p:txBody>
        </p:sp>
      </p:grpSp>
    </p:spTree>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8" name="Freeform 7"/>
          <p:cNvSpPr/>
          <p:nvPr userDrawn="1"/>
        </p:nvSpPr>
        <p:spPr bwMode="gray">
          <a:xfrm>
            <a:off x="2" y="6331918"/>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9" name="Freeform 8"/>
          <p:cNvSpPr/>
          <p:nvPr userDrawn="1"/>
        </p:nvSpPr>
        <p:spPr bwMode="gray">
          <a:xfrm>
            <a:off x="1" y="4811183"/>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15" name="Footer Placeholder 14"/>
          <p:cNvSpPr>
            <a:spLocks noGrp="1"/>
          </p:cNvSpPr>
          <p:nvPr>
            <p:ph type="ftr" sz="quarter" idx="17"/>
          </p:nvPr>
        </p:nvSpPr>
        <p:spPr bwMode="gray"/>
        <p:txBody>
          <a:bodyPr/>
          <a:lstStyle/>
          <a:p>
            <a:r>
              <a:rPr lang="en-US" dirty="0"/>
              <a:t>Title of Presentation | DD.MM.YYYY</a:t>
            </a:r>
          </a:p>
        </p:txBody>
      </p:sp>
      <p:sp>
        <p:nvSpPr>
          <p:cNvPr id="16" name="Slide Number Placeholder 15"/>
          <p:cNvSpPr>
            <a:spLocks noGrp="1"/>
          </p:cNvSpPr>
          <p:nvPr>
            <p:ph type="sldNum" sz="quarter" idx="18"/>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4" name="Content Placeholder 13"/>
          <p:cNvSpPr>
            <a:spLocks noGrp="1"/>
          </p:cNvSpPr>
          <p:nvPr>
            <p:ph sz="quarter" idx="16" hasCustomPrompt="1"/>
          </p:nvPr>
        </p:nvSpPr>
        <p:spPr bwMode="gray">
          <a:xfrm>
            <a:off x="6240464" y="1484313"/>
            <a:ext cx="5327651" cy="4608512"/>
          </a:xfrm>
        </p:spPr>
        <p:txBody>
          <a:bodyPr/>
          <a:lstStyle>
            <a:lvl1pPr marL="0" marR="0" indent="0" algn="l" defTabSz="685800" rtl="0" eaLnBrk="1" fontAlgn="auto" latinLnBrk="0" hangingPunct="1">
              <a:lnSpc>
                <a:spcPct val="105000"/>
              </a:lnSpc>
              <a:spcBef>
                <a:spcPts val="450"/>
              </a:spcBef>
              <a:spcAft>
                <a:spcPts val="225"/>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685800" rtl="0" eaLnBrk="1" fontAlgn="auto" latinLnBrk="0" hangingPunct="1">
              <a:lnSpc>
                <a:spcPct val="100000"/>
              </a:lnSpc>
              <a:spcBef>
                <a:spcPts val="450"/>
              </a:spcBef>
              <a:spcAft>
                <a:spcPts val="225"/>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5" hasCustomPrompt="1"/>
          </p:nvPr>
        </p:nvSpPr>
        <p:spPr bwMode="gray">
          <a:xfrm>
            <a:off x="623392" y="1484313"/>
            <a:ext cx="5327651" cy="4608512"/>
          </a:xfrm>
        </p:spPr>
        <p:txBody>
          <a:bodyPr/>
          <a:lstStyle>
            <a:lvl1pPr marL="0" marR="0" indent="0" algn="l" defTabSz="685800" rtl="0" eaLnBrk="1" fontAlgn="auto" latinLnBrk="0" hangingPunct="1">
              <a:lnSpc>
                <a:spcPct val="105000"/>
              </a:lnSpc>
              <a:spcBef>
                <a:spcPts val="450"/>
              </a:spcBef>
              <a:spcAft>
                <a:spcPts val="225"/>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685800" rtl="0" eaLnBrk="1" fontAlgn="auto" latinLnBrk="0" hangingPunct="1">
              <a:lnSpc>
                <a:spcPct val="100000"/>
              </a:lnSpc>
              <a:spcBef>
                <a:spcPts val="450"/>
              </a:spcBef>
              <a:spcAft>
                <a:spcPts val="225"/>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13" hasCustomPrompt="1"/>
          </p:nvPr>
        </p:nvSpPr>
        <p:spPr bwMode="gray">
          <a:xfrm>
            <a:off x="623889"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1650" b="0" baseline="0">
                <a:solidFill>
                  <a:schemeClr val="accent1"/>
                </a:solidFill>
              </a:defRPr>
            </a:lvl1pPr>
            <a:lvl2pPr marL="0" indent="0">
              <a:lnSpc>
                <a:spcPct val="100000"/>
              </a:lnSpc>
              <a:spcBef>
                <a:spcPts val="0"/>
              </a:spcBef>
              <a:spcAft>
                <a:spcPts val="0"/>
              </a:spcAft>
              <a:buFont typeface="Arial" panose="020B0604020202020204" pitchFamily="34" charset="0"/>
              <a:buNone/>
              <a:defRPr sz="1650" b="0">
                <a:solidFill>
                  <a:schemeClr val="accent1"/>
                </a:solidFill>
              </a:defRPr>
            </a:lvl2pPr>
            <a:lvl3pPr marL="0" indent="0">
              <a:lnSpc>
                <a:spcPct val="100000"/>
              </a:lnSpc>
              <a:spcBef>
                <a:spcPts val="0"/>
              </a:spcBef>
              <a:spcAft>
                <a:spcPts val="0"/>
              </a:spcAft>
              <a:buNone/>
              <a:defRPr sz="1650" b="0">
                <a:solidFill>
                  <a:schemeClr val="accent1"/>
                </a:solidFill>
              </a:defRPr>
            </a:lvl3pPr>
            <a:lvl4pPr marL="0" indent="0">
              <a:lnSpc>
                <a:spcPct val="100000"/>
              </a:lnSpc>
              <a:spcBef>
                <a:spcPts val="0"/>
              </a:spcBef>
              <a:spcAft>
                <a:spcPts val="0"/>
              </a:spcAft>
              <a:buNone/>
              <a:defRPr sz="1650" b="0">
                <a:solidFill>
                  <a:schemeClr val="accent1"/>
                </a:solidFill>
              </a:defRPr>
            </a:lvl4pPr>
            <a:lvl5pPr marL="0" indent="0">
              <a:lnSpc>
                <a:spcPct val="100000"/>
              </a:lnSpc>
              <a:spcBef>
                <a:spcPts val="0"/>
              </a:spcBef>
              <a:spcAft>
                <a:spcPts val="0"/>
              </a:spcAft>
              <a:buNone/>
              <a:defRPr sz="1650" b="0">
                <a:solidFill>
                  <a:schemeClr val="accent1"/>
                </a:solidFill>
              </a:defRPr>
            </a:lvl5pPr>
            <a:lvl6pPr marL="0" indent="0">
              <a:lnSpc>
                <a:spcPct val="100000"/>
              </a:lnSpc>
              <a:spcBef>
                <a:spcPts val="0"/>
              </a:spcBef>
              <a:spcAft>
                <a:spcPts val="0"/>
              </a:spcAft>
              <a:buNone/>
              <a:defRPr sz="1650" b="0">
                <a:solidFill>
                  <a:schemeClr val="accent1"/>
                </a:solidFill>
              </a:defRPr>
            </a:lvl6pPr>
            <a:lvl7pPr marL="0" indent="0">
              <a:lnSpc>
                <a:spcPct val="100000"/>
              </a:lnSpc>
              <a:spcBef>
                <a:spcPts val="0"/>
              </a:spcBef>
              <a:spcAft>
                <a:spcPts val="0"/>
              </a:spcAft>
              <a:buNone/>
              <a:defRPr sz="1650" b="0">
                <a:solidFill>
                  <a:schemeClr val="accent1"/>
                </a:solidFill>
              </a:defRPr>
            </a:lvl7pPr>
            <a:lvl8pPr marL="0" indent="0">
              <a:lnSpc>
                <a:spcPct val="100000"/>
              </a:lnSpc>
              <a:spcBef>
                <a:spcPts val="0"/>
              </a:spcBef>
              <a:spcAft>
                <a:spcPts val="0"/>
              </a:spcAft>
              <a:buNone/>
              <a:defRPr sz="1650" b="0">
                <a:solidFill>
                  <a:schemeClr val="accent1"/>
                </a:solidFill>
              </a:defRPr>
            </a:lvl8pPr>
            <a:lvl9pPr marL="0" indent="0">
              <a:lnSpc>
                <a:spcPct val="100000"/>
              </a:lnSpc>
              <a:spcBef>
                <a:spcPts val="0"/>
              </a:spcBef>
              <a:spcAft>
                <a:spcPts val="0"/>
              </a:spcAft>
              <a:buNone/>
              <a:defRPr sz="165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9" y="807744"/>
            <a:ext cx="10944225" cy="249008"/>
          </a:xfrm>
        </p:spPr>
        <p:txBody>
          <a:bodyPr/>
          <a:lstStyle/>
          <a:p>
            <a:r>
              <a:rPr lang="en-US" dirty="0"/>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e Content">
    <p:bg bwMode="gray">
      <p:bgRef idx="1001">
        <a:schemeClr val="bg1"/>
      </p:bgRef>
    </p:bg>
    <p:spTree>
      <p:nvGrpSpPr>
        <p:cNvPr id="1" name=""/>
        <p:cNvGrpSpPr/>
        <p:nvPr/>
      </p:nvGrpSpPr>
      <p:grpSpPr>
        <a:xfrm>
          <a:off x="0" y="0"/>
          <a:ext cx="0" cy="0"/>
          <a:chOff x="0" y="0"/>
          <a:chExt cx="0" cy="0"/>
        </a:xfrm>
      </p:grpSpPr>
      <p:sp>
        <p:nvSpPr>
          <p:cNvPr id="8" name="Freeform 7"/>
          <p:cNvSpPr/>
          <p:nvPr userDrawn="1"/>
        </p:nvSpPr>
        <p:spPr bwMode="gray">
          <a:xfrm>
            <a:off x="2" y="6331918"/>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9" name="Freeform 8"/>
          <p:cNvSpPr/>
          <p:nvPr userDrawn="1"/>
        </p:nvSpPr>
        <p:spPr bwMode="gray">
          <a:xfrm>
            <a:off x="1" y="4811183"/>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13" name="Slide Number Placeholder 12"/>
          <p:cNvSpPr>
            <a:spLocks noGrp="1"/>
          </p:cNvSpPr>
          <p:nvPr>
            <p:ph type="sldNum" sz="quarter" idx="16"/>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2" name="Footer Placeholder 11"/>
          <p:cNvSpPr>
            <a:spLocks noGrp="1"/>
          </p:cNvSpPr>
          <p:nvPr>
            <p:ph type="ftr" sz="quarter" idx="15"/>
          </p:nvPr>
        </p:nvSpPr>
        <p:spPr bwMode="gray"/>
        <p:txBody>
          <a:bodyPr/>
          <a:lstStyle/>
          <a:p>
            <a:r>
              <a:rPr lang="en-US" noProof="0"/>
              <a:t>Title of Presentation | DD.MM.YYYY</a:t>
            </a:r>
            <a:endParaRPr lang="en-US" noProof="0" dirty="0"/>
          </a:p>
        </p:txBody>
      </p:sp>
      <p:sp>
        <p:nvSpPr>
          <p:cNvPr id="11" name="Content Placeholder 10"/>
          <p:cNvSpPr>
            <a:spLocks noGrp="1"/>
          </p:cNvSpPr>
          <p:nvPr>
            <p:ph sz="quarter" idx="14" hasCustomPrompt="1"/>
          </p:nvPr>
        </p:nvSpPr>
        <p:spPr bwMode="gray">
          <a:xfrm>
            <a:off x="623889" y="1484315"/>
            <a:ext cx="10944227" cy="4608511"/>
          </a:xfrm>
        </p:spPr>
        <p:txBody>
          <a:bodyPr/>
          <a:lstStyle>
            <a:lvl1pPr marL="0" marR="0" indent="0" algn="l" defTabSz="685800" rtl="0" eaLnBrk="1" fontAlgn="auto" latinLnBrk="0" hangingPunct="1">
              <a:lnSpc>
                <a:spcPct val="100000"/>
              </a:lnSpc>
              <a:spcBef>
                <a:spcPts val="450"/>
              </a:spcBef>
              <a:spcAft>
                <a:spcPts val="225"/>
              </a:spcAft>
              <a:buClrTx/>
              <a:buSzTx/>
              <a:buFont typeface="Arial" panose="020B0604020202020204" pitchFamily="34" charset="0"/>
              <a:buNone/>
              <a:tabLst/>
              <a:defRPr/>
            </a:lvl1pPr>
            <a:lvl5pPr>
              <a:defRPr/>
            </a:lvl5pPr>
          </a:lstStyle>
          <a:p>
            <a:pPr marL="0" marR="0" lvl="0" indent="0" algn="l" defTabSz="685800" rtl="0" eaLnBrk="1" fontAlgn="auto" latinLnBrk="0" hangingPunct="1">
              <a:lnSpc>
                <a:spcPct val="100000"/>
              </a:lnSpc>
              <a:spcBef>
                <a:spcPts val="450"/>
              </a:spcBef>
              <a:spcAft>
                <a:spcPts val="225"/>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7"/>
          <p:cNvSpPr>
            <a:spLocks noGrp="1"/>
          </p:cNvSpPr>
          <p:nvPr>
            <p:ph type="body" sz="quarter" idx="13" hasCustomPrompt="1"/>
          </p:nvPr>
        </p:nvSpPr>
        <p:spPr bwMode="gray">
          <a:xfrm>
            <a:off x="623889"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1650" b="0" baseline="0">
                <a:solidFill>
                  <a:schemeClr val="accent1"/>
                </a:solidFill>
              </a:defRPr>
            </a:lvl1pPr>
            <a:lvl2pPr marL="0" indent="0">
              <a:lnSpc>
                <a:spcPct val="100000"/>
              </a:lnSpc>
              <a:spcBef>
                <a:spcPts val="0"/>
              </a:spcBef>
              <a:spcAft>
                <a:spcPts val="0"/>
              </a:spcAft>
              <a:buFont typeface="Arial" panose="020B0604020202020204" pitchFamily="34" charset="0"/>
              <a:buNone/>
              <a:defRPr sz="1650" b="0">
                <a:solidFill>
                  <a:schemeClr val="accent1"/>
                </a:solidFill>
              </a:defRPr>
            </a:lvl2pPr>
            <a:lvl3pPr marL="0" indent="0">
              <a:lnSpc>
                <a:spcPct val="100000"/>
              </a:lnSpc>
              <a:spcBef>
                <a:spcPts val="0"/>
              </a:spcBef>
              <a:spcAft>
                <a:spcPts val="0"/>
              </a:spcAft>
              <a:buNone/>
              <a:defRPr sz="1650" b="0">
                <a:solidFill>
                  <a:schemeClr val="accent1"/>
                </a:solidFill>
              </a:defRPr>
            </a:lvl3pPr>
            <a:lvl4pPr marL="0" indent="0">
              <a:lnSpc>
                <a:spcPct val="100000"/>
              </a:lnSpc>
              <a:spcBef>
                <a:spcPts val="0"/>
              </a:spcBef>
              <a:spcAft>
                <a:spcPts val="0"/>
              </a:spcAft>
              <a:buNone/>
              <a:defRPr sz="1650" b="0">
                <a:solidFill>
                  <a:schemeClr val="accent1"/>
                </a:solidFill>
              </a:defRPr>
            </a:lvl4pPr>
            <a:lvl5pPr marL="0" indent="0">
              <a:lnSpc>
                <a:spcPct val="100000"/>
              </a:lnSpc>
              <a:spcBef>
                <a:spcPts val="0"/>
              </a:spcBef>
              <a:spcAft>
                <a:spcPts val="0"/>
              </a:spcAft>
              <a:buNone/>
              <a:defRPr sz="1650" b="0">
                <a:solidFill>
                  <a:schemeClr val="accent1"/>
                </a:solidFill>
              </a:defRPr>
            </a:lvl5pPr>
            <a:lvl6pPr marL="0" indent="0">
              <a:lnSpc>
                <a:spcPct val="100000"/>
              </a:lnSpc>
              <a:spcBef>
                <a:spcPts val="0"/>
              </a:spcBef>
              <a:spcAft>
                <a:spcPts val="0"/>
              </a:spcAft>
              <a:buNone/>
              <a:defRPr sz="1650" b="0">
                <a:solidFill>
                  <a:schemeClr val="accent1"/>
                </a:solidFill>
              </a:defRPr>
            </a:lvl6pPr>
            <a:lvl7pPr marL="0" indent="0">
              <a:lnSpc>
                <a:spcPct val="100000"/>
              </a:lnSpc>
              <a:spcBef>
                <a:spcPts val="0"/>
              </a:spcBef>
              <a:spcAft>
                <a:spcPts val="0"/>
              </a:spcAft>
              <a:buNone/>
              <a:defRPr sz="1650" b="0">
                <a:solidFill>
                  <a:schemeClr val="accent1"/>
                </a:solidFill>
              </a:defRPr>
            </a:lvl7pPr>
            <a:lvl8pPr marL="0" indent="0">
              <a:lnSpc>
                <a:spcPct val="100000"/>
              </a:lnSpc>
              <a:spcBef>
                <a:spcPts val="0"/>
              </a:spcBef>
              <a:spcAft>
                <a:spcPts val="0"/>
              </a:spcAft>
              <a:buNone/>
              <a:defRPr sz="1650" b="0">
                <a:solidFill>
                  <a:schemeClr val="accent1"/>
                </a:solidFill>
              </a:defRPr>
            </a:lvl8pPr>
            <a:lvl9pPr marL="0" indent="0">
              <a:lnSpc>
                <a:spcPct val="100000"/>
              </a:lnSpc>
              <a:spcBef>
                <a:spcPts val="0"/>
              </a:spcBef>
              <a:spcAft>
                <a:spcPts val="0"/>
              </a:spcAft>
              <a:buNone/>
              <a:defRPr sz="165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9" y="807744"/>
            <a:ext cx="10944225" cy="249008"/>
          </a:xfrm>
        </p:spPr>
        <p:txBody>
          <a:bodyPr/>
          <a:lstStyle>
            <a:lvl1pPr>
              <a:defRPr/>
            </a:lvl1pPr>
          </a:lstStyle>
          <a:p>
            <a:r>
              <a:rPr lang="en-US" dirty="0"/>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8" name="Freeform 7"/>
          <p:cNvSpPr/>
          <p:nvPr userDrawn="1"/>
        </p:nvSpPr>
        <p:spPr bwMode="gray">
          <a:xfrm>
            <a:off x="2" y="6331918"/>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9" name="Freeform 8"/>
          <p:cNvSpPr/>
          <p:nvPr userDrawn="1"/>
        </p:nvSpPr>
        <p:spPr bwMode="gray">
          <a:xfrm>
            <a:off x="1" y="4811183"/>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12" name="Footer Placeholder 11"/>
          <p:cNvSpPr>
            <a:spLocks noGrp="1"/>
          </p:cNvSpPr>
          <p:nvPr>
            <p:ph type="ftr" sz="quarter" idx="16"/>
          </p:nvPr>
        </p:nvSpPr>
        <p:spPr bwMode="gray"/>
        <p:txBody>
          <a:bodyPr/>
          <a:lstStyle/>
          <a:p>
            <a:r>
              <a:rPr lang="en-US" noProof="0"/>
              <a:t>Title of Presentation | DD.MM.YYYY</a:t>
            </a:r>
            <a:endParaRPr lang="en-US" noProof="0" dirty="0"/>
          </a:p>
        </p:txBody>
      </p:sp>
      <p:sp>
        <p:nvSpPr>
          <p:cNvPr id="13" name="Slide Number Placeholder 12"/>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5" name="Content Placeholder 14"/>
          <p:cNvSpPr>
            <a:spLocks noGrp="1"/>
          </p:cNvSpPr>
          <p:nvPr>
            <p:ph sz="quarter" idx="18" hasCustomPrompt="1"/>
          </p:nvPr>
        </p:nvSpPr>
        <p:spPr bwMode="gray">
          <a:xfrm>
            <a:off x="624845" y="1484314"/>
            <a:ext cx="3454931" cy="4608512"/>
          </a:xfrm>
        </p:spPr>
        <p:txBody>
          <a:bodyPr/>
          <a:lstStyle>
            <a:lvl1pPr marL="0" marR="0" indent="0" algn="l" defTabSz="685800" rtl="0" eaLnBrk="1" fontAlgn="auto" latinLnBrk="0" hangingPunct="1">
              <a:lnSpc>
                <a:spcPct val="105000"/>
              </a:lnSpc>
              <a:spcBef>
                <a:spcPts val="450"/>
              </a:spcBef>
              <a:spcAft>
                <a:spcPts val="225"/>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685800" rtl="0" eaLnBrk="1" fontAlgn="auto" latinLnBrk="0" hangingPunct="1">
              <a:lnSpc>
                <a:spcPct val="100000"/>
              </a:lnSpc>
              <a:spcBef>
                <a:spcPts val="450"/>
              </a:spcBef>
              <a:spcAft>
                <a:spcPts val="225"/>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16"/>
          <p:cNvSpPr>
            <a:spLocks noGrp="1"/>
          </p:cNvSpPr>
          <p:nvPr>
            <p:ph sz="quarter" idx="19" hasCustomPrompt="1"/>
          </p:nvPr>
        </p:nvSpPr>
        <p:spPr bwMode="gray">
          <a:xfrm>
            <a:off x="4368803" y="1484314"/>
            <a:ext cx="3455987" cy="4608512"/>
          </a:xfrm>
        </p:spPr>
        <p:txBody>
          <a:bodyPr/>
          <a:lstStyle>
            <a:lvl1pPr marL="0" marR="0" indent="0" algn="l" defTabSz="685800" rtl="0" eaLnBrk="1" fontAlgn="auto" latinLnBrk="0" hangingPunct="1">
              <a:lnSpc>
                <a:spcPct val="105000"/>
              </a:lnSpc>
              <a:spcBef>
                <a:spcPts val="450"/>
              </a:spcBef>
              <a:spcAft>
                <a:spcPts val="225"/>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685800" rtl="0" eaLnBrk="1" fontAlgn="auto" latinLnBrk="0" hangingPunct="1">
              <a:lnSpc>
                <a:spcPct val="100000"/>
              </a:lnSpc>
              <a:spcBef>
                <a:spcPts val="450"/>
              </a:spcBef>
              <a:spcAft>
                <a:spcPts val="225"/>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8"/>
          <p:cNvSpPr>
            <a:spLocks noGrp="1"/>
          </p:cNvSpPr>
          <p:nvPr>
            <p:ph sz="quarter" idx="20" hasCustomPrompt="1"/>
          </p:nvPr>
        </p:nvSpPr>
        <p:spPr bwMode="gray">
          <a:xfrm>
            <a:off x="8112000" y="1484313"/>
            <a:ext cx="3456000" cy="4608512"/>
          </a:xfrm>
        </p:spPr>
        <p:txBody>
          <a:bodyPr/>
          <a:lstStyle>
            <a:lvl1pPr marL="0" marR="0" indent="0" algn="l" defTabSz="685800" rtl="0" eaLnBrk="1" fontAlgn="auto" latinLnBrk="0" hangingPunct="1">
              <a:lnSpc>
                <a:spcPct val="105000"/>
              </a:lnSpc>
              <a:spcBef>
                <a:spcPts val="450"/>
              </a:spcBef>
              <a:spcAft>
                <a:spcPts val="225"/>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685800" rtl="0" eaLnBrk="1" fontAlgn="auto" latinLnBrk="0" hangingPunct="1">
              <a:lnSpc>
                <a:spcPct val="100000"/>
              </a:lnSpc>
              <a:spcBef>
                <a:spcPts val="450"/>
              </a:spcBef>
              <a:spcAft>
                <a:spcPts val="225"/>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13" hasCustomPrompt="1"/>
          </p:nvPr>
        </p:nvSpPr>
        <p:spPr bwMode="gray">
          <a:xfrm>
            <a:off x="623889"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1650" b="0" baseline="0">
                <a:solidFill>
                  <a:schemeClr val="accent1"/>
                </a:solidFill>
              </a:defRPr>
            </a:lvl1pPr>
            <a:lvl2pPr marL="0" indent="0">
              <a:lnSpc>
                <a:spcPct val="100000"/>
              </a:lnSpc>
              <a:spcBef>
                <a:spcPts val="0"/>
              </a:spcBef>
              <a:spcAft>
                <a:spcPts val="0"/>
              </a:spcAft>
              <a:buFont typeface="Arial" panose="020B0604020202020204" pitchFamily="34" charset="0"/>
              <a:buNone/>
              <a:defRPr sz="1650" b="0">
                <a:solidFill>
                  <a:schemeClr val="accent1"/>
                </a:solidFill>
              </a:defRPr>
            </a:lvl2pPr>
            <a:lvl3pPr marL="0" indent="0">
              <a:lnSpc>
                <a:spcPct val="100000"/>
              </a:lnSpc>
              <a:spcBef>
                <a:spcPts val="0"/>
              </a:spcBef>
              <a:spcAft>
                <a:spcPts val="0"/>
              </a:spcAft>
              <a:buNone/>
              <a:defRPr sz="1650" b="0">
                <a:solidFill>
                  <a:schemeClr val="accent1"/>
                </a:solidFill>
              </a:defRPr>
            </a:lvl3pPr>
            <a:lvl4pPr marL="0" indent="0">
              <a:lnSpc>
                <a:spcPct val="100000"/>
              </a:lnSpc>
              <a:spcBef>
                <a:spcPts val="0"/>
              </a:spcBef>
              <a:spcAft>
                <a:spcPts val="0"/>
              </a:spcAft>
              <a:buNone/>
              <a:defRPr sz="1650" b="0">
                <a:solidFill>
                  <a:schemeClr val="accent1"/>
                </a:solidFill>
              </a:defRPr>
            </a:lvl4pPr>
            <a:lvl5pPr marL="0" indent="0">
              <a:lnSpc>
                <a:spcPct val="100000"/>
              </a:lnSpc>
              <a:spcBef>
                <a:spcPts val="0"/>
              </a:spcBef>
              <a:spcAft>
                <a:spcPts val="0"/>
              </a:spcAft>
              <a:buNone/>
              <a:defRPr sz="1650" b="0">
                <a:solidFill>
                  <a:schemeClr val="accent1"/>
                </a:solidFill>
              </a:defRPr>
            </a:lvl5pPr>
            <a:lvl6pPr marL="0" indent="0">
              <a:lnSpc>
                <a:spcPct val="100000"/>
              </a:lnSpc>
              <a:spcBef>
                <a:spcPts val="0"/>
              </a:spcBef>
              <a:spcAft>
                <a:spcPts val="0"/>
              </a:spcAft>
              <a:buNone/>
              <a:defRPr sz="1650" b="0">
                <a:solidFill>
                  <a:schemeClr val="accent1"/>
                </a:solidFill>
              </a:defRPr>
            </a:lvl6pPr>
            <a:lvl7pPr marL="0" indent="0">
              <a:lnSpc>
                <a:spcPct val="100000"/>
              </a:lnSpc>
              <a:spcBef>
                <a:spcPts val="0"/>
              </a:spcBef>
              <a:spcAft>
                <a:spcPts val="0"/>
              </a:spcAft>
              <a:buNone/>
              <a:defRPr sz="1650" b="0">
                <a:solidFill>
                  <a:schemeClr val="accent1"/>
                </a:solidFill>
              </a:defRPr>
            </a:lvl7pPr>
            <a:lvl8pPr marL="0" indent="0">
              <a:lnSpc>
                <a:spcPct val="100000"/>
              </a:lnSpc>
              <a:spcBef>
                <a:spcPts val="0"/>
              </a:spcBef>
              <a:spcAft>
                <a:spcPts val="0"/>
              </a:spcAft>
              <a:buNone/>
              <a:defRPr sz="1650" b="0">
                <a:solidFill>
                  <a:schemeClr val="accent1"/>
                </a:solidFill>
              </a:defRPr>
            </a:lvl8pPr>
            <a:lvl9pPr marL="0" indent="0">
              <a:lnSpc>
                <a:spcPct val="100000"/>
              </a:lnSpc>
              <a:spcBef>
                <a:spcPts val="0"/>
              </a:spcBef>
              <a:spcAft>
                <a:spcPts val="0"/>
              </a:spcAft>
              <a:buNone/>
              <a:defRPr sz="165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9" y="807744"/>
            <a:ext cx="10944225" cy="249008"/>
          </a:xfrm>
        </p:spPr>
        <p:txBody>
          <a:bodyPr/>
          <a:lstStyle/>
          <a:p>
            <a:r>
              <a:rPr lang="en-US" dirty="0"/>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8" name="Freeform 7"/>
          <p:cNvSpPr/>
          <p:nvPr userDrawn="1"/>
        </p:nvSpPr>
        <p:spPr bwMode="gray">
          <a:xfrm>
            <a:off x="2" y="6331918"/>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9" name="Freeform 8"/>
          <p:cNvSpPr/>
          <p:nvPr userDrawn="1"/>
        </p:nvSpPr>
        <p:spPr bwMode="gray">
          <a:xfrm>
            <a:off x="1" y="4811183"/>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12" name="Footer Placeholder 11"/>
          <p:cNvSpPr>
            <a:spLocks noGrp="1"/>
          </p:cNvSpPr>
          <p:nvPr>
            <p:ph type="ftr" sz="quarter" idx="17"/>
          </p:nvPr>
        </p:nvSpPr>
        <p:spPr bwMode="gray"/>
        <p:txBody>
          <a:bodyPr/>
          <a:lstStyle/>
          <a:p>
            <a:r>
              <a:rPr lang="en-US" noProof="0"/>
              <a:t>Title of Presentation | DD.MM.YYYY</a:t>
            </a:r>
            <a:endParaRPr lang="en-US" noProof="0" dirty="0"/>
          </a:p>
        </p:txBody>
      </p:sp>
      <p:sp>
        <p:nvSpPr>
          <p:cNvPr id="14" name="Slide Number Placeholder 13"/>
          <p:cNvSpPr>
            <a:spLocks noGrp="1"/>
          </p:cNvSpPr>
          <p:nvPr>
            <p:ph type="sldNum" sz="quarter" idx="18"/>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6" name="Content Placeholder 15"/>
          <p:cNvSpPr>
            <a:spLocks noGrp="1"/>
          </p:cNvSpPr>
          <p:nvPr>
            <p:ph sz="quarter" idx="19" hasCustomPrompt="1"/>
          </p:nvPr>
        </p:nvSpPr>
        <p:spPr bwMode="gray">
          <a:xfrm>
            <a:off x="624126" y="1484314"/>
            <a:ext cx="2519125" cy="4608512"/>
          </a:xfrm>
        </p:spPr>
        <p:txBody>
          <a:bodyPr/>
          <a:lstStyle>
            <a:lvl1pPr marL="0" marR="0" indent="0" algn="l" defTabSz="685800" rtl="0" eaLnBrk="1" fontAlgn="auto" latinLnBrk="0" hangingPunct="1">
              <a:lnSpc>
                <a:spcPct val="105000"/>
              </a:lnSpc>
              <a:spcBef>
                <a:spcPts val="450"/>
              </a:spcBef>
              <a:spcAft>
                <a:spcPts val="225"/>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685800" rtl="0" eaLnBrk="1" fontAlgn="auto" latinLnBrk="0" hangingPunct="1">
              <a:lnSpc>
                <a:spcPct val="100000"/>
              </a:lnSpc>
              <a:spcBef>
                <a:spcPts val="450"/>
              </a:spcBef>
              <a:spcAft>
                <a:spcPts val="225"/>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a:t>
            </a:r>
            <a:br>
              <a:rPr lang="en-US" dirty="0"/>
            </a:br>
            <a:r>
              <a:rPr lang="en-US" dirty="0"/>
              <a:t>for </a:t>
            </a:r>
            <a:r>
              <a:rPr lang="en-US" dirty="0" err="1"/>
              <a:t>copytext</a:t>
            </a:r>
            <a:r>
              <a:rPr lang="en-US" dirty="0"/>
              <a:t> or bullet levels. </a:t>
            </a:r>
          </a:p>
          <a:p>
            <a:pPr marL="0" marR="0" lvl="0" indent="0" algn="l" defTabSz="685800" rtl="0" eaLnBrk="1" fontAlgn="auto" latinLnBrk="0" hangingPunct="1">
              <a:lnSpc>
                <a:spcPct val="100000"/>
              </a:lnSpc>
              <a:spcBef>
                <a:spcPts val="450"/>
              </a:spcBef>
              <a:spcAft>
                <a:spcPts val="225"/>
              </a:spcAft>
              <a:buClrTx/>
              <a:buSzTx/>
              <a:buFont typeface="Arial" panose="020B0604020202020204" pitchFamily="34" charset="0"/>
              <a:buNone/>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7"/>
          <p:cNvSpPr>
            <a:spLocks noGrp="1"/>
          </p:cNvSpPr>
          <p:nvPr>
            <p:ph sz="quarter" idx="20" hasCustomPrompt="1"/>
          </p:nvPr>
        </p:nvSpPr>
        <p:spPr bwMode="gray">
          <a:xfrm>
            <a:off x="3432161" y="1484314"/>
            <a:ext cx="2519825" cy="4608512"/>
          </a:xfrm>
        </p:spPr>
        <p:txBody>
          <a:bodyPr/>
          <a:lstStyle>
            <a:lvl1pPr marL="0" marR="0" indent="0" algn="l" defTabSz="685800" rtl="0" eaLnBrk="1" fontAlgn="auto" latinLnBrk="0" hangingPunct="1">
              <a:lnSpc>
                <a:spcPct val="105000"/>
              </a:lnSpc>
              <a:spcBef>
                <a:spcPts val="450"/>
              </a:spcBef>
              <a:spcAft>
                <a:spcPts val="225"/>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685800" rtl="0" eaLnBrk="1" fontAlgn="auto" latinLnBrk="0" hangingPunct="1">
              <a:lnSpc>
                <a:spcPct val="100000"/>
              </a:lnSpc>
              <a:spcBef>
                <a:spcPts val="450"/>
              </a:spcBef>
              <a:spcAft>
                <a:spcPts val="225"/>
              </a:spcAft>
              <a:buClrTx/>
              <a:buSzTx/>
              <a:buFont typeface="Arial" panose="020B0604020202020204" pitchFamily="34" charset="0"/>
              <a:buNone/>
              <a:tabLst/>
              <a:defRPr/>
            </a:pPr>
            <a:r>
              <a:rPr lang="en-US" dirty="0"/>
              <a:t>Or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9"/>
          <p:cNvSpPr>
            <a:spLocks noGrp="1"/>
          </p:cNvSpPr>
          <p:nvPr>
            <p:ph sz="quarter" idx="21" hasCustomPrompt="1"/>
          </p:nvPr>
        </p:nvSpPr>
        <p:spPr bwMode="gray">
          <a:xfrm>
            <a:off x="6240001" y="1484313"/>
            <a:ext cx="2519825" cy="4608512"/>
          </a:xfrm>
        </p:spPr>
        <p:txBody>
          <a:bodyPr/>
          <a:lstStyle>
            <a:lvl1pPr marL="0" marR="0" indent="0" algn="l" defTabSz="685800" rtl="0" eaLnBrk="1" fontAlgn="auto" latinLnBrk="0" hangingPunct="1">
              <a:lnSpc>
                <a:spcPct val="105000"/>
              </a:lnSpc>
              <a:spcBef>
                <a:spcPts val="450"/>
              </a:spcBef>
              <a:spcAft>
                <a:spcPts val="225"/>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685800" rtl="0" eaLnBrk="1" fontAlgn="auto" latinLnBrk="0" hangingPunct="1">
              <a:lnSpc>
                <a:spcPct val="100000"/>
              </a:lnSpc>
              <a:spcBef>
                <a:spcPts val="450"/>
              </a:spcBef>
              <a:spcAft>
                <a:spcPts val="225"/>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a:t>
            </a:r>
            <a:br>
              <a:rPr lang="en-US" dirty="0"/>
            </a:br>
            <a:r>
              <a:rPr lang="en-US" dirty="0"/>
              <a:t>for </a:t>
            </a:r>
            <a:r>
              <a:rPr lang="en-US" dirty="0" err="1"/>
              <a:t>copytext</a:t>
            </a:r>
            <a:r>
              <a:rPr lang="en-US" dirty="0"/>
              <a:t> or bullet levels. </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1"/>
          <p:cNvSpPr>
            <a:spLocks noGrp="1"/>
          </p:cNvSpPr>
          <p:nvPr>
            <p:ph sz="quarter" idx="22" hasCustomPrompt="1"/>
          </p:nvPr>
        </p:nvSpPr>
        <p:spPr bwMode="gray">
          <a:xfrm>
            <a:off x="9048751" y="1484313"/>
            <a:ext cx="2518051" cy="4608512"/>
          </a:xfrm>
        </p:spPr>
        <p:txBody>
          <a:bodyPr/>
          <a:lstStyle>
            <a:lvl1pPr marL="0" marR="0" indent="0" algn="l" defTabSz="685800" rtl="0" eaLnBrk="1" fontAlgn="auto" latinLnBrk="0" hangingPunct="1">
              <a:lnSpc>
                <a:spcPct val="105000"/>
              </a:lnSpc>
              <a:spcBef>
                <a:spcPts val="450"/>
              </a:spcBef>
              <a:spcAft>
                <a:spcPts val="225"/>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685800" rtl="0" eaLnBrk="1" fontAlgn="auto" latinLnBrk="0" hangingPunct="1">
              <a:lnSpc>
                <a:spcPct val="100000"/>
              </a:lnSpc>
              <a:spcBef>
                <a:spcPts val="450"/>
              </a:spcBef>
              <a:spcAft>
                <a:spcPts val="225"/>
              </a:spcAft>
              <a:buClrTx/>
              <a:buSzTx/>
              <a:buFont typeface="Arial" panose="020B0604020202020204" pitchFamily="34" charset="0"/>
              <a:buNone/>
              <a:tabLst/>
              <a:defRPr/>
            </a:pPr>
            <a:r>
              <a:rPr lang="en-US" dirty="0"/>
              <a:t>Or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7"/>
          <p:cNvSpPr>
            <a:spLocks noGrp="1"/>
          </p:cNvSpPr>
          <p:nvPr>
            <p:ph type="body" sz="quarter" idx="13" hasCustomPrompt="1"/>
          </p:nvPr>
        </p:nvSpPr>
        <p:spPr bwMode="gray">
          <a:xfrm>
            <a:off x="623889"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1650" b="0" baseline="0">
                <a:solidFill>
                  <a:schemeClr val="accent1"/>
                </a:solidFill>
              </a:defRPr>
            </a:lvl1pPr>
            <a:lvl2pPr marL="0" indent="0">
              <a:lnSpc>
                <a:spcPct val="100000"/>
              </a:lnSpc>
              <a:spcBef>
                <a:spcPts val="0"/>
              </a:spcBef>
              <a:spcAft>
                <a:spcPts val="0"/>
              </a:spcAft>
              <a:buFont typeface="Arial" panose="020B0604020202020204" pitchFamily="34" charset="0"/>
              <a:buNone/>
              <a:defRPr sz="1650" b="0">
                <a:solidFill>
                  <a:schemeClr val="accent1"/>
                </a:solidFill>
              </a:defRPr>
            </a:lvl2pPr>
            <a:lvl3pPr marL="0" indent="0">
              <a:lnSpc>
                <a:spcPct val="100000"/>
              </a:lnSpc>
              <a:spcBef>
                <a:spcPts val="0"/>
              </a:spcBef>
              <a:spcAft>
                <a:spcPts val="0"/>
              </a:spcAft>
              <a:buNone/>
              <a:defRPr sz="1650" b="0">
                <a:solidFill>
                  <a:schemeClr val="accent1"/>
                </a:solidFill>
              </a:defRPr>
            </a:lvl3pPr>
            <a:lvl4pPr marL="0" indent="0">
              <a:lnSpc>
                <a:spcPct val="100000"/>
              </a:lnSpc>
              <a:spcBef>
                <a:spcPts val="0"/>
              </a:spcBef>
              <a:spcAft>
                <a:spcPts val="0"/>
              </a:spcAft>
              <a:buNone/>
              <a:defRPr sz="1650" b="0">
                <a:solidFill>
                  <a:schemeClr val="accent1"/>
                </a:solidFill>
              </a:defRPr>
            </a:lvl4pPr>
            <a:lvl5pPr marL="0" indent="0">
              <a:lnSpc>
                <a:spcPct val="100000"/>
              </a:lnSpc>
              <a:spcBef>
                <a:spcPts val="0"/>
              </a:spcBef>
              <a:spcAft>
                <a:spcPts val="0"/>
              </a:spcAft>
              <a:buNone/>
              <a:defRPr sz="1650" b="0">
                <a:solidFill>
                  <a:schemeClr val="accent1"/>
                </a:solidFill>
              </a:defRPr>
            </a:lvl5pPr>
            <a:lvl6pPr marL="0" indent="0">
              <a:lnSpc>
                <a:spcPct val="100000"/>
              </a:lnSpc>
              <a:spcBef>
                <a:spcPts val="0"/>
              </a:spcBef>
              <a:spcAft>
                <a:spcPts val="0"/>
              </a:spcAft>
              <a:buNone/>
              <a:defRPr sz="1650" b="0">
                <a:solidFill>
                  <a:schemeClr val="accent1"/>
                </a:solidFill>
              </a:defRPr>
            </a:lvl6pPr>
            <a:lvl7pPr marL="0" indent="0">
              <a:lnSpc>
                <a:spcPct val="100000"/>
              </a:lnSpc>
              <a:spcBef>
                <a:spcPts val="0"/>
              </a:spcBef>
              <a:spcAft>
                <a:spcPts val="0"/>
              </a:spcAft>
              <a:buNone/>
              <a:defRPr sz="1650" b="0">
                <a:solidFill>
                  <a:schemeClr val="accent1"/>
                </a:solidFill>
              </a:defRPr>
            </a:lvl7pPr>
            <a:lvl8pPr marL="0" indent="0">
              <a:lnSpc>
                <a:spcPct val="100000"/>
              </a:lnSpc>
              <a:spcBef>
                <a:spcPts val="0"/>
              </a:spcBef>
              <a:spcAft>
                <a:spcPts val="0"/>
              </a:spcAft>
              <a:buNone/>
              <a:defRPr sz="1650" b="0">
                <a:solidFill>
                  <a:schemeClr val="accent1"/>
                </a:solidFill>
              </a:defRPr>
            </a:lvl8pPr>
            <a:lvl9pPr marL="0" indent="0">
              <a:lnSpc>
                <a:spcPct val="100000"/>
              </a:lnSpc>
              <a:spcBef>
                <a:spcPts val="0"/>
              </a:spcBef>
              <a:spcAft>
                <a:spcPts val="0"/>
              </a:spcAft>
              <a:buNone/>
              <a:defRPr sz="165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9" y="807744"/>
            <a:ext cx="10944225" cy="249008"/>
          </a:xfrm>
        </p:spPr>
        <p:txBody>
          <a:bodyPr/>
          <a:lstStyle/>
          <a:p>
            <a:r>
              <a:rPr lang="en-US" dirty="0"/>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Notice">
    <p:spTree>
      <p:nvGrpSpPr>
        <p:cNvPr id="1" name=""/>
        <p:cNvGrpSpPr/>
        <p:nvPr/>
      </p:nvGrpSpPr>
      <p:grpSpPr>
        <a:xfrm>
          <a:off x="0" y="0"/>
          <a:ext cx="0" cy="0"/>
          <a:chOff x="0" y="0"/>
          <a:chExt cx="0" cy="0"/>
        </a:xfrm>
      </p:grpSpPr>
      <p:sp>
        <p:nvSpPr>
          <p:cNvPr id="8" name="Freeform 7"/>
          <p:cNvSpPr/>
          <p:nvPr userDrawn="1"/>
        </p:nvSpPr>
        <p:spPr bwMode="gray">
          <a:xfrm>
            <a:off x="2" y="6331918"/>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9" name="Freeform 8"/>
          <p:cNvSpPr/>
          <p:nvPr userDrawn="1"/>
        </p:nvSpPr>
        <p:spPr bwMode="gray">
          <a:xfrm>
            <a:off x="1" y="4811183"/>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6" name="Footer Placeholder 5"/>
          <p:cNvSpPr>
            <a:spLocks noGrp="1"/>
          </p:cNvSpPr>
          <p:nvPr>
            <p:ph type="ftr" sz="quarter" idx="10"/>
          </p:nvPr>
        </p:nvSpPr>
        <p:spPr bwMode="gray"/>
        <p:txBody>
          <a:bodyPr/>
          <a:lstStyle/>
          <a:p>
            <a:r>
              <a:rPr lang="en-US" noProof="0"/>
              <a:t>Title of Presentation | DD.MM.YYYY</a:t>
            </a:r>
            <a:endParaRPr lang="en-US" noProof="0" dirty="0"/>
          </a:p>
        </p:txBody>
      </p:sp>
      <p:sp>
        <p:nvSpPr>
          <p:cNvPr id="12" name="Slide Number Placeholder 11"/>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5" name="Content Placeholder 14"/>
          <p:cNvSpPr>
            <a:spLocks noGrp="1"/>
          </p:cNvSpPr>
          <p:nvPr>
            <p:ph sz="quarter" idx="14" hasCustomPrompt="1"/>
          </p:nvPr>
        </p:nvSpPr>
        <p:spPr bwMode="gray">
          <a:xfrm>
            <a:off x="623888" y="1484314"/>
            <a:ext cx="8135936" cy="4608517"/>
          </a:xfrm>
        </p:spPr>
        <p:txBody>
          <a:bodyPr/>
          <a:lstStyle>
            <a:lvl1pPr>
              <a:lnSpc>
                <a:spcPct val="105000"/>
              </a:lnSpc>
              <a:defRPr baseline="0"/>
            </a:lvl1pPr>
            <a:lvl2pPr>
              <a:lnSpc>
                <a:spcPct val="105000"/>
              </a:lnSpc>
              <a:defRPr/>
            </a:lvl2pPr>
            <a:lvl3pPr>
              <a:lnSpc>
                <a:spcPct val="105000"/>
              </a:lnSpc>
              <a:defRPr/>
            </a:lvl3pPr>
            <a:lvl4pPr>
              <a:lnSpc>
                <a:spcPct val="105000"/>
              </a:lnSpc>
              <a:defRPr/>
            </a:lvl4pPr>
            <a:lvl5pPr>
              <a:lnSpc>
                <a:spcPct val="105000"/>
              </a:lnSpc>
              <a:defRPr/>
            </a:lvl5p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16"/>
          <p:cNvSpPr>
            <a:spLocks noGrp="1"/>
          </p:cNvSpPr>
          <p:nvPr>
            <p:ph sz="quarter" idx="15" hasCustomPrompt="1"/>
          </p:nvPr>
        </p:nvSpPr>
        <p:spPr bwMode="gray">
          <a:xfrm>
            <a:off x="9048751" y="1484313"/>
            <a:ext cx="2518051" cy="4608512"/>
          </a:xfrm>
        </p:spPr>
        <p:txBody>
          <a:bodyPr>
            <a:noAutofit/>
          </a:bodyPr>
          <a:lstStyle>
            <a:lvl1pPr>
              <a:lnSpc>
                <a:spcPct val="105000"/>
              </a:lnSpc>
              <a:defRPr sz="900" baseline="0">
                <a:solidFill>
                  <a:schemeClr val="accent1"/>
                </a:solidFill>
              </a:defRPr>
            </a:lvl1pPr>
            <a:lvl2pPr>
              <a:lnSpc>
                <a:spcPct val="105000"/>
              </a:lnSpc>
              <a:defRPr sz="900">
                <a:solidFill>
                  <a:schemeClr val="accent1"/>
                </a:solidFill>
              </a:defRPr>
            </a:lvl2pPr>
            <a:lvl3pPr>
              <a:lnSpc>
                <a:spcPct val="105000"/>
              </a:lnSpc>
              <a:defRPr sz="900">
                <a:solidFill>
                  <a:schemeClr val="accent1"/>
                </a:solidFill>
              </a:defRPr>
            </a:lvl3pPr>
            <a:lvl4pPr>
              <a:lnSpc>
                <a:spcPct val="105000"/>
              </a:lnSpc>
              <a:defRPr sz="900">
                <a:solidFill>
                  <a:schemeClr val="accent1"/>
                </a:solidFill>
              </a:defRPr>
            </a:lvl4pPr>
            <a:lvl5pPr>
              <a:lnSpc>
                <a:spcPct val="105000"/>
              </a:lnSpc>
              <a:defRPr sz="900">
                <a:solidFill>
                  <a:schemeClr val="accent1"/>
                </a:solidFill>
              </a:defRPr>
            </a:lvl5pPr>
            <a:lvl6pPr>
              <a:defRPr sz="900">
                <a:solidFill>
                  <a:schemeClr val="accent1"/>
                </a:solidFill>
              </a:defRPr>
            </a:lvl6pPr>
            <a:lvl7pPr>
              <a:defRPr sz="900">
                <a:solidFill>
                  <a:schemeClr val="accent1"/>
                </a:solidFill>
              </a:defRPr>
            </a:lvl7pPr>
            <a:lvl8pPr>
              <a:defRPr sz="900">
                <a:solidFill>
                  <a:schemeClr val="accent1"/>
                </a:solidFill>
              </a:defRPr>
            </a:lvl8pPr>
            <a:lvl9pPr>
              <a:defRPr sz="900">
                <a:solidFill>
                  <a:schemeClr val="accent1"/>
                </a:solidFill>
              </a:defRPr>
            </a:lvl9pPr>
          </a:lstStyle>
          <a:p>
            <a:pPr lvl="0"/>
            <a:r>
              <a:rPr lang="en-US" dirty="0"/>
              <a:t>You can use this field to enter marginal note,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7"/>
          <p:cNvSpPr>
            <a:spLocks noGrp="1"/>
          </p:cNvSpPr>
          <p:nvPr>
            <p:ph type="body" sz="quarter" idx="13" hasCustomPrompt="1"/>
          </p:nvPr>
        </p:nvSpPr>
        <p:spPr bwMode="gray">
          <a:xfrm>
            <a:off x="623889"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1650" b="0" baseline="0">
                <a:solidFill>
                  <a:schemeClr val="accent1"/>
                </a:solidFill>
              </a:defRPr>
            </a:lvl1pPr>
            <a:lvl2pPr marL="0" indent="0">
              <a:lnSpc>
                <a:spcPct val="100000"/>
              </a:lnSpc>
              <a:spcBef>
                <a:spcPts val="0"/>
              </a:spcBef>
              <a:spcAft>
                <a:spcPts val="0"/>
              </a:spcAft>
              <a:buFont typeface="Arial" panose="020B0604020202020204" pitchFamily="34" charset="0"/>
              <a:buNone/>
              <a:defRPr sz="1650" b="0">
                <a:solidFill>
                  <a:schemeClr val="accent1"/>
                </a:solidFill>
              </a:defRPr>
            </a:lvl2pPr>
            <a:lvl3pPr marL="0" indent="0">
              <a:lnSpc>
                <a:spcPct val="100000"/>
              </a:lnSpc>
              <a:spcBef>
                <a:spcPts val="0"/>
              </a:spcBef>
              <a:spcAft>
                <a:spcPts val="0"/>
              </a:spcAft>
              <a:buNone/>
              <a:defRPr sz="1650" b="0">
                <a:solidFill>
                  <a:schemeClr val="accent1"/>
                </a:solidFill>
              </a:defRPr>
            </a:lvl3pPr>
            <a:lvl4pPr marL="0" indent="0">
              <a:lnSpc>
                <a:spcPct val="100000"/>
              </a:lnSpc>
              <a:spcBef>
                <a:spcPts val="0"/>
              </a:spcBef>
              <a:spcAft>
                <a:spcPts val="0"/>
              </a:spcAft>
              <a:buNone/>
              <a:defRPr sz="1650" b="0">
                <a:solidFill>
                  <a:schemeClr val="accent1"/>
                </a:solidFill>
              </a:defRPr>
            </a:lvl4pPr>
            <a:lvl5pPr marL="0" indent="0">
              <a:lnSpc>
                <a:spcPct val="100000"/>
              </a:lnSpc>
              <a:spcBef>
                <a:spcPts val="0"/>
              </a:spcBef>
              <a:spcAft>
                <a:spcPts val="0"/>
              </a:spcAft>
              <a:buNone/>
              <a:defRPr sz="1650" b="0">
                <a:solidFill>
                  <a:schemeClr val="accent1"/>
                </a:solidFill>
              </a:defRPr>
            </a:lvl5pPr>
            <a:lvl6pPr marL="0" indent="0">
              <a:lnSpc>
                <a:spcPct val="100000"/>
              </a:lnSpc>
              <a:spcBef>
                <a:spcPts val="0"/>
              </a:spcBef>
              <a:spcAft>
                <a:spcPts val="0"/>
              </a:spcAft>
              <a:buNone/>
              <a:defRPr sz="1650" b="0">
                <a:solidFill>
                  <a:schemeClr val="accent1"/>
                </a:solidFill>
              </a:defRPr>
            </a:lvl6pPr>
            <a:lvl7pPr marL="0" indent="0">
              <a:lnSpc>
                <a:spcPct val="100000"/>
              </a:lnSpc>
              <a:spcBef>
                <a:spcPts val="0"/>
              </a:spcBef>
              <a:spcAft>
                <a:spcPts val="0"/>
              </a:spcAft>
              <a:buNone/>
              <a:defRPr sz="1650" b="0">
                <a:solidFill>
                  <a:schemeClr val="accent1"/>
                </a:solidFill>
              </a:defRPr>
            </a:lvl7pPr>
            <a:lvl8pPr marL="0" indent="0">
              <a:lnSpc>
                <a:spcPct val="100000"/>
              </a:lnSpc>
              <a:spcBef>
                <a:spcPts val="0"/>
              </a:spcBef>
              <a:spcAft>
                <a:spcPts val="0"/>
              </a:spcAft>
              <a:buNone/>
              <a:defRPr sz="1650" b="0">
                <a:solidFill>
                  <a:schemeClr val="accent1"/>
                </a:solidFill>
              </a:defRPr>
            </a:lvl8pPr>
            <a:lvl9pPr marL="0" indent="0">
              <a:lnSpc>
                <a:spcPct val="100000"/>
              </a:lnSpc>
              <a:spcBef>
                <a:spcPts val="0"/>
              </a:spcBef>
              <a:spcAft>
                <a:spcPts val="0"/>
              </a:spcAft>
              <a:buNone/>
              <a:defRPr sz="165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9" y="807744"/>
            <a:ext cx="10944225" cy="249008"/>
          </a:xfrm>
        </p:spPr>
        <p:txBody>
          <a:bodyPr/>
          <a:lstStyle/>
          <a:p>
            <a:r>
              <a:rPr lang="en-US" dirty="0"/>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s and Notice">
    <p:spTree>
      <p:nvGrpSpPr>
        <p:cNvPr id="1" name=""/>
        <p:cNvGrpSpPr/>
        <p:nvPr/>
      </p:nvGrpSpPr>
      <p:grpSpPr>
        <a:xfrm>
          <a:off x="0" y="0"/>
          <a:ext cx="0" cy="0"/>
          <a:chOff x="0" y="0"/>
          <a:chExt cx="0" cy="0"/>
        </a:xfrm>
      </p:grpSpPr>
      <p:sp>
        <p:nvSpPr>
          <p:cNvPr id="8" name="Freeform 7"/>
          <p:cNvSpPr/>
          <p:nvPr userDrawn="1"/>
        </p:nvSpPr>
        <p:spPr bwMode="gray">
          <a:xfrm>
            <a:off x="2" y="6331918"/>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9" name="Freeform 8"/>
          <p:cNvSpPr/>
          <p:nvPr userDrawn="1"/>
        </p:nvSpPr>
        <p:spPr bwMode="gray">
          <a:xfrm>
            <a:off x="1" y="4811183"/>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5" name="Footer Placeholder 4"/>
          <p:cNvSpPr>
            <a:spLocks noGrp="1"/>
          </p:cNvSpPr>
          <p:nvPr>
            <p:ph type="ftr" sz="quarter" idx="17"/>
          </p:nvPr>
        </p:nvSpPr>
        <p:spPr bwMode="gray"/>
        <p:txBody>
          <a:bodyPr/>
          <a:lstStyle/>
          <a:p>
            <a:r>
              <a:rPr lang="en-US" noProof="0"/>
              <a:t>Title of Presentation | DD.MM.YYYY</a:t>
            </a:r>
            <a:endParaRPr lang="en-US" noProof="0" dirty="0"/>
          </a:p>
        </p:txBody>
      </p:sp>
      <p:sp>
        <p:nvSpPr>
          <p:cNvPr id="14" name="Slide Number Placeholder 13"/>
          <p:cNvSpPr>
            <a:spLocks noGrp="1"/>
          </p:cNvSpPr>
          <p:nvPr>
            <p:ph type="sldNum" sz="quarter" idx="18"/>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6" name="Content Placeholder 15"/>
          <p:cNvSpPr>
            <a:spLocks noGrp="1"/>
          </p:cNvSpPr>
          <p:nvPr>
            <p:ph sz="quarter" idx="19" hasCustomPrompt="1"/>
          </p:nvPr>
        </p:nvSpPr>
        <p:spPr bwMode="gray">
          <a:xfrm>
            <a:off x="623888" y="1484314"/>
            <a:ext cx="3960000" cy="4608517"/>
          </a:xfrm>
        </p:spPr>
        <p:txBody>
          <a:bodyPr/>
          <a:lstStyle>
            <a:lvl1pPr>
              <a:defRPr/>
            </a:lvl1pPr>
          </a:lstStyle>
          <a:p>
            <a:pPr lvl="0"/>
            <a:r>
              <a:rPr lang="en-US" dirty="0"/>
              <a:t>You can use this field to enter text, a table, a diagram, a </a:t>
            </a:r>
            <a:r>
              <a:rPr lang="en-US" dirty="0" err="1"/>
              <a:t>SmartArts</a:t>
            </a:r>
            <a:r>
              <a:rPr lang="en-US" dirty="0"/>
              <a:t> or tex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7"/>
          <p:cNvSpPr>
            <a:spLocks noGrp="1"/>
          </p:cNvSpPr>
          <p:nvPr>
            <p:ph sz="quarter" idx="20" hasCustomPrompt="1"/>
          </p:nvPr>
        </p:nvSpPr>
        <p:spPr bwMode="gray">
          <a:xfrm>
            <a:off x="4872296" y="1484314"/>
            <a:ext cx="3888000" cy="4608517"/>
          </a:xfrm>
        </p:spPr>
        <p:txBody>
          <a:bodyPr/>
          <a:lstStyle>
            <a:lvl1pPr>
              <a:defRPr/>
            </a:lvl1pPr>
          </a:lstStyle>
          <a:p>
            <a:pPr lvl="0"/>
            <a:r>
              <a:rPr lang="en-US" dirty="0"/>
              <a:t>You can use this field to enter text, a table, a diagram, a </a:t>
            </a:r>
            <a:r>
              <a:rPr lang="en-US" dirty="0" err="1"/>
              <a:t>SmartArts</a:t>
            </a:r>
            <a:r>
              <a:rPr lang="en-US" dirty="0"/>
              <a:t> or tex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9"/>
          <p:cNvSpPr>
            <a:spLocks noGrp="1"/>
          </p:cNvSpPr>
          <p:nvPr>
            <p:ph sz="quarter" idx="21" hasCustomPrompt="1"/>
          </p:nvPr>
        </p:nvSpPr>
        <p:spPr bwMode="gray">
          <a:xfrm>
            <a:off x="9048751" y="1484313"/>
            <a:ext cx="2518051" cy="4608512"/>
          </a:xfrm>
        </p:spPr>
        <p:txBody>
          <a:bodyPr>
            <a:noAutofit/>
          </a:bodyPr>
          <a:lstStyle>
            <a:lvl1pPr>
              <a:defRPr sz="900" baseline="0">
                <a:solidFill>
                  <a:schemeClr val="accent1"/>
                </a:solidFill>
              </a:defRPr>
            </a:lvl1pPr>
            <a:lvl2pPr>
              <a:defRPr sz="900">
                <a:solidFill>
                  <a:schemeClr val="accent1"/>
                </a:solidFill>
              </a:defRPr>
            </a:lvl2pPr>
            <a:lvl3pPr>
              <a:defRPr sz="900">
                <a:solidFill>
                  <a:schemeClr val="accent1"/>
                </a:solidFill>
              </a:defRPr>
            </a:lvl3pPr>
            <a:lvl4pPr>
              <a:defRPr sz="900">
                <a:solidFill>
                  <a:schemeClr val="accent1"/>
                </a:solidFill>
              </a:defRPr>
            </a:lvl4pPr>
            <a:lvl5pPr>
              <a:defRPr sz="900">
                <a:solidFill>
                  <a:schemeClr val="accent1"/>
                </a:solidFill>
              </a:defRPr>
            </a:lvl5pPr>
            <a:lvl6pPr>
              <a:defRPr sz="900">
                <a:solidFill>
                  <a:schemeClr val="accent1"/>
                </a:solidFill>
              </a:defRPr>
            </a:lvl6pPr>
            <a:lvl7pPr>
              <a:defRPr sz="900">
                <a:solidFill>
                  <a:schemeClr val="accent1"/>
                </a:solidFill>
              </a:defRPr>
            </a:lvl7pPr>
            <a:lvl8pPr>
              <a:defRPr sz="900">
                <a:solidFill>
                  <a:schemeClr val="accent1"/>
                </a:solidFill>
              </a:defRPr>
            </a:lvl8pPr>
            <a:lvl9pPr>
              <a:defRPr sz="900">
                <a:solidFill>
                  <a:schemeClr val="accent1"/>
                </a:solidFill>
              </a:defRPr>
            </a:lvl9pPr>
          </a:lstStyle>
          <a:p>
            <a:pPr lvl="0"/>
            <a:r>
              <a:rPr lang="en-US" dirty="0"/>
              <a:t>You can use this field to enter marginal note,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13" hasCustomPrompt="1"/>
          </p:nvPr>
        </p:nvSpPr>
        <p:spPr bwMode="gray">
          <a:xfrm>
            <a:off x="623889"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1650" b="0" baseline="0">
                <a:solidFill>
                  <a:schemeClr val="accent1"/>
                </a:solidFill>
              </a:defRPr>
            </a:lvl1pPr>
            <a:lvl2pPr marL="0" indent="0">
              <a:lnSpc>
                <a:spcPct val="100000"/>
              </a:lnSpc>
              <a:spcBef>
                <a:spcPts val="0"/>
              </a:spcBef>
              <a:spcAft>
                <a:spcPts val="0"/>
              </a:spcAft>
              <a:buFont typeface="Arial" panose="020B0604020202020204" pitchFamily="34" charset="0"/>
              <a:buNone/>
              <a:defRPr sz="1650" b="0">
                <a:solidFill>
                  <a:schemeClr val="accent1"/>
                </a:solidFill>
              </a:defRPr>
            </a:lvl2pPr>
            <a:lvl3pPr marL="0" indent="0">
              <a:lnSpc>
                <a:spcPct val="100000"/>
              </a:lnSpc>
              <a:spcBef>
                <a:spcPts val="0"/>
              </a:spcBef>
              <a:spcAft>
                <a:spcPts val="0"/>
              </a:spcAft>
              <a:buNone/>
              <a:defRPr sz="1650" b="0">
                <a:solidFill>
                  <a:schemeClr val="accent1"/>
                </a:solidFill>
              </a:defRPr>
            </a:lvl3pPr>
            <a:lvl4pPr marL="0" indent="0">
              <a:lnSpc>
                <a:spcPct val="100000"/>
              </a:lnSpc>
              <a:spcBef>
                <a:spcPts val="0"/>
              </a:spcBef>
              <a:spcAft>
                <a:spcPts val="0"/>
              </a:spcAft>
              <a:buNone/>
              <a:defRPr sz="1650" b="0">
                <a:solidFill>
                  <a:schemeClr val="accent1"/>
                </a:solidFill>
              </a:defRPr>
            </a:lvl4pPr>
            <a:lvl5pPr marL="0" indent="0">
              <a:lnSpc>
                <a:spcPct val="100000"/>
              </a:lnSpc>
              <a:spcBef>
                <a:spcPts val="0"/>
              </a:spcBef>
              <a:spcAft>
                <a:spcPts val="0"/>
              </a:spcAft>
              <a:buNone/>
              <a:defRPr sz="1650" b="0">
                <a:solidFill>
                  <a:schemeClr val="accent1"/>
                </a:solidFill>
              </a:defRPr>
            </a:lvl5pPr>
            <a:lvl6pPr marL="0" indent="0">
              <a:lnSpc>
                <a:spcPct val="100000"/>
              </a:lnSpc>
              <a:spcBef>
                <a:spcPts val="0"/>
              </a:spcBef>
              <a:spcAft>
                <a:spcPts val="0"/>
              </a:spcAft>
              <a:buNone/>
              <a:defRPr sz="1650" b="0">
                <a:solidFill>
                  <a:schemeClr val="accent1"/>
                </a:solidFill>
              </a:defRPr>
            </a:lvl6pPr>
            <a:lvl7pPr marL="0" indent="0">
              <a:lnSpc>
                <a:spcPct val="100000"/>
              </a:lnSpc>
              <a:spcBef>
                <a:spcPts val="0"/>
              </a:spcBef>
              <a:spcAft>
                <a:spcPts val="0"/>
              </a:spcAft>
              <a:buNone/>
              <a:defRPr sz="1650" b="0">
                <a:solidFill>
                  <a:schemeClr val="accent1"/>
                </a:solidFill>
              </a:defRPr>
            </a:lvl7pPr>
            <a:lvl8pPr marL="0" indent="0">
              <a:lnSpc>
                <a:spcPct val="100000"/>
              </a:lnSpc>
              <a:spcBef>
                <a:spcPts val="0"/>
              </a:spcBef>
              <a:spcAft>
                <a:spcPts val="0"/>
              </a:spcAft>
              <a:buNone/>
              <a:defRPr sz="1650" b="0">
                <a:solidFill>
                  <a:schemeClr val="accent1"/>
                </a:solidFill>
              </a:defRPr>
            </a:lvl8pPr>
            <a:lvl9pPr marL="0" indent="0">
              <a:lnSpc>
                <a:spcPct val="100000"/>
              </a:lnSpc>
              <a:spcBef>
                <a:spcPts val="0"/>
              </a:spcBef>
              <a:spcAft>
                <a:spcPts val="0"/>
              </a:spcAft>
              <a:buNone/>
              <a:defRPr sz="165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9" y="807744"/>
            <a:ext cx="10944225" cy="249008"/>
          </a:xfrm>
        </p:spPr>
        <p:txBody>
          <a:bodyPr/>
          <a:lstStyle/>
          <a:p>
            <a:r>
              <a:rPr lang="en-US" dirty="0"/>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Picture and Notice">
    <p:spTree>
      <p:nvGrpSpPr>
        <p:cNvPr id="1" name=""/>
        <p:cNvGrpSpPr/>
        <p:nvPr/>
      </p:nvGrpSpPr>
      <p:grpSpPr>
        <a:xfrm>
          <a:off x="0" y="0"/>
          <a:ext cx="0" cy="0"/>
          <a:chOff x="0" y="0"/>
          <a:chExt cx="0" cy="0"/>
        </a:xfrm>
      </p:grpSpPr>
      <p:sp>
        <p:nvSpPr>
          <p:cNvPr id="8" name="Freeform 7"/>
          <p:cNvSpPr/>
          <p:nvPr userDrawn="1"/>
        </p:nvSpPr>
        <p:spPr bwMode="gray">
          <a:xfrm>
            <a:off x="2" y="6331918"/>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9" name="Freeform 8"/>
          <p:cNvSpPr/>
          <p:nvPr userDrawn="1"/>
        </p:nvSpPr>
        <p:spPr bwMode="gray">
          <a:xfrm>
            <a:off x="1" y="4811183"/>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5" name="Footer Placeholder 4"/>
          <p:cNvSpPr>
            <a:spLocks noGrp="1"/>
          </p:cNvSpPr>
          <p:nvPr>
            <p:ph type="ftr" sz="quarter" idx="16"/>
          </p:nvPr>
        </p:nvSpPr>
        <p:spPr bwMode="gray"/>
        <p:txBody>
          <a:bodyPr/>
          <a:lstStyle/>
          <a:p>
            <a:r>
              <a:rPr lang="en-US" noProof="0"/>
              <a:t>Title of Presentation | DD.MM.YYYY</a:t>
            </a:r>
            <a:endParaRPr lang="en-US" noProof="0" dirty="0"/>
          </a:p>
        </p:txBody>
      </p:sp>
      <p:sp>
        <p:nvSpPr>
          <p:cNvPr id="6" name="Slide Number Placeholder 5"/>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7" name="Content Placeholder 16"/>
          <p:cNvSpPr>
            <a:spLocks noGrp="1"/>
          </p:cNvSpPr>
          <p:nvPr>
            <p:ph sz="quarter" idx="19" hasCustomPrompt="1"/>
          </p:nvPr>
        </p:nvSpPr>
        <p:spPr bwMode="gray">
          <a:xfrm>
            <a:off x="9048751" y="1484312"/>
            <a:ext cx="2518051" cy="4608515"/>
          </a:xfrm>
        </p:spPr>
        <p:txBody>
          <a:bodyPr>
            <a:noAutofit/>
          </a:bodyPr>
          <a:lstStyle>
            <a:lvl1pPr>
              <a:defRPr sz="900">
                <a:solidFill>
                  <a:schemeClr val="accent1"/>
                </a:solidFill>
              </a:defRPr>
            </a:lvl1pPr>
            <a:lvl2pPr>
              <a:defRPr sz="900">
                <a:solidFill>
                  <a:schemeClr val="accent1"/>
                </a:solidFill>
              </a:defRPr>
            </a:lvl2pPr>
            <a:lvl3pPr>
              <a:defRPr sz="900">
                <a:solidFill>
                  <a:schemeClr val="accent1"/>
                </a:solidFill>
              </a:defRPr>
            </a:lvl3pPr>
            <a:lvl4pPr>
              <a:defRPr sz="900">
                <a:solidFill>
                  <a:schemeClr val="accent1"/>
                </a:solidFill>
              </a:defRPr>
            </a:lvl4pPr>
            <a:lvl5pPr>
              <a:defRPr sz="900">
                <a:solidFill>
                  <a:schemeClr val="accent1"/>
                </a:solidFill>
              </a:defRPr>
            </a:lvl5pPr>
          </a:lstStyle>
          <a:p>
            <a:pPr lvl="0"/>
            <a:r>
              <a:rPr lang="en-US" dirty="0"/>
              <a:t>You can use this field to enter marginal note,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p:cNvSpPr>
            <a:spLocks noGrp="1"/>
          </p:cNvSpPr>
          <p:nvPr>
            <p:ph type="pic" sz="quarter" idx="18"/>
          </p:nvPr>
        </p:nvSpPr>
        <p:spPr bwMode="gray">
          <a:xfrm>
            <a:off x="623888" y="1484312"/>
            <a:ext cx="8135936" cy="4608515"/>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750"/>
            </a:lvl1pPr>
            <a:lvl2pPr marL="0" indent="0" algn="ctr">
              <a:spcBef>
                <a:spcPts val="0"/>
              </a:spcBef>
              <a:spcAft>
                <a:spcPts val="0"/>
              </a:spcAft>
              <a:buNone/>
              <a:defRPr sz="750"/>
            </a:lvl2pPr>
            <a:lvl3pPr marL="0" indent="0" algn="ctr">
              <a:spcBef>
                <a:spcPts val="0"/>
              </a:spcBef>
              <a:spcAft>
                <a:spcPts val="0"/>
              </a:spcAft>
              <a:buNone/>
              <a:defRPr sz="750"/>
            </a:lvl3pPr>
            <a:lvl4pPr marL="0" indent="0" algn="ctr">
              <a:spcBef>
                <a:spcPts val="0"/>
              </a:spcBef>
              <a:spcAft>
                <a:spcPts val="0"/>
              </a:spcAft>
              <a:buNone/>
              <a:defRPr sz="750"/>
            </a:lvl4pPr>
            <a:lvl5pPr marL="0" indent="0" algn="ctr">
              <a:spcBef>
                <a:spcPts val="0"/>
              </a:spcBef>
              <a:spcAft>
                <a:spcPts val="0"/>
              </a:spcAft>
              <a:buNone/>
              <a:defRPr sz="750"/>
            </a:lvl5pPr>
            <a:lvl6pPr marL="0" indent="0" algn="ctr">
              <a:spcBef>
                <a:spcPts val="0"/>
              </a:spcBef>
              <a:spcAft>
                <a:spcPts val="0"/>
              </a:spcAft>
              <a:buNone/>
              <a:defRPr sz="750"/>
            </a:lvl6pPr>
            <a:lvl7pPr marL="0" indent="0" algn="ctr">
              <a:spcBef>
                <a:spcPts val="0"/>
              </a:spcBef>
              <a:spcAft>
                <a:spcPts val="0"/>
              </a:spcAft>
              <a:buNone/>
              <a:defRPr sz="750"/>
            </a:lvl7pPr>
            <a:lvl8pPr marL="0" indent="0" algn="ctr">
              <a:spcBef>
                <a:spcPts val="0"/>
              </a:spcBef>
              <a:spcAft>
                <a:spcPts val="0"/>
              </a:spcAft>
              <a:buNone/>
              <a:defRPr sz="750"/>
            </a:lvl8pPr>
            <a:lvl9pPr marL="0" indent="0" algn="ctr">
              <a:spcBef>
                <a:spcPts val="0"/>
              </a:spcBef>
              <a:spcAft>
                <a:spcPts val="0"/>
              </a:spcAft>
              <a:buNone/>
              <a:defRPr sz="750"/>
            </a:lvl9pPr>
          </a:lstStyle>
          <a:p>
            <a:endParaRPr lang="en-US" noProof="0" dirty="0"/>
          </a:p>
          <a:p>
            <a:r>
              <a:rPr lang="en-US" noProof="0" dirty="0"/>
              <a:t>Click icon to add picture</a:t>
            </a:r>
          </a:p>
        </p:txBody>
      </p:sp>
      <p:sp>
        <p:nvSpPr>
          <p:cNvPr id="10" name="Text Placeholder 7"/>
          <p:cNvSpPr>
            <a:spLocks noGrp="1"/>
          </p:cNvSpPr>
          <p:nvPr>
            <p:ph type="body" sz="quarter" idx="13" hasCustomPrompt="1"/>
          </p:nvPr>
        </p:nvSpPr>
        <p:spPr bwMode="gray">
          <a:xfrm>
            <a:off x="623889"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1650" b="0" baseline="0">
                <a:solidFill>
                  <a:schemeClr val="accent1"/>
                </a:solidFill>
              </a:defRPr>
            </a:lvl1pPr>
            <a:lvl2pPr marL="0" indent="0">
              <a:lnSpc>
                <a:spcPct val="100000"/>
              </a:lnSpc>
              <a:spcBef>
                <a:spcPts val="0"/>
              </a:spcBef>
              <a:spcAft>
                <a:spcPts val="0"/>
              </a:spcAft>
              <a:buFont typeface="Arial" panose="020B0604020202020204" pitchFamily="34" charset="0"/>
              <a:buNone/>
              <a:defRPr sz="1650" b="0">
                <a:solidFill>
                  <a:schemeClr val="accent1"/>
                </a:solidFill>
              </a:defRPr>
            </a:lvl2pPr>
            <a:lvl3pPr marL="0" indent="0">
              <a:lnSpc>
                <a:spcPct val="100000"/>
              </a:lnSpc>
              <a:spcBef>
                <a:spcPts val="0"/>
              </a:spcBef>
              <a:spcAft>
                <a:spcPts val="0"/>
              </a:spcAft>
              <a:buNone/>
              <a:defRPr sz="1650" b="0">
                <a:solidFill>
                  <a:schemeClr val="accent1"/>
                </a:solidFill>
              </a:defRPr>
            </a:lvl3pPr>
            <a:lvl4pPr marL="0" indent="0">
              <a:lnSpc>
                <a:spcPct val="100000"/>
              </a:lnSpc>
              <a:spcBef>
                <a:spcPts val="0"/>
              </a:spcBef>
              <a:spcAft>
                <a:spcPts val="0"/>
              </a:spcAft>
              <a:buNone/>
              <a:defRPr sz="1650" b="0">
                <a:solidFill>
                  <a:schemeClr val="accent1"/>
                </a:solidFill>
              </a:defRPr>
            </a:lvl4pPr>
            <a:lvl5pPr marL="0" indent="0">
              <a:lnSpc>
                <a:spcPct val="100000"/>
              </a:lnSpc>
              <a:spcBef>
                <a:spcPts val="0"/>
              </a:spcBef>
              <a:spcAft>
                <a:spcPts val="0"/>
              </a:spcAft>
              <a:buNone/>
              <a:defRPr sz="1650" b="0">
                <a:solidFill>
                  <a:schemeClr val="accent1"/>
                </a:solidFill>
              </a:defRPr>
            </a:lvl5pPr>
            <a:lvl6pPr marL="0" indent="0">
              <a:lnSpc>
                <a:spcPct val="100000"/>
              </a:lnSpc>
              <a:spcBef>
                <a:spcPts val="0"/>
              </a:spcBef>
              <a:spcAft>
                <a:spcPts val="0"/>
              </a:spcAft>
              <a:buNone/>
              <a:defRPr sz="1650" b="0">
                <a:solidFill>
                  <a:schemeClr val="accent1"/>
                </a:solidFill>
              </a:defRPr>
            </a:lvl6pPr>
            <a:lvl7pPr marL="0" indent="0">
              <a:lnSpc>
                <a:spcPct val="100000"/>
              </a:lnSpc>
              <a:spcBef>
                <a:spcPts val="0"/>
              </a:spcBef>
              <a:spcAft>
                <a:spcPts val="0"/>
              </a:spcAft>
              <a:buNone/>
              <a:defRPr sz="1650" b="0">
                <a:solidFill>
                  <a:schemeClr val="accent1"/>
                </a:solidFill>
              </a:defRPr>
            </a:lvl7pPr>
            <a:lvl8pPr marL="0" indent="0">
              <a:lnSpc>
                <a:spcPct val="100000"/>
              </a:lnSpc>
              <a:spcBef>
                <a:spcPts val="0"/>
              </a:spcBef>
              <a:spcAft>
                <a:spcPts val="0"/>
              </a:spcAft>
              <a:buNone/>
              <a:defRPr sz="1650" b="0">
                <a:solidFill>
                  <a:schemeClr val="accent1"/>
                </a:solidFill>
              </a:defRPr>
            </a:lvl8pPr>
            <a:lvl9pPr marL="0" indent="0">
              <a:lnSpc>
                <a:spcPct val="100000"/>
              </a:lnSpc>
              <a:spcBef>
                <a:spcPts val="0"/>
              </a:spcBef>
              <a:spcAft>
                <a:spcPts val="0"/>
              </a:spcAft>
              <a:buNone/>
              <a:defRPr sz="165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9" y="807744"/>
            <a:ext cx="10944225" cy="249008"/>
          </a:xfrm>
        </p:spPr>
        <p:txBody>
          <a:bodyPr/>
          <a:lstStyle/>
          <a:p>
            <a:r>
              <a:rPr lang="en-US" dirty="0"/>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nd big Picture">
    <p:spTree>
      <p:nvGrpSpPr>
        <p:cNvPr id="1" name=""/>
        <p:cNvGrpSpPr/>
        <p:nvPr/>
      </p:nvGrpSpPr>
      <p:grpSpPr>
        <a:xfrm>
          <a:off x="0" y="0"/>
          <a:ext cx="0" cy="0"/>
          <a:chOff x="0" y="0"/>
          <a:chExt cx="0" cy="0"/>
        </a:xfrm>
      </p:grpSpPr>
      <p:sp>
        <p:nvSpPr>
          <p:cNvPr id="8" name="Freeform 7"/>
          <p:cNvSpPr/>
          <p:nvPr userDrawn="1"/>
        </p:nvSpPr>
        <p:spPr bwMode="gray">
          <a:xfrm>
            <a:off x="2" y="6331918"/>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9" name="Freeform 8"/>
          <p:cNvSpPr/>
          <p:nvPr userDrawn="1"/>
        </p:nvSpPr>
        <p:spPr bwMode="gray">
          <a:xfrm>
            <a:off x="1" y="4811183"/>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5" name="Footer Placeholder 4"/>
          <p:cNvSpPr>
            <a:spLocks noGrp="1"/>
          </p:cNvSpPr>
          <p:nvPr>
            <p:ph type="ftr" sz="quarter" idx="16"/>
          </p:nvPr>
        </p:nvSpPr>
        <p:spPr bwMode="gray"/>
        <p:txBody>
          <a:bodyPr/>
          <a:lstStyle/>
          <a:p>
            <a:r>
              <a:rPr lang="en-US" noProof="0"/>
              <a:t>Title of Presentation | DD.MM.YYYY</a:t>
            </a:r>
            <a:endParaRPr lang="en-US" noProof="0" dirty="0"/>
          </a:p>
        </p:txBody>
      </p:sp>
      <p:sp>
        <p:nvSpPr>
          <p:cNvPr id="13" name="Slide Number Placeholder 12"/>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7" name="Picture Placeholder 16"/>
          <p:cNvSpPr>
            <a:spLocks noGrp="1"/>
          </p:cNvSpPr>
          <p:nvPr>
            <p:ph type="pic" sz="quarter" idx="19"/>
          </p:nvPr>
        </p:nvSpPr>
        <p:spPr bwMode="gray">
          <a:xfrm>
            <a:off x="6240464" y="1484315"/>
            <a:ext cx="5327651" cy="4608515"/>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750" baseline="0"/>
            </a:lvl1pPr>
            <a:lvl2pPr marL="0" indent="0" algn="ctr">
              <a:spcBef>
                <a:spcPts val="0"/>
              </a:spcBef>
              <a:spcAft>
                <a:spcPts val="0"/>
              </a:spcAft>
              <a:buNone/>
              <a:defRPr sz="750"/>
            </a:lvl2pPr>
            <a:lvl3pPr marL="0" indent="0" algn="ctr">
              <a:spcBef>
                <a:spcPts val="0"/>
              </a:spcBef>
              <a:spcAft>
                <a:spcPts val="0"/>
              </a:spcAft>
              <a:buNone/>
              <a:defRPr sz="750"/>
            </a:lvl3pPr>
            <a:lvl4pPr marL="0" indent="0" algn="ctr">
              <a:spcBef>
                <a:spcPts val="0"/>
              </a:spcBef>
              <a:spcAft>
                <a:spcPts val="0"/>
              </a:spcAft>
              <a:buNone/>
              <a:defRPr sz="750"/>
            </a:lvl4pPr>
            <a:lvl5pPr marL="0" indent="0" algn="ctr">
              <a:spcBef>
                <a:spcPts val="0"/>
              </a:spcBef>
              <a:spcAft>
                <a:spcPts val="0"/>
              </a:spcAft>
              <a:buNone/>
              <a:defRPr sz="750"/>
            </a:lvl5pPr>
            <a:lvl6pPr marL="0" indent="0" algn="ctr">
              <a:spcBef>
                <a:spcPts val="0"/>
              </a:spcBef>
              <a:spcAft>
                <a:spcPts val="0"/>
              </a:spcAft>
              <a:buNone/>
              <a:defRPr sz="750"/>
            </a:lvl6pPr>
            <a:lvl7pPr marL="0" indent="0" algn="ctr">
              <a:spcBef>
                <a:spcPts val="0"/>
              </a:spcBef>
              <a:spcAft>
                <a:spcPts val="0"/>
              </a:spcAft>
              <a:buNone/>
              <a:defRPr sz="750"/>
            </a:lvl7pPr>
            <a:lvl8pPr marL="0" indent="0" algn="ctr">
              <a:spcBef>
                <a:spcPts val="0"/>
              </a:spcBef>
              <a:spcAft>
                <a:spcPts val="0"/>
              </a:spcAft>
              <a:buNone/>
              <a:defRPr sz="750"/>
            </a:lvl8pPr>
            <a:lvl9pPr marL="0" indent="0" algn="ctr">
              <a:spcBef>
                <a:spcPts val="0"/>
              </a:spcBef>
              <a:spcAft>
                <a:spcPts val="0"/>
              </a:spcAft>
              <a:buNone/>
              <a:defRPr sz="750"/>
            </a:lvl9pPr>
          </a:lstStyle>
          <a:p>
            <a:endParaRPr lang="en-US" noProof="0" dirty="0"/>
          </a:p>
          <a:p>
            <a:r>
              <a:rPr lang="en-US" noProof="0" dirty="0"/>
              <a:t>Click icon to add picture</a:t>
            </a:r>
          </a:p>
        </p:txBody>
      </p:sp>
      <p:sp>
        <p:nvSpPr>
          <p:cNvPr id="15" name="Content Placeholder 14"/>
          <p:cNvSpPr>
            <a:spLocks noGrp="1"/>
          </p:cNvSpPr>
          <p:nvPr>
            <p:ph sz="quarter" idx="18" hasCustomPrompt="1"/>
          </p:nvPr>
        </p:nvSpPr>
        <p:spPr bwMode="gray">
          <a:xfrm>
            <a:off x="623888" y="1484313"/>
            <a:ext cx="5327651" cy="4608512"/>
          </a:xfrm>
        </p:spPr>
        <p:txBody>
          <a:bodyPr/>
          <a:lstStyle>
            <a:lvl1pPr>
              <a:defRPr/>
            </a:lvl1pPr>
          </a:lstStyle>
          <a:p>
            <a:pPr lvl="0"/>
            <a:r>
              <a:rPr lang="en-US" dirty="0"/>
              <a:t>You can use this field to enter text,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7"/>
          <p:cNvSpPr>
            <a:spLocks noGrp="1"/>
          </p:cNvSpPr>
          <p:nvPr>
            <p:ph type="body" sz="quarter" idx="13" hasCustomPrompt="1"/>
          </p:nvPr>
        </p:nvSpPr>
        <p:spPr bwMode="gray">
          <a:xfrm>
            <a:off x="623889"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1650" b="0" baseline="0">
                <a:solidFill>
                  <a:schemeClr val="accent1"/>
                </a:solidFill>
              </a:defRPr>
            </a:lvl1pPr>
            <a:lvl2pPr marL="0" indent="0">
              <a:lnSpc>
                <a:spcPct val="100000"/>
              </a:lnSpc>
              <a:spcBef>
                <a:spcPts val="0"/>
              </a:spcBef>
              <a:spcAft>
                <a:spcPts val="0"/>
              </a:spcAft>
              <a:buFont typeface="Arial" panose="020B0604020202020204" pitchFamily="34" charset="0"/>
              <a:buNone/>
              <a:defRPr sz="1650" b="0">
                <a:solidFill>
                  <a:schemeClr val="accent1"/>
                </a:solidFill>
              </a:defRPr>
            </a:lvl2pPr>
            <a:lvl3pPr marL="0" indent="0">
              <a:lnSpc>
                <a:spcPct val="100000"/>
              </a:lnSpc>
              <a:spcBef>
                <a:spcPts val="0"/>
              </a:spcBef>
              <a:spcAft>
                <a:spcPts val="0"/>
              </a:spcAft>
              <a:buNone/>
              <a:defRPr sz="1650" b="0">
                <a:solidFill>
                  <a:schemeClr val="accent1"/>
                </a:solidFill>
              </a:defRPr>
            </a:lvl3pPr>
            <a:lvl4pPr marL="0" indent="0">
              <a:lnSpc>
                <a:spcPct val="100000"/>
              </a:lnSpc>
              <a:spcBef>
                <a:spcPts val="0"/>
              </a:spcBef>
              <a:spcAft>
                <a:spcPts val="0"/>
              </a:spcAft>
              <a:buNone/>
              <a:defRPr sz="1650" b="0">
                <a:solidFill>
                  <a:schemeClr val="accent1"/>
                </a:solidFill>
              </a:defRPr>
            </a:lvl4pPr>
            <a:lvl5pPr marL="0" indent="0">
              <a:lnSpc>
                <a:spcPct val="100000"/>
              </a:lnSpc>
              <a:spcBef>
                <a:spcPts val="0"/>
              </a:spcBef>
              <a:spcAft>
                <a:spcPts val="0"/>
              </a:spcAft>
              <a:buNone/>
              <a:defRPr sz="1650" b="0">
                <a:solidFill>
                  <a:schemeClr val="accent1"/>
                </a:solidFill>
              </a:defRPr>
            </a:lvl5pPr>
            <a:lvl6pPr marL="0" indent="0">
              <a:lnSpc>
                <a:spcPct val="100000"/>
              </a:lnSpc>
              <a:spcBef>
                <a:spcPts val="0"/>
              </a:spcBef>
              <a:spcAft>
                <a:spcPts val="0"/>
              </a:spcAft>
              <a:buNone/>
              <a:defRPr sz="1650" b="0">
                <a:solidFill>
                  <a:schemeClr val="accent1"/>
                </a:solidFill>
              </a:defRPr>
            </a:lvl6pPr>
            <a:lvl7pPr marL="0" indent="0">
              <a:lnSpc>
                <a:spcPct val="100000"/>
              </a:lnSpc>
              <a:spcBef>
                <a:spcPts val="0"/>
              </a:spcBef>
              <a:spcAft>
                <a:spcPts val="0"/>
              </a:spcAft>
              <a:buNone/>
              <a:defRPr sz="1650" b="0">
                <a:solidFill>
                  <a:schemeClr val="accent1"/>
                </a:solidFill>
              </a:defRPr>
            </a:lvl7pPr>
            <a:lvl8pPr marL="0" indent="0">
              <a:lnSpc>
                <a:spcPct val="100000"/>
              </a:lnSpc>
              <a:spcBef>
                <a:spcPts val="0"/>
              </a:spcBef>
              <a:spcAft>
                <a:spcPts val="0"/>
              </a:spcAft>
              <a:buNone/>
              <a:defRPr sz="1650" b="0">
                <a:solidFill>
                  <a:schemeClr val="accent1"/>
                </a:solidFill>
              </a:defRPr>
            </a:lvl8pPr>
            <a:lvl9pPr marL="0" indent="0">
              <a:lnSpc>
                <a:spcPct val="100000"/>
              </a:lnSpc>
              <a:spcBef>
                <a:spcPts val="0"/>
              </a:spcBef>
              <a:spcAft>
                <a:spcPts val="0"/>
              </a:spcAft>
              <a:buNone/>
              <a:defRPr sz="165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9" y="807744"/>
            <a:ext cx="10944225" cy="249008"/>
          </a:xfrm>
        </p:spPr>
        <p:txBody>
          <a:bodyPr/>
          <a:lstStyle/>
          <a:p>
            <a:r>
              <a:rPr lang="en-US" dirty="0"/>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Picture and Content">
    <p:spTree>
      <p:nvGrpSpPr>
        <p:cNvPr id="1" name=""/>
        <p:cNvGrpSpPr/>
        <p:nvPr/>
      </p:nvGrpSpPr>
      <p:grpSpPr>
        <a:xfrm>
          <a:off x="0" y="0"/>
          <a:ext cx="0" cy="0"/>
          <a:chOff x="0" y="0"/>
          <a:chExt cx="0" cy="0"/>
        </a:xfrm>
      </p:grpSpPr>
      <p:sp>
        <p:nvSpPr>
          <p:cNvPr id="8" name="Freeform 7"/>
          <p:cNvSpPr/>
          <p:nvPr userDrawn="1"/>
        </p:nvSpPr>
        <p:spPr bwMode="gray">
          <a:xfrm>
            <a:off x="2" y="6331918"/>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9" name="Freeform 8"/>
          <p:cNvSpPr/>
          <p:nvPr userDrawn="1"/>
        </p:nvSpPr>
        <p:spPr bwMode="gray">
          <a:xfrm>
            <a:off x="1" y="4811183"/>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5" name="Footer Placeholder 4"/>
          <p:cNvSpPr>
            <a:spLocks noGrp="1"/>
          </p:cNvSpPr>
          <p:nvPr>
            <p:ph type="ftr" sz="quarter" idx="16"/>
          </p:nvPr>
        </p:nvSpPr>
        <p:spPr bwMode="gray"/>
        <p:txBody>
          <a:bodyPr/>
          <a:lstStyle/>
          <a:p>
            <a:r>
              <a:rPr lang="en-US" noProof="0"/>
              <a:t>Title of Presentation | DD.MM.YYYY</a:t>
            </a:r>
            <a:endParaRPr lang="en-US" noProof="0" dirty="0"/>
          </a:p>
        </p:txBody>
      </p:sp>
      <p:sp>
        <p:nvSpPr>
          <p:cNvPr id="6" name="Slide Number Placeholder 5"/>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7" name="Content Placeholder 16"/>
          <p:cNvSpPr>
            <a:spLocks noGrp="1"/>
          </p:cNvSpPr>
          <p:nvPr>
            <p:ph sz="quarter" idx="19" hasCustomPrompt="1"/>
          </p:nvPr>
        </p:nvSpPr>
        <p:spPr bwMode="gray">
          <a:xfrm>
            <a:off x="6240464" y="1484312"/>
            <a:ext cx="5327651" cy="4608515"/>
          </a:xfrm>
        </p:spPr>
        <p:txBody>
          <a:bodyPr/>
          <a:lstStyle>
            <a:lvl1pPr>
              <a:defRPr baseline="0"/>
            </a:lvl1pPr>
          </a:lstStyle>
          <a:p>
            <a:pPr lvl="0"/>
            <a:r>
              <a:rPr lang="en-US" dirty="0"/>
              <a:t>You can use this field to enter text,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p:cNvSpPr>
            <a:spLocks noGrp="1"/>
          </p:cNvSpPr>
          <p:nvPr>
            <p:ph type="pic" sz="quarter" idx="18"/>
          </p:nvPr>
        </p:nvSpPr>
        <p:spPr bwMode="gray">
          <a:xfrm>
            <a:off x="623888" y="1484312"/>
            <a:ext cx="5327651" cy="4608515"/>
          </a:xfrm>
          <a:solidFill>
            <a:schemeClr val="bg1">
              <a:lumMod val="75000"/>
            </a:schemeClr>
          </a:solidFill>
        </p:spPr>
        <p:txBody>
          <a:bodyPr tIns="360000" anchor="ctr"/>
          <a:lstStyle>
            <a:lvl1pPr marL="0" indent="0" algn="ctr" defTabSz="685800" rtl="0" eaLnBrk="1" latinLnBrk="0" hangingPunct="1">
              <a:lnSpc>
                <a:spcPct val="100000"/>
              </a:lnSpc>
              <a:spcBef>
                <a:spcPts val="0"/>
              </a:spcBef>
              <a:spcAft>
                <a:spcPts val="0"/>
              </a:spcAft>
              <a:buFont typeface="Arial" panose="020B0604020202020204" pitchFamily="34" charset="0"/>
              <a:buNone/>
              <a:defRPr lang="en-US" sz="750" kern="1200" baseline="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spcBef>
                <a:spcPts val="0"/>
              </a:spcBef>
              <a:spcAft>
                <a:spcPts val="0"/>
              </a:spcAft>
              <a:buNone/>
              <a:defRPr sz="750"/>
            </a:lvl2pPr>
            <a:lvl3pPr marL="0" indent="0" algn="ctr">
              <a:spcBef>
                <a:spcPts val="0"/>
              </a:spcBef>
              <a:spcAft>
                <a:spcPts val="0"/>
              </a:spcAft>
              <a:buNone/>
              <a:defRPr sz="750"/>
            </a:lvl3pPr>
            <a:lvl4pPr marL="0" indent="0" algn="ctr">
              <a:spcBef>
                <a:spcPts val="0"/>
              </a:spcBef>
              <a:spcAft>
                <a:spcPts val="0"/>
              </a:spcAft>
              <a:buNone/>
              <a:defRPr sz="750"/>
            </a:lvl4pPr>
            <a:lvl5pPr marL="0" indent="0" algn="ctr">
              <a:spcBef>
                <a:spcPts val="0"/>
              </a:spcBef>
              <a:spcAft>
                <a:spcPts val="0"/>
              </a:spcAft>
              <a:buNone/>
              <a:defRPr sz="750"/>
            </a:lvl5pPr>
            <a:lvl6pPr marL="0" indent="0" algn="ctr">
              <a:spcBef>
                <a:spcPts val="0"/>
              </a:spcBef>
              <a:spcAft>
                <a:spcPts val="0"/>
              </a:spcAft>
              <a:buNone/>
              <a:defRPr sz="750"/>
            </a:lvl6pPr>
            <a:lvl7pPr marL="0" indent="0" algn="ctr">
              <a:spcBef>
                <a:spcPts val="0"/>
              </a:spcBef>
              <a:spcAft>
                <a:spcPts val="0"/>
              </a:spcAft>
              <a:buNone/>
              <a:defRPr sz="750"/>
            </a:lvl7pPr>
            <a:lvl8pPr marL="0" indent="0" algn="ctr">
              <a:spcBef>
                <a:spcPts val="0"/>
              </a:spcBef>
              <a:spcAft>
                <a:spcPts val="0"/>
              </a:spcAft>
              <a:buNone/>
              <a:defRPr sz="750"/>
            </a:lvl8pPr>
            <a:lvl9pPr marL="0" indent="0" algn="ctr">
              <a:spcBef>
                <a:spcPts val="0"/>
              </a:spcBef>
              <a:spcAft>
                <a:spcPts val="0"/>
              </a:spcAft>
              <a:buNone/>
              <a:defRPr sz="750"/>
            </a:lvl9pPr>
          </a:lstStyle>
          <a:p>
            <a:endParaRPr lang="en-US" noProof="0" dirty="0"/>
          </a:p>
          <a:p>
            <a:r>
              <a:rPr lang="en-US" noProof="0" dirty="0"/>
              <a:t>Click icon to add picture</a:t>
            </a:r>
          </a:p>
        </p:txBody>
      </p:sp>
      <p:sp>
        <p:nvSpPr>
          <p:cNvPr id="10" name="Text Placeholder 7"/>
          <p:cNvSpPr>
            <a:spLocks noGrp="1"/>
          </p:cNvSpPr>
          <p:nvPr>
            <p:ph type="body" sz="quarter" idx="13" hasCustomPrompt="1"/>
          </p:nvPr>
        </p:nvSpPr>
        <p:spPr bwMode="gray">
          <a:xfrm>
            <a:off x="623889"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1650" b="0" baseline="0">
                <a:solidFill>
                  <a:schemeClr val="accent1"/>
                </a:solidFill>
              </a:defRPr>
            </a:lvl1pPr>
            <a:lvl2pPr marL="0" indent="0">
              <a:lnSpc>
                <a:spcPct val="100000"/>
              </a:lnSpc>
              <a:spcBef>
                <a:spcPts val="0"/>
              </a:spcBef>
              <a:spcAft>
                <a:spcPts val="0"/>
              </a:spcAft>
              <a:buFont typeface="Arial" panose="020B0604020202020204" pitchFamily="34" charset="0"/>
              <a:buNone/>
              <a:defRPr sz="1650" b="0">
                <a:solidFill>
                  <a:schemeClr val="accent1"/>
                </a:solidFill>
              </a:defRPr>
            </a:lvl2pPr>
            <a:lvl3pPr marL="0" indent="0">
              <a:lnSpc>
                <a:spcPct val="100000"/>
              </a:lnSpc>
              <a:spcBef>
                <a:spcPts val="0"/>
              </a:spcBef>
              <a:spcAft>
                <a:spcPts val="0"/>
              </a:spcAft>
              <a:buNone/>
              <a:defRPr sz="1650" b="0">
                <a:solidFill>
                  <a:schemeClr val="accent1"/>
                </a:solidFill>
              </a:defRPr>
            </a:lvl3pPr>
            <a:lvl4pPr marL="0" indent="0">
              <a:lnSpc>
                <a:spcPct val="100000"/>
              </a:lnSpc>
              <a:spcBef>
                <a:spcPts val="0"/>
              </a:spcBef>
              <a:spcAft>
                <a:spcPts val="0"/>
              </a:spcAft>
              <a:buNone/>
              <a:defRPr sz="1650" b="0">
                <a:solidFill>
                  <a:schemeClr val="accent1"/>
                </a:solidFill>
              </a:defRPr>
            </a:lvl4pPr>
            <a:lvl5pPr marL="0" indent="0">
              <a:lnSpc>
                <a:spcPct val="100000"/>
              </a:lnSpc>
              <a:spcBef>
                <a:spcPts val="0"/>
              </a:spcBef>
              <a:spcAft>
                <a:spcPts val="0"/>
              </a:spcAft>
              <a:buNone/>
              <a:defRPr sz="1650" b="0">
                <a:solidFill>
                  <a:schemeClr val="accent1"/>
                </a:solidFill>
              </a:defRPr>
            </a:lvl5pPr>
            <a:lvl6pPr marL="0" indent="0">
              <a:lnSpc>
                <a:spcPct val="100000"/>
              </a:lnSpc>
              <a:spcBef>
                <a:spcPts val="0"/>
              </a:spcBef>
              <a:spcAft>
                <a:spcPts val="0"/>
              </a:spcAft>
              <a:buNone/>
              <a:defRPr sz="1650" b="0">
                <a:solidFill>
                  <a:schemeClr val="accent1"/>
                </a:solidFill>
              </a:defRPr>
            </a:lvl6pPr>
            <a:lvl7pPr marL="0" indent="0">
              <a:lnSpc>
                <a:spcPct val="100000"/>
              </a:lnSpc>
              <a:spcBef>
                <a:spcPts val="0"/>
              </a:spcBef>
              <a:spcAft>
                <a:spcPts val="0"/>
              </a:spcAft>
              <a:buNone/>
              <a:defRPr sz="1650" b="0">
                <a:solidFill>
                  <a:schemeClr val="accent1"/>
                </a:solidFill>
              </a:defRPr>
            </a:lvl7pPr>
            <a:lvl8pPr marL="0" indent="0">
              <a:lnSpc>
                <a:spcPct val="100000"/>
              </a:lnSpc>
              <a:spcBef>
                <a:spcPts val="0"/>
              </a:spcBef>
              <a:spcAft>
                <a:spcPts val="0"/>
              </a:spcAft>
              <a:buNone/>
              <a:defRPr sz="1650" b="0">
                <a:solidFill>
                  <a:schemeClr val="accent1"/>
                </a:solidFill>
              </a:defRPr>
            </a:lvl8pPr>
            <a:lvl9pPr marL="0" indent="0">
              <a:lnSpc>
                <a:spcPct val="100000"/>
              </a:lnSpc>
              <a:spcBef>
                <a:spcPts val="0"/>
              </a:spcBef>
              <a:spcAft>
                <a:spcPts val="0"/>
              </a:spcAft>
              <a:buNone/>
              <a:defRPr sz="165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9" y="807744"/>
            <a:ext cx="10944225" cy="249008"/>
          </a:xfrm>
        </p:spPr>
        <p:txBody>
          <a:bodyPr/>
          <a:lstStyle/>
          <a:p>
            <a:r>
              <a:rPr lang="en-US" dirty="0"/>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Notice and two Contents">
    <p:spTree>
      <p:nvGrpSpPr>
        <p:cNvPr id="1" name=""/>
        <p:cNvGrpSpPr/>
        <p:nvPr/>
      </p:nvGrpSpPr>
      <p:grpSpPr>
        <a:xfrm>
          <a:off x="0" y="0"/>
          <a:ext cx="0" cy="0"/>
          <a:chOff x="0" y="0"/>
          <a:chExt cx="0" cy="0"/>
        </a:xfrm>
      </p:grpSpPr>
      <p:sp>
        <p:nvSpPr>
          <p:cNvPr id="8" name="Freeform 7"/>
          <p:cNvSpPr/>
          <p:nvPr userDrawn="1"/>
        </p:nvSpPr>
        <p:spPr bwMode="gray">
          <a:xfrm>
            <a:off x="2" y="6331918"/>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9" name="Freeform 8"/>
          <p:cNvSpPr/>
          <p:nvPr userDrawn="1"/>
        </p:nvSpPr>
        <p:spPr bwMode="gray">
          <a:xfrm>
            <a:off x="1" y="4811183"/>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6" name="Footer Placeholder 5"/>
          <p:cNvSpPr>
            <a:spLocks noGrp="1"/>
          </p:cNvSpPr>
          <p:nvPr>
            <p:ph type="ftr" sz="quarter" idx="19"/>
          </p:nvPr>
        </p:nvSpPr>
        <p:spPr bwMode="gray"/>
        <p:txBody>
          <a:bodyPr/>
          <a:lstStyle/>
          <a:p>
            <a:r>
              <a:rPr lang="en-US" noProof="0"/>
              <a:t>Title of Presentation | DD.MM.YYYY</a:t>
            </a:r>
            <a:endParaRPr lang="en-US" noProof="0" dirty="0"/>
          </a:p>
        </p:txBody>
      </p:sp>
      <p:sp>
        <p:nvSpPr>
          <p:cNvPr id="15" name="Slide Number Placeholder 14"/>
          <p:cNvSpPr>
            <a:spLocks noGrp="1"/>
          </p:cNvSpPr>
          <p:nvPr>
            <p:ph type="sldNum" sz="quarter" idx="20"/>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20" name="Content Placeholder 19"/>
          <p:cNvSpPr>
            <a:spLocks noGrp="1"/>
          </p:cNvSpPr>
          <p:nvPr>
            <p:ph sz="quarter" idx="22"/>
          </p:nvPr>
        </p:nvSpPr>
        <p:spPr bwMode="gray">
          <a:xfrm>
            <a:off x="623888" y="4437471"/>
            <a:ext cx="3960000" cy="1655827"/>
          </a:xfrm>
        </p:spPr>
        <p:txBody>
          <a:bodyPr/>
          <a:lstStyle>
            <a:lvl1pPr>
              <a:defRPr baseline="0"/>
            </a:lvl1pPr>
          </a:lstStyle>
          <a:p>
            <a:pPr lvl="0"/>
            <a:endParaRPr lang="en-US" dirty="0"/>
          </a:p>
        </p:txBody>
      </p:sp>
      <p:sp>
        <p:nvSpPr>
          <p:cNvPr id="22" name="Content Placeholder 21"/>
          <p:cNvSpPr>
            <a:spLocks noGrp="1"/>
          </p:cNvSpPr>
          <p:nvPr>
            <p:ph sz="quarter" idx="23"/>
          </p:nvPr>
        </p:nvSpPr>
        <p:spPr bwMode="gray">
          <a:xfrm>
            <a:off x="4871713" y="4437471"/>
            <a:ext cx="3888112" cy="1655827"/>
          </a:xfrm>
        </p:spPr>
        <p:txBody>
          <a:bodyPr/>
          <a:lstStyle/>
          <a:p>
            <a:pPr lvl="0"/>
            <a:endParaRPr lang="en-US" dirty="0"/>
          </a:p>
        </p:txBody>
      </p:sp>
      <p:sp>
        <p:nvSpPr>
          <p:cNvPr id="24" name="Content Placeholder 23"/>
          <p:cNvSpPr>
            <a:spLocks noGrp="1"/>
          </p:cNvSpPr>
          <p:nvPr>
            <p:ph sz="quarter" idx="24" hasCustomPrompt="1"/>
          </p:nvPr>
        </p:nvSpPr>
        <p:spPr bwMode="gray">
          <a:xfrm>
            <a:off x="9048751" y="1484310"/>
            <a:ext cx="2518051" cy="4608986"/>
          </a:xfrm>
        </p:spPr>
        <p:txBody>
          <a:bodyPr>
            <a:noAutofit/>
          </a:bodyPr>
          <a:lstStyle>
            <a:lvl1pPr>
              <a:defRPr sz="900">
                <a:solidFill>
                  <a:schemeClr val="accent1"/>
                </a:solidFill>
              </a:defRPr>
            </a:lvl1pPr>
            <a:lvl2pPr>
              <a:defRPr sz="900">
                <a:solidFill>
                  <a:schemeClr val="accent1"/>
                </a:solidFill>
              </a:defRPr>
            </a:lvl2pPr>
            <a:lvl3pPr>
              <a:defRPr sz="900">
                <a:solidFill>
                  <a:schemeClr val="accent1"/>
                </a:solidFill>
              </a:defRPr>
            </a:lvl3pPr>
            <a:lvl4pPr>
              <a:defRPr sz="900">
                <a:solidFill>
                  <a:schemeClr val="accent1"/>
                </a:solidFill>
              </a:defRPr>
            </a:lvl4pPr>
            <a:lvl5pPr>
              <a:defRPr sz="900">
                <a:solidFill>
                  <a:schemeClr val="accent1"/>
                </a:solidFill>
              </a:defRPr>
            </a:lvl5pPr>
            <a:lvl6pPr>
              <a:defRPr sz="900">
                <a:solidFill>
                  <a:schemeClr val="accent1"/>
                </a:solidFill>
              </a:defRPr>
            </a:lvl6pPr>
            <a:lvl7pPr>
              <a:defRPr sz="900">
                <a:solidFill>
                  <a:schemeClr val="accent1"/>
                </a:solidFill>
              </a:defRPr>
            </a:lvl7pPr>
            <a:lvl8pPr>
              <a:defRPr sz="900">
                <a:solidFill>
                  <a:schemeClr val="accent1"/>
                </a:solidFill>
              </a:defRPr>
            </a:lvl8pPr>
            <a:lvl9pPr>
              <a:defRPr sz="900">
                <a:solidFill>
                  <a:schemeClr val="accent1"/>
                </a:solidFill>
              </a:defRPr>
            </a:lvl9pPr>
          </a:lstStyle>
          <a:p>
            <a:pPr lvl="0"/>
            <a:r>
              <a:rPr lang="en-US" dirty="0"/>
              <a:t>You can use this field to enter marginal note, a table, a diagram or a SmartAr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6" hasCustomPrompt="1"/>
          </p:nvPr>
        </p:nvSpPr>
        <p:spPr bwMode="gray">
          <a:xfrm>
            <a:off x="623888" y="4076702"/>
            <a:ext cx="8135936" cy="360363"/>
          </a:xfrm>
          <a:prstGeom prst="rect">
            <a:avLst/>
          </a:prstGeom>
        </p:spPr>
        <p:txBody>
          <a:bodyPr/>
          <a:lstStyle>
            <a:lvl1pPr marL="0" indent="0">
              <a:spcBef>
                <a:spcPts val="0"/>
              </a:spcBef>
              <a:spcAft>
                <a:spcPts val="0"/>
              </a:spcAft>
              <a:buFont typeface="Arial" panose="020B0604020202020204" pitchFamily="34" charset="0"/>
              <a:buNone/>
              <a:defRPr b="1">
                <a:solidFill>
                  <a:schemeClr val="bg2"/>
                </a:solidFill>
              </a:defRPr>
            </a:lvl1pPr>
            <a:lvl2pPr marL="0" indent="0">
              <a:spcBef>
                <a:spcPts val="0"/>
              </a:spcBef>
              <a:spcAft>
                <a:spcPts val="0"/>
              </a:spcAft>
              <a:buNone/>
              <a:defRPr b="1">
                <a:solidFill>
                  <a:schemeClr val="bg2"/>
                </a:solidFill>
              </a:defRPr>
            </a:lvl2pPr>
            <a:lvl3pPr marL="0" indent="0">
              <a:spcBef>
                <a:spcPts val="0"/>
              </a:spcBef>
              <a:spcAft>
                <a:spcPts val="0"/>
              </a:spcAft>
              <a:buNone/>
              <a:defRPr b="1">
                <a:solidFill>
                  <a:schemeClr val="bg2"/>
                </a:solidFill>
              </a:defRPr>
            </a:lvl3pPr>
            <a:lvl4pPr marL="0" indent="0">
              <a:spcBef>
                <a:spcPts val="0"/>
              </a:spcBef>
              <a:spcAft>
                <a:spcPts val="0"/>
              </a:spcAft>
              <a:buNone/>
              <a:defRPr b="1">
                <a:solidFill>
                  <a:schemeClr val="bg2"/>
                </a:solidFill>
              </a:defRPr>
            </a:lvl4pPr>
            <a:lvl5pPr marL="0" indent="0">
              <a:spcBef>
                <a:spcPts val="0"/>
              </a:spcBef>
              <a:spcAft>
                <a:spcPts val="0"/>
              </a:spcAft>
              <a:buNone/>
              <a:defRPr b="1">
                <a:solidFill>
                  <a:schemeClr val="bg2"/>
                </a:solidFill>
              </a:defRPr>
            </a:lvl5pPr>
            <a:lvl6pPr marL="0" indent="0">
              <a:spcBef>
                <a:spcPts val="0"/>
              </a:spcBef>
              <a:spcAft>
                <a:spcPts val="0"/>
              </a:spcAft>
              <a:buNone/>
              <a:defRPr b="1">
                <a:solidFill>
                  <a:schemeClr val="bg2"/>
                </a:solidFill>
              </a:defRPr>
            </a:lvl6pPr>
            <a:lvl7pPr marL="0" indent="0">
              <a:spcBef>
                <a:spcPts val="0"/>
              </a:spcBef>
              <a:spcAft>
                <a:spcPts val="0"/>
              </a:spcAft>
              <a:buNone/>
              <a:defRPr b="1">
                <a:solidFill>
                  <a:schemeClr val="bg2"/>
                </a:solidFill>
              </a:defRPr>
            </a:lvl7pPr>
            <a:lvl8pPr marL="0" indent="0">
              <a:spcBef>
                <a:spcPts val="0"/>
              </a:spcBef>
              <a:spcAft>
                <a:spcPts val="0"/>
              </a:spcAft>
              <a:buNone/>
              <a:defRPr b="1">
                <a:solidFill>
                  <a:schemeClr val="bg2"/>
                </a:solidFill>
              </a:defRPr>
            </a:lvl8pPr>
            <a:lvl9pPr marL="0" indent="0">
              <a:spcBef>
                <a:spcPts val="0"/>
              </a:spcBef>
              <a:spcAft>
                <a:spcPts val="0"/>
              </a:spcAft>
              <a:buNone/>
              <a:defRPr b="1">
                <a:solidFill>
                  <a:schemeClr val="bg2"/>
                </a:solidFill>
              </a:defRPr>
            </a:lvl9pPr>
          </a:lstStyle>
          <a:p>
            <a:pPr lvl="0"/>
            <a:r>
              <a:rPr lang="en-US" dirty="0"/>
              <a:t>Click to edit Master text styles</a:t>
            </a:r>
            <a:endParaRPr lang="en-US" noProof="0" dirty="0"/>
          </a:p>
        </p:txBody>
      </p:sp>
      <p:sp>
        <p:nvSpPr>
          <p:cNvPr id="18" name="Picture Placeholder 17"/>
          <p:cNvSpPr>
            <a:spLocks noGrp="1"/>
          </p:cNvSpPr>
          <p:nvPr>
            <p:ph type="pic" sz="quarter" idx="21"/>
          </p:nvPr>
        </p:nvSpPr>
        <p:spPr bwMode="gray">
          <a:xfrm>
            <a:off x="623888" y="1484310"/>
            <a:ext cx="8135936" cy="2376000"/>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750"/>
            </a:lvl1pPr>
            <a:lvl2pPr marL="0" indent="0" algn="ctr">
              <a:spcBef>
                <a:spcPts val="0"/>
              </a:spcBef>
              <a:spcAft>
                <a:spcPts val="0"/>
              </a:spcAft>
              <a:buNone/>
              <a:defRPr sz="750"/>
            </a:lvl2pPr>
            <a:lvl3pPr marL="0" indent="0" algn="ctr">
              <a:spcBef>
                <a:spcPts val="0"/>
              </a:spcBef>
              <a:spcAft>
                <a:spcPts val="0"/>
              </a:spcAft>
              <a:buNone/>
              <a:defRPr sz="750"/>
            </a:lvl3pPr>
            <a:lvl4pPr marL="0" indent="0" algn="ctr">
              <a:spcBef>
                <a:spcPts val="0"/>
              </a:spcBef>
              <a:spcAft>
                <a:spcPts val="0"/>
              </a:spcAft>
              <a:buNone/>
              <a:defRPr sz="750"/>
            </a:lvl4pPr>
            <a:lvl5pPr marL="0" indent="0" algn="ctr">
              <a:spcBef>
                <a:spcPts val="0"/>
              </a:spcBef>
              <a:spcAft>
                <a:spcPts val="0"/>
              </a:spcAft>
              <a:buNone/>
              <a:defRPr sz="750"/>
            </a:lvl5pPr>
            <a:lvl6pPr marL="0" indent="0" algn="ctr">
              <a:spcBef>
                <a:spcPts val="0"/>
              </a:spcBef>
              <a:spcAft>
                <a:spcPts val="0"/>
              </a:spcAft>
              <a:buNone/>
              <a:defRPr sz="750"/>
            </a:lvl6pPr>
            <a:lvl7pPr marL="0" indent="0" algn="ctr">
              <a:spcBef>
                <a:spcPts val="0"/>
              </a:spcBef>
              <a:spcAft>
                <a:spcPts val="0"/>
              </a:spcAft>
              <a:buNone/>
              <a:defRPr sz="750"/>
            </a:lvl7pPr>
            <a:lvl8pPr marL="0" indent="0" algn="ctr">
              <a:spcBef>
                <a:spcPts val="0"/>
              </a:spcBef>
              <a:spcAft>
                <a:spcPts val="0"/>
              </a:spcAft>
              <a:buNone/>
              <a:defRPr sz="750"/>
            </a:lvl8pPr>
            <a:lvl9pPr marL="0" indent="0" algn="ctr">
              <a:spcBef>
                <a:spcPts val="0"/>
              </a:spcBef>
              <a:spcAft>
                <a:spcPts val="0"/>
              </a:spcAft>
              <a:buNone/>
              <a:defRPr sz="750"/>
            </a:lvl9pPr>
          </a:lstStyle>
          <a:p>
            <a:endParaRPr lang="en-US" noProof="0" dirty="0"/>
          </a:p>
          <a:p>
            <a:r>
              <a:rPr lang="en-US" noProof="0" dirty="0"/>
              <a:t>Click icon to add picture</a:t>
            </a:r>
          </a:p>
        </p:txBody>
      </p:sp>
      <p:sp>
        <p:nvSpPr>
          <p:cNvPr id="13" name="Text Placeholder 7"/>
          <p:cNvSpPr>
            <a:spLocks noGrp="1"/>
          </p:cNvSpPr>
          <p:nvPr>
            <p:ph type="body" sz="quarter" idx="13" hasCustomPrompt="1"/>
          </p:nvPr>
        </p:nvSpPr>
        <p:spPr bwMode="gray">
          <a:xfrm>
            <a:off x="623889"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1650" b="0" baseline="0">
                <a:solidFill>
                  <a:schemeClr val="accent1"/>
                </a:solidFill>
              </a:defRPr>
            </a:lvl1pPr>
            <a:lvl2pPr marL="0" indent="0">
              <a:lnSpc>
                <a:spcPct val="100000"/>
              </a:lnSpc>
              <a:spcBef>
                <a:spcPts val="0"/>
              </a:spcBef>
              <a:spcAft>
                <a:spcPts val="0"/>
              </a:spcAft>
              <a:buFont typeface="Arial" panose="020B0604020202020204" pitchFamily="34" charset="0"/>
              <a:buNone/>
              <a:defRPr sz="1650" b="0">
                <a:solidFill>
                  <a:schemeClr val="accent1"/>
                </a:solidFill>
              </a:defRPr>
            </a:lvl2pPr>
            <a:lvl3pPr marL="0" indent="0">
              <a:lnSpc>
                <a:spcPct val="100000"/>
              </a:lnSpc>
              <a:spcBef>
                <a:spcPts val="0"/>
              </a:spcBef>
              <a:spcAft>
                <a:spcPts val="0"/>
              </a:spcAft>
              <a:buNone/>
              <a:defRPr sz="1650" b="0">
                <a:solidFill>
                  <a:schemeClr val="accent1"/>
                </a:solidFill>
              </a:defRPr>
            </a:lvl3pPr>
            <a:lvl4pPr marL="0" indent="0">
              <a:lnSpc>
                <a:spcPct val="100000"/>
              </a:lnSpc>
              <a:spcBef>
                <a:spcPts val="0"/>
              </a:spcBef>
              <a:spcAft>
                <a:spcPts val="0"/>
              </a:spcAft>
              <a:buNone/>
              <a:defRPr sz="1650" b="0">
                <a:solidFill>
                  <a:schemeClr val="accent1"/>
                </a:solidFill>
              </a:defRPr>
            </a:lvl4pPr>
            <a:lvl5pPr marL="0" indent="0">
              <a:lnSpc>
                <a:spcPct val="100000"/>
              </a:lnSpc>
              <a:spcBef>
                <a:spcPts val="0"/>
              </a:spcBef>
              <a:spcAft>
                <a:spcPts val="0"/>
              </a:spcAft>
              <a:buNone/>
              <a:defRPr sz="1650" b="0">
                <a:solidFill>
                  <a:schemeClr val="accent1"/>
                </a:solidFill>
              </a:defRPr>
            </a:lvl5pPr>
            <a:lvl6pPr marL="0" indent="0">
              <a:lnSpc>
                <a:spcPct val="100000"/>
              </a:lnSpc>
              <a:spcBef>
                <a:spcPts val="0"/>
              </a:spcBef>
              <a:spcAft>
                <a:spcPts val="0"/>
              </a:spcAft>
              <a:buNone/>
              <a:defRPr sz="1650" b="0">
                <a:solidFill>
                  <a:schemeClr val="accent1"/>
                </a:solidFill>
              </a:defRPr>
            </a:lvl6pPr>
            <a:lvl7pPr marL="0" indent="0">
              <a:lnSpc>
                <a:spcPct val="100000"/>
              </a:lnSpc>
              <a:spcBef>
                <a:spcPts val="0"/>
              </a:spcBef>
              <a:spcAft>
                <a:spcPts val="0"/>
              </a:spcAft>
              <a:buNone/>
              <a:defRPr sz="1650" b="0">
                <a:solidFill>
                  <a:schemeClr val="accent1"/>
                </a:solidFill>
              </a:defRPr>
            </a:lvl7pPr>
            <a:lvl8pPr marL="0" indent="0">
              <a:lnSpc>
                <a:spcPct val="100000"/>
              </a:lnSpc>
              <a:spcBef>
                <a:spcPts val="0"/>
              </a:spcBef>
              <a:spcAft>
                <a:spcPts val="0"/>
              </a:spcAft>
              <a:buNone/>
              <a:defRPr sz="1650" b="0">
                <a:solidFill>
                  <a:schemeClr val="accent1"/>
                </a:solidFill>
              </a:defRPr>
            </a:lvl8pPr>
            <a:lvl9pPr marL="0" indent="0">
              <a:lnSpc>
                <a:spcPct val="100000"/>
              </a:lnSpc>
              <a:spcBef>
                <a:spcPts val="0"/>
              </a:spcBef>
              <a:spcAft>
                <a:spcPts val="0"/>
              </a:spcAft>
              <a:buNone/>
              <a:defRPr sz="165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9" y="807744"/>
            <a:ext cx="10944225" cy="249008"/>
          </a:xfrm>
        </p:spPr>
        <p:txBody>
          <a:bodyPr/>
          <a:lstStyle/>
          <a:p>
            <a:r>
              <a:rPr lang="en-US" dirty="0"/>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small Picture">
    <p:spTree>
      <p:nvGrpSpPr>
        <p:cNvPr id="1" name=""/>
        <p:cNvGrpSpPr/>
        <p:nvPr/>
      </p:nvGrpSpPr>
      <p:grpSpPr>
        <a:xfrm>
          <a:off x="0" y="0"/>
          <a:ext cx="0" cy="0"/>
          <a:chOff x="0" y="0"/>
          <a:chExt cx="0" cy="0"/>
        </a:xfrm>
      </p:grpSpPr>
      <p:sp>
        <p:nvSpPr>
          <p:cNvPr id="8" name="Freeform 7"/>
          <p:cNvSpPr/>
          <p:nvPr userDrawn="1"/>
        </p:nvSpPr>
        <p:spPr bwMode="gray">
          <a:xfrm>
            <a:off x="2" y="6331918"/>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noProof="0" dirty="0">
              <a:solidFill>
                <a:schemeClr val="tx1"/>
              </a:solidFill>
            </a:endParaRPr>
          </a:p>
        </p:txBody>
      </p:sp>
      <p:sp>
        <p:nvSpPr>
          <p:cNvPr id="9" name="Freeform 8"/>
          <p:cNvSpPr/>
          <p:nvPr userDrawn="1"/>
        </p:nvSpPr>
        <p:spPr bwMode="gray">
          <a:xfrm>
            <a:off x="1" y="4811183"/>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noProof="0" dirty="0">
              <a:solidFill>
                <a:schemeClr val="tx1"/>
              </a:solidFill>
            </a:endParaRPr>
          </a:p>
        </p:txBody>
      </p:sp>
      <p:sp>
        <p:nvSpPr>
          <p:cNvPr id="5" name="Footer Placeholder 4"/>
          <p:cNvSpPr>
            <a:spLocks noGrp="1"/>
          </p:cNvSpPr>
          <p:nvPr>
            <p:ph type="ftr" sz="quarter" idx="16"/>
          </p:nvPr>
        </p:nvSpPr>
        <p:spPr bwMode="gray"/>
        <p:txBody>
          <a:bodyPr/>
          <a:lstStyle/>
          <a:p>
            <a:r>
              <a:rPr lang="en-US" noProof="0"/>
              <a:t>Title of Presentation | DD.MM.YYYY</a:t>
            </a:r>
            <a:endParaRPr lang="en-US" noProof="0" dirty="0"/>
          </a:p>
        </p:txBody>
      </p:sp>
      <p:sp>
        <p:nvSpPr>
          <p:cNvPr id="12" name="Slide Number Placeholder 11"/>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9" name="Picture Placeholder 18"/>
          <p:cNvSpPr>
            <a:spLocks noGrp="1"/>
          </p:cNvSpPr>
          <p:nvPr>
            <p:ph type="pic" sz="quarter" idx="19"/>
          </p:nvPr>
        </p:nvSpPr>
        <p:spPr bwMode="gray">
          <a:xfrm>
            <a:off x="9048751" y="1484312"/>
            <a:ext cx="2518051" cy="4608515"/>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750"/>
            </a:lvl1pPr>
            <a:lvl2pPr marL="0" indent="0" algn="ctr">
              <a:spcBef>
                <a:spcPts val="0"/>
              </a:spcBef>
              <a:spcAft>
                <a:spcPts val="0"/>
              </a:spcAft>
              <a:buNone/>
              <a:defRPr sz="750"/>
            </a:lvl2pPr>
            <a:lvl3pPr marL="0" indent="0" algn="ctr">
              <a:spcBef>
                <a:spcPts val="0"/>
              </a:spcBef>
              <a:spcAft>
                <a:spcPts val="0"/>
              </a:spcAft>
              <a:buNone/>
              <a:defRPr sz="750"/>
            </a:lvl3pPr>
            <a:lvl4pPr marL="0" indent="0" algn="ctr">
              <a:spcBef>
                <a:spcPts val="0"/>
              </a:spcBef>
              <a:spcAft>
                <a:spcPts val="0"/>
              </a:spcAft>
              <a:buNone/>
              <a:defRPr sz="750"/>
            </a:lvl4pPr>
            <a:lvl5pPr marL="0" indent="0" algn="ctr">
              <a:spcBef>
                <a:spcPts val="0"/>
              </a:spcBef>
              <a:spcAft>
                <a:spcPts val="0"/>
              </a:spcAft>
              <a:buNone/>
              <a:defRPr sz="750"/>
            </a:lvl5pPr>
            <a:lvl6pPr marL="0" indent="0" algn="ctr">
              <a:spcBef>
                <a:spcPts val="0"/>
              </a:spcBef>
              <a:spcAft>
                <a:spcPts val="0"/>
              </a:spcAft>
              <a:buNone/>
              <a:defRPr sz="750"/>
            </a:lvl6pPr>
            <a:lvl7pPr marL="0" indent="0" algn="ctr">
              <a:spcBef>
                <a:spcPts val="0"/>
              </a:spcBef>
              <a:spcAft>
                <a:spcPts val="0"/>
              </a:spcAft>
              <a:buNone/>
              <a:defRPr sz="750"/>
            </a:lvl7pPr>
            <a:lvl8pPr marL="0" indent="0" algn="ctr">
              <a:spcBef>
                <a:spcPts val="0"/>
              </a:spcBef>
              <a:spcAft>
                <a:spcPts val="0"/>
              </a:spcAft>
              <a:buNone/>
              <a:defRPr sz="750"/>
            </a:lvl8pPr>
            <a:lvl9pPr marL="0" indent="0" algn="ctr">
              <a:spcBef>
                <a:spcPts val="0"/>
              </a:spcBef>
              <a:spcAft>
                <a:spcPts val="0"/>
              </a:spcAft>
              <a:buNone/>
              <a:defRPr sz="750"/>
            </a:lvl9pPr>
          </a:lstStyle>
          <a:p>
            <a:endParaRPr lang="en-US" noProof="0" dirty="0"/>
          </a:p>
          <a:p>
            <a:r>
              <a:rPr lang="en-US" noProof="0" dirty="0"/>
              <a:t>Click icon to add picture</a:t>
            </a:r>
          </a:p>
        </p:txBody>
      </p:sp>
      <p:sp>
        <p:nvSpPr>
          <p:cNvPr id="17" name="Content Placeholder 16"/>
          <p:cNvSpPr>
            <a:spLocks noGrp="1"/>
          </p:cNvSpPr>
          <p:nvPr>
            <p:ph sz="quarter" idx="18" hasCustomPrompt="1"/>
          </p:nvPr>
        </p:nvSpPr>
        <p:spPr bwMode="gray">
          <a:xfrm>
            <a:off x="623888" y="1484314"/>
            <a:ext cx="8135936" cy="4608517"/>
          </a:xfrm>
        </p:spPr>
        <p:txBody>
          <a:bodyPr/>
          <a:lstStyle>
            <a:lvl1pPr>
              <a:defRPr/>
            </a:lvl1pPr>
          </a:lstStyle>
          <a:p>
            <a:pPr lvl="0"/>
            <a:r>
              <a:rPr lang="en-US" dirty="0"/>
              <a:t>You can use this field to enter text, a table, a diagram or a SmartArt.</a:t>
            </a:r>
            <a:br>
              <a:rPr lang="en-US" dirty="0"/>
            </a:br>
            <a:r>
              <a:rPr lang="en-US" dirty="0"/>
              <a:t>Use the buttons “Increase List Level” for </a:t>
            </a:r>
            <a:r>
              <a:rPr lang="en-US" dirty="0" err="1"/>
              <a:t>copytext</a:t>
            </a:r>
            <a:r>
              <a:rPr lang="en-US" dirty="0"/>
              <a:t> or bullet levels.</a:t>
            </a:r>
            <a:br>
              <a:rPr lang="en-US" dirty="0"/>
            </a:br>
            <a:r>
              <a:rPr lang="en-US" dirty="0"/>
              <a:t>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7"/>
          <p:cNvSpPr>
            <a:spLocks noGrp="1"/>
          </p:cNvSpPr>
          <p:nvPr>
            <p:ph type="body" sz="quarter" idx="13" hasCustomPrompt="1"/>
          </p:nvPr>
        </p:nvSpPr>
        <p:spPr bwMode="gray">
          <a:xfrm>
            <a:off x="623889"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1650" b="0" baseline="0">
                <a:solidFill>
                  <a:schemeClr val="accent1"/>
                </a:solidFill>
              </a:defRPr>
            </a:lvl1pPr>
            <a:lvl2pPr marL="0" indent="0">
              <a:lnSpc>
                <a:spcPct val="100000"/>
              </a:lnSpc>
              <a:spcBef>
                <a:spcPts val="0"/>
              </a:spcBef>
              <a:spcAft>
                <a:spcPts val="0"/>
              </a:spcAft>
              <a:buFont typeface="Arial" panose="020B0604020202020204" pitchFamily="34" charset="0"/>
              <a:buNone/>
              <a:defRPr sz="1650" b="0">
                <a:solidFill>
                  <a:schemeClr val="accent1"/>
                </a:solidFill>
              </a:defRPr>
            </a:lvl2pPr>
            <a:lvl3pPr marL="0" indent="0">
              <a:lnSpc>
                <a:spcPct val="100000"/>
              </a:lnSpc>
              <a:spcBef>
                <a:spcPts val="0"/>
              </a:spcBef>
              <a:spcAft>
                <a:spcPts val="0"/>
              </a:spcAft>
              <a:buNone/>
              <a:defRPr sz="1650" b="0">
                <a:solidFill>
                  <a:schemeClr val="accent1"/>
                </a:solidFill>
              </a:defRPr>
            </a:lvl3pPr>
            <a:lvl4pPr marL="0" indent="0">
              <a:lnSpc>
                <a:spcPct val="100000"/>
              </a:lnSpc>
              <a:spcBef>
                <a:spcPts val="0"/>
              </a:spcBef>
              <a:spcAft>
                <a:spcPts val="0"/>
              </a:spcAft>
              <a:buNone/>
              <a:defRPr sz="1650" b="0">
                <a:solidFill>
                  <a:schemeClr val="accent1"/>
                </a:solidFill>
              </a:defRPr>
            </a:lvl4pPr>
            <a:lvl5pPr marL="0" indent="0">
              <a:lnSpc>
                <a:spcPct val="100000"/>
              </a:lnSpc>
              <a:spcBef>
                <a:spcPts val="0"/>
              </a:spcBef>
              <a:spcAft>
                <a:spcPts val="0"/>
              </a:spcAft>
              <a:buNone/>
              <a:defRPr sz="1650" b="0">
                <a:solidFill>
                  <a:schemeClr val="accent1"/>
                </a:solidFill>
              </a:defRPr>
            </a:lvl5pPr>
            <a:lvl6pPr marL="0" indent="0">
              <a:lnSpc>
                <a:spcPct val="100000"/>
              </a:lnSpc>
              <a:spcBef>
                <a:spcPts val="0"/>
              </a:spcBef>
              <a:spcAft>
                <a:spcPts val="0"/>
              </a:spcAft>
              <a:buNone/>
              <a:defRPr sz="1650" b="0">
                <a:solidFill>
                  <a:schemeClr val="accent1"/>
                </a:solidFill>
              </a:defRPr>
            </a:lvl6pPr>
            <a:lvl7pPr marL="0" indent="0">
              <a:lnSpc>
                <a:spcPct val="100000"/>
              </a:lnSpc>
              <a:spcBef>
                <a:spcPts val="0"/>
              </a:spcBef>
              <a:spcAft>
                <a:spcPts val="0"/>
              </a:spcAft>
              <a:buNone/>
              <a:defRPr sz="1650" b="0">
                <a:solidFill>
                  <a:schemeClr val="accent1"/>
                </a:solidFill>
              </a:defRPr>
            </a:lvl7pPr>
            <a:lvl8pPr marL="0" indent="0">
              <a:lnSpc>
                <a:spcPct val="100000"/>
              </a:lnSpc>
              <a:spcBef>
                <a:spcPts val="0"/>
              </a:spcBef>
              <a:spcAft>
                <a:spcPts val="0"/>
              </a:spcAft>
              <a:buNone/>
              <a:defRPr sz="1650" b="0">
                <a:solidFill>
                  <a:schemeClr val="accent1"/>
                </a:solidFill>
              </a:defRPr>
            </a:lvl8pPr>
            <a:lvl9pPr marL="0" indent="0">
              <a:lnSpc>
                <a:spcPct val="100000"/>
              </a:lnSpc>
              <a:spcBef>
                <a:spcPts val="0"/>
              </a:spcBef>
              <a:spcAft>
                <a:spcPts val="0"/>
              </a:spcAft>
              <a:buNone/>
              <a:defRPr sz="165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9" y="807744"/>
            <a:ext cx="10944225" cy="249008"/>
          </a:xfrm>
        </p:spPr>
        <p:txBody>
          <a:bodyPr/>
          <a:lstStyle/>
          <a:p>
            <a:r>
              <a:rPr lang="en-US" dirty="0"/>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mall Picture and Content">
    <p:spTree>
      <p:nvGrpSpPr>
        <p:cNvPr id="1" name=""/>
        <p:cNvGrpSpPr/>
        <p:nvPr/>
      </p:nvGrpSpPr>
      <p:grpSpPr>
        <a:xfrm>
          <a:off x="0" y="0"/>
          <a:ext cx="0" cy="0"/>
          <a:chOff x="0" y="0"/>
          <a:chExt cx="0" cy="0"/>
        </a:xfrm>
      </p:grpSpPr>
      <p:sp>
        <p:nvSpPr>
          <p:cNvPr id="8" name="Freeform 7"/>
          <p:cNvSpPr/>
          <p:nvPr userDrawn="1"/>
        </p:nvSpPr>
        <p:spPr bwMode="gray">
          <a:xfrm>
            <a:off x="2" y="6331918"/>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9" name="Freeform 8"/>
          <p:cNvSpPr/>
          <p:nvPr userDrawn="1"/>
        </p:nvSpPr>
        <p:spPr bwMode="gray">
          <a:xfrm>
            <a:off x="1" y="4811183"/>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5" name="Footer Placeholder 4"/>
          <p:cNvSpPr>
            <a:spLocks noGrp="1"/>
          </p:cNvSpPr>
          <p:nvPr>
            <p:ph type="ftr" sz="quarter" idx="16"/>
          </p:nvPr>
        </p:nvSpPr>
        <p:spPr bwMode="gray"/>
        <p:txBody>
          <a:bodyPr/>
          <a:lstStyle/>
          <a:p>
            <a:r>
              <a:rPr lang="en-US" noProof="0"/>
              <a:t>Title of Presentation | DD.MM.YYYY</a:t>
            </a:r>
            <a:endParaRPr lang="en-US" noProof="0" dirty="0"/>
          </a:p>
        </p:txBody>
      </p:sp>
      <p:sp>
        <p:nvSpPr>
          <p:cNvPr id="12" name="Slide Number Placeholder 11"/>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7" name="Content Placeholder 16"/>
          <p:cNvSpPr>
            <a:spLocks noGrp="1"/>
          </p:cNvSpPr>
          <p:nvPr>
            <p:ph sz="quarter" idx="19" hasCustomPrompt="1"/>
          </p:nvPr>
        </p:nvSpPr>
        <p:spPr bwMode="gray">
          <a:xfrm>
            <a:off x="3430867" y="1484310"/>
            <a:ext cx="8135936" cy="4608520"/>
          </a:xfrm>
        </p:spPr>
        <p:txBody>
          <a:bodyPr/>
          <a:lstStyle>
            <a:lvl1pPr marL="0" marR="0" indent="0" algn="l" defTabSz="685800" rtl="0" eaLnBrk="1" fontAlgn="auto" latinLnBrk="0" hangingPunct="1">
              <a:lnSpc>
                <a:spcPct val="100000"/>
              </a:lnSpc>
              <a:spcBef>
                <a:spcPts val="450"/>
              </a:spcBef>
              <a:spcAft>
                <a:spcPts val="225"/>
              </a:spcAft>
              <a:buClrTx/>
              <a:buSzTx/>
              <a:buFont typeface="Arial" panose="020B0604020202020204" pitchFamily="34" charset="0"/>
              <a:buNone/>
              <a:tabLst/>
              <a:defRPr baseline="0"/>
            </a:lvl1pPr>
          </a:lstStyle>
          <a:p>
            <a:pPr marL="0" marR="0" lvl="0" indent="0" algn="l" defTabSz="685800" rtl="0" eaLnBrk="1" fontAlgn="auto" latinLnBrk="0" hangingPunct="1">
              <a:lnSpc>
                <a:spcPct val="100000"/>
              </a:lnSpc>
              <a:spcBef>
                <a:spcPts val="450"/>
              </a:spcBef>
              <a:spcAft>
                <a:spcPts val="225"/>
              </a:spcAft>
              <a:buClrTx/>
              <a:buSzTx/>
              <a:buFont typeface="Arial" panose="020B0604020202020204" pitchFamily="34" charset="0"/>
              <a:buNone/>
              <a:tabLst/>
              <a:defRPr/>
            </a:pPr>
            <a:r>
              <a:rPr lang="en-US" dirty="0"/>
              <a:t>You can use this field to enter text, a table, a diagram or a SmartArt.</a:t>
            </a:r>
            <a:br>
              <a:rPr lang="en-US" dirty="0"/>
            </a:br>
            <a:r>
              <a:rPr lang="en-US" dirty="0"/>
              <a:t>Use the buttons “Increase List Level” for </a:t>
            </a:r>
            <a:r>
              <a:rPr lang="en-US" dirty="0" err="1"/>
              <a:t>copytext</a:t>
            </a:r>
            <a:r>
              <a:rPr lang="en-US" dirty="0"/>
              <a:t> or bullet levels.</a:t>
            </a:r>
            <a:br>
              <a:rPr lang="en-US" dirty="0"/>
            </a:br>
            <a:r>
              <a:rPr lang="en-US" dirty="0"/>
              <a:t>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p:cNvSpPr>
            <a:spLocks noGrp="1"/>
          </p:cNvSpPr>
          <p:nvPr>
            <p:ph type="pic" sz="quarter" idx="18"/>
          </p:nvPr>
        </p:nvSpPr>
        <p:spPr bwMode="gray">
          <a:xfrm>
            <a:off x="623889" y="1484312"/>
            <a:ext cx="2518051" cy="4608515"/>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750"/>
            </a:lvl1pPr>
            <a:lvl2pPr marL="0" indent="0" algn="ctr">
              <a:spcBef>
                <a:spcPts val="0"/>
              </a:spcBef>
              <a:spcAft>
                <a:spcPts val="0"/>
              </a:spcAft>
              <a:buNone/>
              <a:defRPr sz="750"/>
            </a:lvl2pPr>
            <a:lvl3pPr marL="0" indent="0" algn="ctr">
              <a:spcBef>
                <a:spcPts val="0"/>
              </a:spcBef>
              <a:spcAft>
                <a:spcPts val="0"/>
              </a:spcAft>
              <a:buNone/>
              <a:defRPr sz="750"/>
            </a:lvl3pPr>
            <a:lvl4pPr marL="0" indent="0" algn="ctr">
              <a:spcBef>
                <a:spcPts val="0"/>
              </a:spcBef>
              <a:spcAft>
                <a:spcPts val="0"/>
              </a:spcAft>
              <a:buNone/>
              <a:defRPr sz="750"/>
            </a:lvl4pPr>
            <a:lvl5pPr marL="0" indent="0" algn="ctr">
              <a:spcBef>
                <a:spcPts val="0"/>
              </a:spcBef>
              <a:spcAft>
                <a:spcPts val="0"/>
              </a:spcAft>
              <a:buNone/>
              <a:defRPr sz="750"/>
            </a:lvl5pPr>
            <a:lvl6pPr marL="0" indent="0" algn="ctr">
              <a:spcBef>
                <a:spcPts val="0"/>
              </a:spcBef>
              <a:spcAft>
                <a:spcPts val="0"/>
              </a:spcAft>
              <a:buNone/>
              <a:defRPr sz="750"/>
            </a:lvl6pPr>
            <a:lvl7pPr marL="0" indent="0" algn="ctr">
              <a:spcBef>
                <a:spcPts val="0"/>
              </a:spcBef>
              <a:spcAft>
                <a:spcPts val="0"/>
              </a:spcAft>
              <a:buNone/>
              <a:defRPr sz="750"/>
            </a:lvl7pPr>
            <a:lvl8pPr marL="0" indent="0" algn="ctr">
              <a:spcBef>
                <a:spcPts val="0"/>
              </a:spcBef>
              <a:spcAft>
                <a:spcPts val="0"/>
              </a:spcAft>
              <a:buNone/>
              <a:defRPr sz="750"/>
            </a:lvl8pPr>
            <a:lvl9pPr marL="0" indent="0" algn="ctr">
              <a:spcBef>
                <a:spcPts val="0"/>
              </a:spcBef>
              <a:spcAft>
                <a:spcPts val="0"/>
              </a:spcAft>
              <a:buNone/>
              <a:defRPr sz="750"/>
            </a:lvl9pPr>
          </a:lstStyle>
          <a:p>
            <a:endParaRPr lang="en-US" noProof="0" dirty="0"/>
          </a:p>
          <a:p>
            <a:r>
              <a:rPr lang="en-US" noProof="0" dirty="0"/>
              <a:t>Click icon to add picture</a:t>
            </a:r>
          </a:p>
        </p:txBody>
      </p:sp>
      <p:sp>
        <p:nvSpPr>
          <p:cNvPr id="10" name="Text Placeholder 7"/>
          <p:cNvSpPr>
            <a:spLocks noGrp="1"/>
          </p:cNvSpPr>
          <p:nvPr>
            <p:ph type="body" sz="quarter" idx="13" hasCustomPrompt="1"/>
          </p:nvPr>
        </p:nvSpPr>
        <p:spPr bwMode="gray">
          <a:xfrm>
            <a:off x="623889"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1650" b="0" baseline="0">
                <a:solidFill>
                  <a:schemeClr val="accent1"/>
                </a:solidFill>
              </a:defRPr>
            </a:lvl1pPr>
            <a:lvl2pPr marL="0" indent="0">
              <a:lnSpc>
                <a:spcPct val="100000"/>
              </a:lnSpc>
              <a:spcBef>
                <a:spcPts val="0"/>
              </a:spcBef>
              <a:spcAft>
                <a:spcPts val="0"/>
              </a:spcAft>
              <a:buFont typeface="Arial" panose="020B0604020202020204" pitchFamily="34" charset="0"/>
              <a:buNone/>
              <a:defRPr sz="1650" b="0">
                <a:solidFill>
                  <a:schemeClr val="accent1"/>
                </a:solidFill>
              </a:defRPr>
            </a:lvl2pPr>
            <a:lvl3pPr marL="0" indent="0">
              <a:lnSpc>
                <a:spcPct val="100000"/>
              </a:lnSpc>
              <a:spcBef>
                <a:spcPts val="0"/>
              </a:spcBef>
              <a:spcAft>
                <a:spcPts val="0"/>
              </a:spcAft>
              <a:buNone/>
              <a:defRPr sz="1650" b="0">
                <a:solidFill>
                  <a:schemeClr val="accent1"/>
                </a:solidFill>
              </a:defRPr>
            </a:lvl3pPr>
            <a:lvl4pPr marL="0" indent="0">
              <a:lnSpc>
                <a:spcPct val="100000"/>
              </a:lnSpc>
              <a:spcBef>
                <a:spcPts val="0"/>
              </a:spcBef>
              <a:spcAft>
                <a:spcPts val="0"/>
              </a:spcAft>
              <a:buNone/>
              <a:defRPr sz="1650" b="0">
                <a:solidFill>
                  <a:schemeClr val="accent1"/>
                </a:solidFill>
              </a:defRPr>
            </a:lvl4pPr>
            <a:lvl5pPr marL="0" indent="0">
              <a:lnSpc>
                <a:spcPct val="100000"/>
              </a:lnSpc>
              <a:spcBef>
                <a:spcPts val="0"/>
              </a:spcBef>
              <a:spcAft>
                <a:spcPts val="0"/>
              </a:spcAft>
              <a:buNone/>
              <a:defRPr sz="1650" b="0">
                <a:solidFill>
                  <a:schemeClr val="accent1"/>
                </a:solidFill>
              </a:defRPr>
            </a:lvl5pPr>
            <a:lvl6pPr marL="0" indent="0">
              <a:lnSpc>
                <a:spcPct val="100000"/>
              </a:lnSpc>
              <a:spcBef>
                <a:spcPts val="0"/>
              </a:spcBef>
              <a:spcAft>
                <a:spcPts val="0"/>
              </a:spcAft>
              <a:buNone/>
              <a:defRPr sz="1650" b="0">
                <a:solidFill>
                  <a:schemeClr val="accent1"/>
                </a:solidFill>
              </a:defRPr>
            </a:lvl6pPr>
            <a:lvl7pPr marL="0" indent="0">
              <a:lnSpc>
                <a:spcPct val="100000"/>
              </a:lnSpc>
              <a:spcBef>
                <a:spcPts val="0"/>
              </a:spcBef>
              <a:spcAft>
                <a:spcPts val="0"/>
              </a:spcAft>
              <a:buNone/>
              <a:defRPr sz="1650" b="0">
                <a:solidFill>
                  <a:schemeClr val="accent1"/>
                </a:solidFill>
              </a:defRPr>
            </a:lvl7pPr>
            <a:lvl8pPr marL="0" indent="0">
              <a:lnSpc>
                <a:spcPct val="100000"/>
              </a:lnSpc>
              <a:spcBef>
                <a:spcPts val="0"/>
              </a:spcBef>
              <a:spcAft>
                <a:spcPts val="0"/>
              </a:spcAft>
              <a:buNone/>
              <a:defRPr sz="1650" b="0">
                <a:solidFill>
                  <a:schemeClr val="accent1"/>
                </a:solidFill>
              </a:defRPr>
            </a:lvl8pPr>
            <a:lvl9pPr marL="0" indent="0">
              <a:lnSpc>
                <a:spcPct val="100000"/>
              </a:lnSpc>
              <a:spcBef>
                <a:spcPts val="0"/>
              </a:spcBef>
              <a:spcAft>
                <a:spcPts val="0"/>
              </a:spcAft>
              <a:buNone/>
              <a:defRPr sz="165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9" y="807744"/>
            <a:ext cx="10944225" cy="249008"/>
          </a:xfrm>
        </p:spPr>
        <p:txBody>
          <a:bodyPr/>
          <a:lstStyle/>
          <a:p>
            <a:r>
              <a:rPr lang="en-US" dirty="0"/>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nly Title with Elements">
    <p:bg bwMode="gray">
      <p:bgRef idx="1001">
        <a:schemeClr val="bg1"/>
      </p:bgRef>
    </p:bg>
    <p:spTree>
      <p:nvGrpSpPr>
        <p:cNvPr id="1" name=""/>
        <p:cNvGrpSpPr/>
        <p:nvPr/>
      </p:nvGrpSpPr>
      <p:grpSpPr>
        <a:xfrm>
          <a:off x="0" y="0"/>
          <a:ext cx="0" cy="0"/>
          <a:chOff x="0" y="0"/>
          <a:chExt cx="0" cy="0"/>
        </a:xfrm>
      </p:grpSpPr>
      <p:sp>
        <p:nvSpPr>
          <p:cNvPr id="6" name="Freeform 5"/>
          <p:cNvSpPr/>
          <p:nvPr userDrawn="1"/>
        </p:nvSpPr>
        <p:spPr bwMode="gray">
          <a:xfrm>
            <a:off x="2" y="6331918"/>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7" name="Freeform 6"/>
          <p:cNvSpPr/>
          <p:nvPr userDrawn="1"/>
        </p:nvSpPr>
        <p:spPr bwMode="gray">
          <a:xfrm>
            <a:off x="1" y="4811183"/>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4" name="Footer Placeholder 3"/>
          <p:cNvSpPr>
            <a:spLocks noGrp="1"/>
          </p:cNvSpPr>
          <p:nvPr>
            <p:ph type="ftr" sz="quarter" idx="10"/>
          </p:nvPr>
        </p:nvSpPr>
        <p:spPr bwMode="gray"/>
        <p:txBody>
          <a:bodyPr/>
          <a:lstStyle/>
          <a:p>
            <a:r>
              <a:rPr lang="en-US" noProof="0"/>
              <a:t>Title of Presentation | DD.MM.YYYY</a:t>
            </a:r>
            <a:endParaRPr lang="en-US" noProof="0" dirty="0"/>
          </a:p>
        </p:txBody>
      </p:sp>
      <p:sp>
        <p:nvSpPr>
          <p:cNvPr id="8" name="Slide Number Placeholder 7"/>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9" name="Text Placeholder 7"/>
          <p:cNvSpPr>
            <a:spLocks noGrp="1"/>
          </p:cNvSpPr>
          <p:nvPr>
            <p:ph type="body" sz="quarter" idx="13" hasCustomPrompt="1"/>
          </p:nvPr>
        </p:nvSpPr>
        <p:spPr bwMode="gray">
          <a:xfrm>
            <a:off x="623889"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1650" b="0" baseline="0">
                <a:solidFill>
                  <a:schemeClr val="accent1"/>
                </a:solidFill>
              </a:defRPr>
            </a:lvl1pPr>
            <a:lvl2pPr marL="0" indent="0">
              <a:lnSpc>
                <a:spcPct val="100000"/>
              </a:lnSpc>
              <a:spcBef>
                <a:spcPts val="0"/>
              </a:spcBef>
              <a:spcAft>
                <a:spcPts val="0"/>
              </a:spcAft>
              <a:buFont typeface="Arial" panose="020B0604020202020204" pitchFamily="34" charset="0"/>
              <a:buNone/>
              <a:defRPr sz="1650" b="0">
                <a:solidFill>
                  <a:schemeClr val="accent1"/>
                </a:solidFill>
              </a:defRPr>
            </a:lvl2pPr>
            <a:lvl3pPr marL="0" indent="0">
              <a:lnSpc>
                <a:spcPct val="100000"/>
              </a:lnSpc>
              <a:spcBef>
                <a:spcPts val="0"/>
              </a:spcBef>
              <a:spcAft>
                <a:spcPts val="0"/>
              </a:spcAft>
              <a:buNone/>
              <a:defRPr sz="1650" b="0">
                <a:solidFill>
                  <a:schemeClr val="accent1"/>
                </a:solidFill>
              </a:defRPr>
            </a:lvl3pPr>
            <a:lvl4pPr marL="0" indent="0">
              <a:lnSpc>
                <a:spcPct val="100000"/>
              </a:lnSpc>
              <a:spcBef>
                <a:spcPts val="0"/>
              </a:spcBef>
              <a:spcAft>
                <a:spcPts val="0"/>
              </a:spcAft>
              <a:buNone/>
              <a:defRPr sz="1650" b="0">
                <a:solidFill>
                  <a:schemeClr val="accent1"/>
                </a:solidFill>
              </a:defRPr>
            </a:lvl4pPr>
            <a:lvl5pPr marL="0" indent="0">
              <a:lnSpc>
                <a:spcPct val="100000"/>
              </a:lnSpc>
              <a:spcBef>
                <a:spcPts val="0"/>
              </a:spcBef>
              <a:spcAft>
                <a:spcPts val="0"/>
              </a:spcAft>
              <a:buNone/>
              <a:defRPr sz="1650" b="0">
                <a:solidFill>
                  <a:schemeClr val="accent1"/>
                </a:solidFill>
              </a:defRPr>
            </a:lvl5pPr>
            <a:lvl6pPr marL="0" indent="0">
              <a:lnSpc>
                <a:spcPct val="100000"/>
              </a:lnSpc>
              <a:spcBef>
                <a:spcPts val="0"/>
              </a:spcBef>
              <a:spcAft>
                <a:spcPts val="0"/>
              </a:spcAft>
              <a:buNone/>
              <a:defRPr sz="1650" b="0">
                <a:solidFill>
                  <a:schemeClr val="accent1"/>
                </a:solidFill>
              </a:defRPr>
            </a:lvl6pPr>
            <a:lvl7pPr marL="0" indent="0">
              <a:lnSpc>
                <a:spcPct val="100000"/>
              </a:lnSpc>
              <a:spcBef>
                <a:spcPts val="0"/>
              </a:spcBef>
              <a:spcAft>
                <a:spcPts val="0"/>
              </a:spcAft>
              <a:buNone/>
              <a:defRPr sz="1650" b="0">
                <a:solidFill>
                  <a:schemeClr val="accent1"/>
                </a:solidFill>
              </a:defRPr>
            </a:lvl7pPr>
            <a:lvl8pPr marL="0" indent="0">
              <a:lnSpc>
                <a:spcPct val="100000"/>
              </a:lnSpc>
              <a:spcBef>
                <a:spcPts val="0"/>
              </a:spcBef>
              <a:spcAft>
                <a:spcPts val="0"/>
              </a:spcAft>
              <a:buNone/>
              <a:defRPr sz="1650" b="0">
                <a:solidFill>
                  <a:schemeClr val="accent1"/>
                </a:solidFill>
              </a:defRPr>
            </a:lvl8pPr>
            <a:lvl9pPr marL="0" indent="0">
              <a:lnSpc>
                <a:spcPct val="100000"/>
              </a:lnSpc>
              <a:spcBef>
                <a:spcPts val="0"/>
              </a:spcBef>
              <a:spcAft>
                <a:spcPts val="0"/>
              </a:spcAft>
              <a:buNone/>
              <a:defRPr sz="1650" b="0">
                <a:solidFill>
                  <a:schemeClr val="accent1"/>
                </a:solidFill>
              </a:defRPr>
            </a:lvl9pPr>
          </a:lstStyle>
          <a:p>
            <a:pPr lvl="0"/>
            <a:r>
              <a:rPr lang="en-US" noProof="0" dirty="0"/>
              <a:t> </a:t>
            </a:r>
          </a:p>
        </p:txBody>
      </p:sp>
      <p:sp>
        <p:nvSpPr>
          <p:cNvPr id="5" name="Title 4"/>
          <p:cNvSpPr>
            <a:spLocks noGrp="1"/>
          </p:cNvSpPr>
          <p:nvPr>
            <p:ph type="title" hasCustomPrompt="1"/>
          </p:nvPr>
        </p:nvSpPr>
        <p:spPr bwMode="gray">
          <a:xfrm>
            <a:off x="623889" y="807744"/>
            <a:ext cx="10944225" cy="249008"/>
          </a:xfrm>
        </p:spPr>
        <p:txBody>
          <a:bodyPr/>
          <a:lstStyle>
            <a:lvl1pPr>
              <a:defRPr/>
            </a:lvl1pPr>
          </a:lstStyle>
          <a:p>
            <a:r>
              <a:rPr lang="en-US" dirty="0"/>
              <a:t>Insert slide title here (max. 2 lines | max. 1 line with Action Tit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8" name="MIO_VALID_LAYOUT" hidden="1"/>
          <p:cNvSpPr/>
          <p:nvPr userDrawn="1"/>
        </p:nvSpPr>
        <p:spPr bwMode="gray">
          <a:xfrm>
            <a:off x="263057" y="157878"/>
            <a:ext cx="641167" cy="599207"/>
          </a:xfrm>
          <a:prstGeom prst="rect">
            <a:avLst/>
          </a:prstGeom>
          <a:solidFill>
            <a:srgbClr val="52328F"/>
          </a:solidFill>
          <a:ln w="9525" cap="flat" cmpd="sng" algn="ctr">
            <a:noFill/>
            <a:prstDash val="solid"/>
          </a:ln>
          <a:effectLst/>
        </p:spPr>
        <p:txBody>
          <a:bodyPr rtlCol="0" anchor="t" anchorCtr="0"/>
          <a:lstStyle/>
          <a:p>
            <a:pPr marL="135000" indent="-135000" algn="ctr">
              <a:spcBef>
                <a:spcPts val="225"/>
              </a:spcBef>
              <a:spcAft>
                <a:spcPts val="225"/>
              </a:spcAft>
              <a:buClr>
                <a:schemeClr val="bg1"/>
              </a:buClr>
              <a:buSzPct val="100000"/>
              <a:buFont typeface="Arial" panose="020B0604020202020204" pitchFamily="34" charset="0"/>
              <a:buChar char="•"/>
            </a:pPr>
            <a:endParaRPr lang="en-US" sz="1050" kern="0" dirty="0">
              <a:solidFill>
                <a:srgbClr val="FFFFFF"/>
              </a:solidFill>
              <a:latin typeface="Verdana"/>
            </a:endParaRPr>
          </a:p>
        </p:txBody>
      </p:sp>
      <p:sp>
        <p:nvSpPr>
          <p:cNvPr id="2" name="Footer Placeholder 1"/>
          <p:cNvSpPr>
            <a:spLocks noGrp="1"/>
          </p:cNvSpPr>
          <p:nvPr>
            <p:ph type="ftr" sz="quarter" idx="34"/>
          </p:nvPr>
        </p:nvSpPr>
        <p:spPr bwMode="gray"/>
        <p:txBody>
          <a:bodyPr/>
          <a:lstStyle/>
          <a:p>
            <a:r>
              <a:rPr lang="en-US"/>
              <a:t>Title of Presentation | DD.MM.YYYY</a:t>
            </a:r>
            <a:endParaRPr lang="en-US" dirty="0"/>
          </a:p>
        </p:txBody>
      </p:sp>
      <p:sp>
        <p:nvSpPr>
          <p:cNvPr id="4" name="Slide Number Placeholder 3"/>
          <p:cNvSpPr>
            <a:spLocks noGrp="1"/>
          </p:cNvSpPr>
          <p:nvPr>
            <p:ph type="sldNum" sz="quarter" idx="35"/>
          </p:nvPr>
        </p:nvSpPr>
        <p:spPr bwMode="gray"/>
        <p:txBody>
          <a:bodyPr/>
          <a:lstStyle/>
          <a:p>
            <a:fld id="{7C13EB76-EF81-47B5-BEE8-51CDB48536F3}" type="slidenum">
              <a:rPr lang="en-US" smtClean="0"/>
              <a:pPr/>
              <a:t>‹#›</a:t>
            </a:fld>
            <a:endParaRPr lang="en-US" dirty="0"/>
          </a:p>
        </p:txBody>
      </p:sp>
      <p:sp>
        <p:nvSpPr>
          <p:cNvPr id="5" name="Picture Placeholder 4"/>
          <p:cNvSpPr>
            <a:spLocks noGrp="1"/>
          </p:cNvSpPr>
          <p:nvPr>
            <p:ph type="pic" sz="quarter" idx="33" hasCustomPrompt="1"/>
          </p:nvPr>
        </p:nvSpPr>
        <p:spPr bwMode="gray">
          <a:xfrm>
            <a:off x="0" y="0"/>
            <a:ext cx="12192000" cy="6858000"/>
          </a:xfrm>
          <a:solidFill>
            <a:schemeClr val="bg1">
              <a:lumMod val="75000"/>
            </a:schemeClr>
          </a:solidFill>
        </p:spPr>
        <p:txBody>
          <a:bodyPr lIns="4248000" rIns="0" anchor="ctr" anchorCtr="0"/>
          <a:lstStyle>
            <a:lvl1pPr marL="0" indent="0" algn="l">
              <a:spcBef>
                <a:spcPts val="0"/>
              </a:spcBef>
              <a:spcAft>
                <a:spcPts val="0"/>
              </a:spcAft>
              <a:buFont typeface="Arial" panose="020B0604020202020204" pitchFamily="34" charset="0"/>
              <a:buNone/>
              <a:defRPr sz="750"/>
            </a:lvl1pPr>
            <a:lvl2pPr marL="0" indent="0" algn="l">
              <a:spcBef>
                <a:spcPts val="0"/>
              </a:spcBef>
              <a:spcAft>
                <a:spcPts val="0"/>
              </a:spcAft>
              <a:buNone/>
              <a:defRPr sz="750"/>
            </a:lvl2pPr>
            <a:lvl3pPr marL="0" indent="0" algn="l">
              <a:spcBef>
                <a:spcPts val="0"/>
              </a:spcBef>
              <a:spcAft>
                <a:spcPts val="0"/>
              </a:spcAft>
              <a:buNone/>
              <a:defRPr sz="750"/>
            </a:lvl3pPr>
            <a:lvl4pPr marL="0" indent="0" algn="l">
              <a:spcBef>
                <a:spcPts val="0"/>
              </a:spcBef>
              <a:spcAft>
                <a:spcPts val="0"/>
              </a:spcAft>
              <a:buNone/>
              <a:defRPr sz="750"/>
            </a:lvl4pPr>
            <a:lvl5pPr marL="0" indent="0" algn="l">
              <a:spcBef>
                <a:spcPts val="0"/>
              </a:spcBef>
              <a:spcAft>
                <a:spcPts val="0"/>
              </a:spcAft>
              <a:buNone/>
              <a:defRPr sz="750"/>
            </a:lvl5pPr>
            <a:lvl6pPr marL="0" indent="0" algn="l">
              <a:spcBef>
                <a:spcPts val="0"/>
              </a:spcBef>
              <a:spcAft>
                <a:spcPts val="0"/>
              </a:spcAft>
              <a:buNone/>
              <a:defRPr sz="750"/>
            </a:lvl6pPr>
            <a:lvl7pPr marL="0" indent="0" algn="l">
              <a:spcBef>
                <a:spcPts val="0"/>
              </a:spcBef>
              <a:spcAft>
                <a:spcPts val="0"/>
              </a:spcAft>
              <a:buNone/>
              <a:defRPr sz="750"/>
            </a:lvl7pPr>
            <a:lvl8pPr marL="0" indent="0" algn="l">
              <a:spcBef>
                <a:spcPts val="0"/>
              </a:spcBef>
              <a:spcAft>
                <a:spcPts val="0"/>
              </a:spcAft>
              <a:buNone/>
              <a:defRPr sz="750"/>
            </a:lvl8pPr>
            <a:lvl9pPr marL="0" indent="0" algn="l">
              <a:spcBef>
                <a:spcPts val="0"/>
              </a:spcBef>
              <a:spcAft>
                <a:spcPts val="0"/>
              </a:spcAft>
              <a:buNone/>
              <a:defRPr sz="750"/>
            </a:lvl9pPr>
          </a:lstStyle>
          <a:p>
            <a:r>
              <a:rPr lang="en-US" noProof="0" dirty="0"/>
              <a:t>Click icon to add picture</a:t>
            </a:r>
          </a:p>
        </p:txBody>
      </p:sp>
      <p:sp>
        <p:nvSpPr>
          <p:cNvPr id="7" name="Content Placeholder 6"/>
          <p:cNvSpPr>
            <a:spLocks noGrp="1"/>
          </p:cNvSpPr>
          <p:nvPr>
            <p:ph sz="quarter" idx="36" hasCustomPrompt="1"/>
          </p:nvPr>
        </p:nvSpPr>
        <p:spPr bwMode="gray">
          <a:xfrm>
            <a:off x="6600058" y="476251"/>
            <a:ext cx="4968551" cy="5616578"/>
          </a:xfrm>
        </p:spPr>
        <p:txBody>
          <a:bodyPr/>
          <a:lstStyle>
            <a:lvl1pPr marL="0" indent="0" algn="l" defTabSz="685800" rtl="0" eaLnBrk="1" latinLnBrk="0" hangingPunct="1">
              <a:lnSpc>
                <a:spcPct val="100000"/>
              </a:lnSpc>
              <a:spcBef>
                <a:spcPts val="450"/>
              </a:spcBef>
              <a:spcAft>
                <a:spcPts val="225"/>
              </a:spcAft>
              <a:buFont typeface="Arial" panose="020B0604020202020204" pitchFamily="34" charset="0"/>
              <a:buNone/>
              <a:defRPr lang="en-US" sz="1500" b="1" kern="1200" noProof="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lgn="l" defTabSz="685800" rtl="0" eaLnBrk="1" latinLnBrk="0" hangingPunct="1">
              <a:lnSpc>
                <a:spcPct val="100000"/>
              </a:lnSpc>
              <a:spcBef>
                <a:spcPts val="450"/>
              </a:spcBef>
              <a:spcAft>
                <a:spcPts val="225"/>
              </a:spcAft>
              <a:buFont typeface="Arial" panose="020B0604020202020204" pitchFamily="34" charset="0"/>
              <a:buNone/>
            </a:pPr>
            <a:r>
              <a:rPr lang="en-US" dirty="0"/>
              <a:t>You can use this field to enter text, a table, a diagram or a SmartArt. Use the buttons “Increase List Level” for </a:t>
            </a:r>
            <a:r>
              <a:rPr lang="en-US" dirty="0" err="1"/>
              <a:t>copytext</a:t>
            </a:r>
            <a:r>
              <a:rPr lang="en-US" dirty="0"/>
              <a:t> or bullet levels. Use the icons below to create visual content.</a:t>
            </a:r>
          </a:p>
          <a:p>
            <a:pPr marL="0" lvl="0" indent="0" algn="l" defTabSz="685800" rtl="0" eaLnBrk="1" latinLnBrk="0" hangingPunct="1">
              <a:lnSpc>
                <a:spcPct val="100000"/>
              </a:lnSpc>
              <a:spcBef>
                <a:spcPts val="450"/>
              </a:spcBef>
              <a:spcAft>
                <a:spcPts val="225"/>
              </a:spcAft>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with Elements">
    <p:spTree>
      <p:nvGrpSpPr>
        <p:cNvPr id="1" name=""/>
        <p:cNvGrpSpPr/>
        <p:nvPr/>
      </p:nvGrpSpPr>
      <p:grpSpPr>
        <a:xfrm>
          <a:off x="0" y="0"/>
          <a:ext cx="0" cy="0"/>
          <a:chOff x="0" y="0"/>
          <a:chExt cx="0" cy="0"/>
        </a:xfrm>
      </p:grpSpPr>
      <p:sp>
        <p:nvSpPr>
          <p:cNvPr id="6" name="Freeform 5"/>
          <p:cNvSpPr/>
          <p:nvPr userDrawn="1"/>
        </p:nvSpPr>
        <p:spPr bwMode="gray">
          <a:xfrm>
            <a:off x="2" y="6331918"/>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7" name="Freeform 6"/>
          <p:cNvSpPr/>
          <p:nvPr userDrawn="1"/>
        </p:nvSpPr>
        <p:spPr bwMode="gray">
          <a:xfrm>
            <a:off x="1" y="4811183"/>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2" name="Footer Placeholder 1"/>
          <p:cNvSpPr>
            <a:spLocks noGrp="1"/>
          </p:cNvSpPr>
          <p:nvPr>
            <p:ph type="ftr" sz="quarter" idx="10"/>
          </p:nvPr>
        </p:nvSpPr>
        <p:spPr bwMode="gray"/>
        <p:txBody>
          <a:bodyPr/>
          <a:lstStyle/>
          <a:p>
            <a:r>
              <a:rPr lang="en-US" noProof="0"/>
              <a:t>Title of Presentation | DD.MM.YYYY</a:t>
            </a:r>
            <a:endParaRPr lang="en-US" noProof="0" dirty="0"/>
          </a:p>
        </p:txBody>
      </p:sp>
      <p:sp>
        <p:nvSpPr>
          <p:cNvPr id="3" name="Slide Number Placeholder 2"/>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Tree>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nly Title without Elements">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bwMode="gray"/>
        <p:txBody>
          <a:bodyPr/>
          <a:lstStyle/>
          <a:p>
            <a:r>
              <a:rPr lang="en-US" noProof="0"/>
              <a:t>Title of Presentation | DD.MM.YYYY</a:t>
            </a:r>
            <a:endParaRPr lang="en-US" noProof="0" dirty="0"/>
          </a:p>
        </p:txBody>
      </p:sp>
      <p:sp>
        <p:nvSpPr>
          <p:cNvPr id="8" name="Slide Number Placeholder 7"/>
          <p:cNvSpPr>
            <a:spLocks noGrp="1"/>
          </p:cNvSpPr>
          <p:nvPr>
            <p:ph type="sldNum" sz="quarter" idx="11"/>
          </p:nvPr>
        </p:nvSpPr>
        <p:spPr bwMode="gray"/>
        <p:txBody>
          <a:bodyPr/>
          <a:lstStyle/>
          <a:p>
            <a:fld id="{FD5E7EB4-4CDF-47BB-AF16-07782904B863}" type="slidenum">
              <a:rPr lang="en-US" noProof="0" smtClean="0"/>
              <a:pPr/>
              <a:t>‹#›</a:t>
            </a:fld>
            <a:endParaRPr lang="en-US" noProof="0" dirty="0"/>
          </a:p>
        </p:txBody>
      </p:sp>
      <p:sp>
        <p:nvSpPr>
          <p:cNvPr id="6" name="Text Placeholder 7"/>
          <p:cNvSpPr>
            <a:spLocks noGrp="1"/>
          </p:cNvSpPr>
          <p:nvPr>
            <p:ph type="body" sz="quarter" idx="13" hasCustomPrompt="1"/>
          </p:nvPr>
        </p:nvSpPr>
        <p:spPr bwMode="gray">
          <a:xfrm>
            <a:off x="623889"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1650" b="0" baseline="0">
                <a:solidFill>
                  <a:schemeClr val="accent1"/>
                </a:solidFill>
              </a:defRPr>
            </a:lvl1pPr>
            <a:lvl2pPr marL="0" indent="0">
              <a:lnSpc>
                <a:spcPct val="100000"/>
              </a:lnSpc>
              <a:spcBef>
                <a:spcPts val="0"/>
              </a:spcBef>
              <a:spcAft>
                <a:spcPts val="0"/>
              </a:spcAft>
              <a:buFont typeface="Arial" panose="020B0604020202020204" pitchFamily="34" charset="0"/>
              <a:buNone/>
              <a:defRPr sz="1650" b="0">
                <a:solidFill>
                  <a:schemeClr val="accent1"/>
                </a:solidFill>
              </a:defRPr>
            </a:lvl2pPr>
            <a:lvl3pPr marL="0" indent="0">
              <a:lnSpc>
                <a:spcPct val="100000"/>
              </a:lnSpc>
              <a:spcBef>
                <a:spcPts val="0"/>
              </a:spcBef>
              <a:spcAft>
                <a:spcPts val="0"/>
              </a:spcAft>
              <a:buNone/>
              <a:defRPr sz="1650" b="0">
                <a:solidFill>
                  <a:schemeClr val="accent1"/>
                </a:solidFill>
              </a:defRPr>
            </a:lvl3pPr>
            <a:lvl4pPr marL="0" indent="0">
              <a:lnSpc>
                <a:spcPct val="100000"/>
              </a:lnSpc>
              <a:spcBef>
                <a:spcPts val="0"/>
              </a:spcBef>
              <a:spcAft>
                <a:spcPts val="0"/>
              </a:spcAft>
              <a:buNone/>
              <a:defRPr sz="1650" b="0">
                <a:solidFill>
                  <a:schemeClr val="accent1"/>
                </a:solidFill>
              </a:defRPr>
            </a:lvl4pPr>
            <a:lvl5pPr marL="0" indent="0">
              <a:lnSpc>
                <a:spcPct val="100000"/>
              </a:lnSpc>
              <a:spcBef>
                <a:spcPts val="0"/>
              </a:spcBef>
              <a:spcAft>
                <a:spcPts val="0"/>
              </a:spcAft>
              <a:buNone/>
              <a:defRPr sz="1650" b="0">
                <a:solidFill>
                  <a:schemeClr val="accent1"/>
                </a:solidFill>
              </a:defRPr>
            </a:lvl5pPr>
            <a:lvl6pPr marL="0" indent="0">
              <a:lnSpc>
                <a:spcPct val="100000"/>
              </a:lnSpc>
              <a:spcBef>
                <a:spcPts val="0"/>
              </a:spcBef>
              <a:spcAft>
                <a:spcPts val="0"/>
              </a:spcAft>
              <a:buNone/>
              <a:defRPr sz="1650" b="0">
                <a:solidFill>
                  <a:schemeClr val="accent1"/>
                </a:solidFill>
              </a:defRPr>
            </a:lvl6pPr>
            <a:lvl7pPr marL="0" indent="0">
              <a:lnSpc>
                <a:spcPct val="100000"/>
              </a:lnSpc>
              <a:spcBef>
                <a:spcPts val="0"/>
              </a:spcBef>
              <a:spcAft>
                <a:spcPts val="0"/>
              </a:spcAft>
              <a:buNone/>
              <a:defRPr sz="1650" b="0">
                <a:solidFill>
                  <a:schemeClr val="accent1"/>
                </a:solidFill>
              </a:defRPr>
            </a:lvl7pPr>
            <a:lvl8pPr marL="0" indent="0">
              <a:lnSpc>
                <a:spcPct val="100000"/>
              </a:lnSpc>
              <a:spcBef>
                <a:spcPts val="0"/>
              </a:spcBef>
              <a:spcAft>
                <a:spcPts val="0"/>
              </a:spcAft>
              <a:buNone/>
              <a:defRPr sz="1650" b="0">
                <a:solidFill>
                  <a:schemeClr val="accent1"/>
                </a:solidFill>
              </a:defRPr>
            </a:lvl8pPr>
            <a:lvl9pPr marL="0" indent="0">
              <a:lnSpc>
                <a:spcPct val="100000"/>
              </a:lnSpc>
              <a:spcBef>
                <a:spcPts val="0"/>
              </a:spcBef>
              <a:spcAft>
                <a:spcPts val="0"/>
              </a:spcAft>
              <a:buNone/>
              <a:defRPr sz="1650" b="0">
                <a:solidFill>
                  <a:schemeClr val="accent1"/>
                </a:solidFill>
              </a:defRPr>
            </a:lvl9pPr>
          </a:lstStyle>
          <a:p>
            <a:pPr lvl="0"/>
            <a:r>
              <a:rPr lang="en-US" noProof="0" dirty="0"/>
              <a:t> </a:t>
            </a:r>
          </a:p>
        </p:txBody>
      </p:sp>
      <p:sp>
        <p:nvSpPr>
          <p:cNvPr id="2" name="Title 1"/>
          <p:cNvSpPr>
            <a:spLocks noGrp="1"/>
          </p:cNvSpPr>
          <p:nvPr>
            <p:ph type="title" hasCustomPrompt="1"/>
          </p:nvPr>
        </p:nvSpPr>
        <p:spPr bwMode="gray">
          <a:xfrm>
            <a:off x="623889" y="807744"/>
            <a:ext cx="10944225" cy="249008"/>
          </a:xfrm>
        </p:spPr>
        <p:txBody>
          <a:bodyPr/>
          <a:lstStyle/>
          <a:p>
            <a:r>
              <a:rPr lang="en-US" dirty="0"/>
              <a:t>Insert slide title here (max. 2 lines | max. 1 line with Action Title)</a:t>
            </a:r>
          </a:p>
        </p:txBody>
      </p:sp>
    </p:spTree>
  </p:cSld>
  <p:clrMapOvr>
    <a:masterClrMapping/>
  </p:clrMapOvr>
  <p:extLst mod="1">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without Elements / Agenda">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bwMode="gray"/>
        <p:txBody>
          <a:bodyPr/>
          <a:lstStyle/>
          <a:p>
            <a:r>
              <a:rPr lang="en-US" noProof="0"/>
              <a:t>Title of Presentation | DD.MM.YYYY</a:t>
            </a:r>
            <a:endParaRPr lang="en-US" noProof="0" dirty="0"/>
          </a:p>
        </p:txBody>
      </p:sp>
      <p:sp>
        <p:nvSpPr>
          <p:cNvPr id="3" name="Slide Number Placeholder 2"/>
          <p:cNvSpPr>
            <a:spLocks noGrp="1"/>
          </p:cNvSpPr>
          <p:nvPr>
            <p:ph type="sldNum" sz="quarter" idx="11"/>
          </p:nvPr>
        </p:nvSpPr>
        <p:spPr bwMode="gray"/>
        <p:txBody>
          <a:bodyPr/>
          <a:lstStyle/>
          <a:p>
            <a:fld id="{FD5E7EB4-4CDF-47BB-AF16-07782904B863}" type="slidenum">
              <a:rPr lang="en-US" noProof="0" smtClean="0"/>
              <a:pPr/>
              <a:t>‹#›</a:t>
            </a:fld>
            <a:endParaRPr lang="en-US" noProof="0" dirty="0"/>
          </a:p>
        </p:txBody>
      </p:sp>
    </p:spTree>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168630"/>
            <a:ext cx="10972800" cy="249008"/>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3"/>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737600" y="6356353"/>
            <a:ext cx="2844800" cy="365125"/>
          </a:xfrm>
          <a:prstGeom prst="rect">
            <a:avLst/>
          </a:prstGeom>
        </p:spPr>
        <p:txBody>
          <a:bodyPr/>
          <a:lstStyle/>
          <a:p>
            <a:fld id="{86941F2A-596F-4B21-9441-5490ADE17F9F}" type="slidenum">
              <a:rPr lang="en-US" smtClean="0"/>
              <a:t>‹#›</a:t>
            </a:fld>
            <a:endParaRPr lang="en-US"/>
          </a:p>
        </p:txBody>
      </p:sp>
    </p:spTree>
    <p:extLst>
      <p:ext uri="{BB962C8B-B14F-4D97-AF65-F5344CB8AC3E}">
        <p14:creationId xmlns:p14="http://schemas.microsoft.com/office/powerpoint/2010/main" val="22758034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3889" y="807744"/>
            <a:ext cx="10944225" cy="249008"/>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4" y="1535113"/>
            <a:ext cx="5386917"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09604" y="2174875"/>
            <a:ext cx="5386917"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2" y="1535113"/>
            <a:ext cx="5389033"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93372" y="2174875"/>
            <a:ext cx="5389033"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B1D8413A-3187-4817-BC54-5156891C4DF6}" type="datetime1">
              <a:rPr lang="en-US"/>
              <a:pPr>
                <a:defRPr/>
              </a:pPr>
              <a:t>12/1/2016</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3A49E7D2-785F-4828-9CBB-C4F5913F0098}" type="slidenum">
              <a:rPr lang="en-US"/>
              <a:pPr>
                <a:defRPr/>
              </a:pPr>
              <a:t>‹#›</a:t>
            </a:fld>
            <a:endParaRPr lang="en-US" dirty="0"/>
          </a:p>
        </p:txBody>
      </p:sp>
    </p:spTree>
    <p:extLst>
      <p:ext uri="{BB962C8B-B14F-4D97-AF65-F5344CB8AC3E}">
        <p14:creationId xmlns:p14="http://schemas.microsoft.com/office/powerpoint/2010/main" val="3916927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3889" y="807745"/>
            <a:ext cx="10944225" cy="249008"/>
          </a:xfrm>
        </p:spPr>
        <p:txBody>
          <a:bodyPr/>
          <a:lstStyle/>
          <a:p>
            <a:r>
              <a:rPr lang="en-US"/>
              <a:t>Click to edit Master title style</a:t>
            </a:r>
          </a:p>
        </p:txBody>
      </p:sp>
    </p:spTree>
    <p:extLst>
      <p:ext uri="{BB962C8B-B14F-4D97-AF65-F5344CB8AC3E}">
        <p14:creationId xmlns:p14="http://schemas.microsoft.com/office/powerpoint/2010/main" val="81936746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906"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8" name="Freeform 7"/>
          <p:cNvSpPr/>
          <p:nvPr userDrawn="1"/>
        </p:nvSpPr>
        <p:spPr bwMode="gray">
          <a:xfrm>
            <a:off x="2" y="6331918"/>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9" name="Freeform 8"/>
          <p:cNvSpPr/>
          <p:nvPr userDrawn="1"/>
        </p:nvSpPr>
        <p:spPr bwMode="gray">
          <a:xfrm>
            <a:off x="1" y="4811183"/>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5" name="Footer Placeholder 4"/>
          <p:cNvSpPr>
            <a:spLocks noGrp="1"/>
          </p:cNvSpPr>
          <p:nvPr>
            <p:ph type="ftr" sz="quarter" idx="10"/>
          </p:nvPr>
        </p:nvSpPr>
        <p:spPr bwMode="gray"/>
        <p:txBody>
          <a:bodyPr/>
          <a:lstStyle/>
          <a:p>
            <a:r>
              <a:rPr lang="en-US" noProof="0"/>
              <a:t>Title of Presentation | DD.MM.YYYY</a:t>
            </a:r>
            <a:endParaRPr lang="en-US" noProof="0" dirty="0"/>
          </a:p>
        </p:txBody>
      </p:sp>
      <p:sp>
        <p:nvSpPr>
          <p:cNvPr id="11" name="Slide Number Placeholder 10"/>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dirty="0"/>
          </a:p>
        </p:txBody>
      </p:sp>
      <p:sp>
        <p:nvSpPr>
          <p:cNvPr id="14" name="Content Placeholder 13"/>
          <p:cNvSpPr>
            <a:spLocks noGrp="1"/>
          </p:cNvSpPr>
          <p:nvPr>
            <p:ph sz="quarter" idx="14" hasCustomPrompt="1"/>
          </p:nvPr>
        </p:nvSpPr>
        <p:spPr bwMode="gray">
          <a:xfrm>
            <a:off x="623889" y="1484315"/>
            <a:ext cx="10944227" cy="4608511"/>
          </a:xfrm>
        </p:spPr>
        <p:txBody>
          <a:bodyPr/>
          <a:lstStyle>
            <a:lvl1pPr marL="257175" indent="-257175">
              <a:buClr>
                <a:schemeClr val="accent5"/>
              </a:buClr>
              <a:buFont typeface="+mj-lt"/>
              <a:buAutoNum type="arabicPeriod"/>
              <a:defRPr/>
            </a:lvl1pPr>
            <a:lvl2pPr marL="401241" indent="-134541">
              <a:defRPr/>
            </a:lvl2pPr>
            <a:lvl3pPr marL="536972" indent="-134541">
              <a:defRPr/>
            </a:lvl3pPr>
            <a:lvl4pPr marL="672704" indent="-134541">
              <a:defRPr/>
            </a:lvl4pPr>
            <a:lvl5pPr marL="336947" indent="0">
              <a:buNone/>
              <a:defRPr/>
            </a:lvl5pPr>
          </a:lstStyle>
          <a:p>
            <a:pPr lvl="0"/>
            <a:r>
              <a:rPr lang="en-US" dirty="0"/>
              <a:t>Insert your agenda points here. Use the button “increase list level” to add </a:t>
            </a:r>
            <a:r>
              <a:rPr lang="en-US" dirty="0" err="1"/>
              <a:t>subitems</a:t>
            </a:r>
            <a:r>
              <a:rPr lang="en-US" dirty="0"/>
              <a:t>.</a:t>
            </a:r>
            <a:br>
              <a:rPr lang="en-US" dirty="0"/>
            </a:br>
            <a:r>
              <a:rPr lang="en-US" dirty="0"/>
              <a:t>You can find other agenda designs within the slide library.</a:t>
            </a:r>
          </a:p>
          <a:p>
            <a:pPr lvl="0"/>
            <a:r>
              <a:rPr lang="en-US" dirty="0"/>
              <a:t>Click to edit Master text styles</a:t>
            </a:r>
          </a:p>
          <a:p>
            <a:pPr lvl="1"/>
            <a:r>
              <a:rPr lang="en-US" dirty="0"/>
              <a:t>Second level</a:t>
            </a:r>
          </a:p>
          <a:p>
            <a:pPr lvl="2"/>
            <a:r>
              <a:rPr lang="en-US" dirty="0"/>
              <a:t>Third level</a:t>
            </a:r>
          </a:p>
          <a:p>
            <a:pPr lvl="3"/>
            <a:r>
              <a:rPr lang="en-US" dirty="0"/>
              <a:t>Fourth level</a:t>
            </a:r>
          </a:p>
          <a:p>
            <a:pPr lvl="3"/>
            <a:r>
              <a:rPr lang="en-US" dirty="0"/>
              <a:t>Fifth level</a:t>
            </a:r>
          </a:p>
        </p:txBody>
      </p:sp>
      <p:sp>
        <p:nvSpPr>
          <p:cNvPr id="10" name="Text Placeholder 7"/>
          <p:cNvSpPr>
            <a:spLocks noGrp="1"/>
          </p:cNvSpPr>
          <p:nvPr>
            <p:ph type="body" sz="quarter" idx="13" hasCustomPrompt="1"/>
          </p:nvPr>
        </p:nvSpPr>
        <p:spPr bwMode="gray">
          <a:xfrm>
            <a:off x="623889"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1650" b="0" baseline="0">
                <a:solidFill>
                  <a:schemeClr val="accent1"/>
                </a:solidFill>
              </a:defRPr>
            </a:lvl1pPr>
            <a:lvl2pPr marL="0" indent="0">
              <a:lnSpc>
                <a:spcPct val="100000"/>
              </a:lnSpc>
              <a:spcBef>
                <a:spcPts val="0"/>
              </a:spcBef>
              <a:spcAft>
                <a:spcPts val="0"/>
              </a:spcAft>
              <a:buFont typeface="Arial" panose="020B0604020202020204" pitchFamily="34" charset="0"/>
              <a:buNone/>
              <a:defRPr sz="1650" b="0">
                <a:solidFill>
                  <a:schemeClr val="accent1"/>
                </a:solidFill>
              </a:defRPr>
            </a:lvl2pPr>
            <a:lvl3pPr marL="0" indent="0">
              <a:lnSpc>
                <a:spcPct val="100000"/>
              </a:lnSpc>
              <a:spcBef>
                <a:spcPts val="0"/>
              </a:spcBef>
              <a:spcAft>
                <a:spcPts val="0"/>
              </a:spcAft>
              <a:buNone/>
              <a:defRPr sz="1650" b="0">
                <a:solidFill>
                  <a:schemeClr val="accent1"/>
                </a:solidFill>
              </a:defRPr>
            </a:lvl3pPr>
            <a:lvl4pPr marL="0" indent="0">
              <a:lnSpc>
                <a:spcPct val="100000"/>
              </a:lnSpc>
              <a:spcBef>
                <a:spcPts val="0"/>
              </a:spcBef>
              <a:spcAft>
                <a:spcPts val="0"/>
              </a:spcAft>
              <a:buNone/>
              <a:defRPr sz="1650" b="0">
                <a:solidFill>
                  <a:schemeClr val="accent1"/>
                </a:solidFill>
              </a:defRPr>
            </a:lvl4pPr>
            <a:lvl5pPr marL="0" indent="0">
              <a:lnSpc>
                <a:spcPct val="100000"/>
              </a:lnSpc>
              <a:spcBef>
                <a:spcPts val="0"/>
              </a:spcBef>
              <a:spcAft>
                <a:spcPts val="0"/>
              </a:spcAft>
              <a:buNone/>
              <a:defRPr sz="1650" b="0">
                <a:solidFill>
                  <a:schemeClr val="accent1"/>
                </a:solidFill>
              </a:defRPr>
            </a:lvl5pPr>
            <a:lvl6pPr marL="0" indent="0">
              <a:lnSpc>
                <a:spcPct val="100000"/>
              </a:lnSpc>
              <a:spcBef>
                <a:spcPts val="0"/>
              </a:spcBef>
              <a:spcAft>
                <a:spcPts val="0"/>
              </a:spcAft>
              <a:buNone/>
              <a:defRPr sz="1650" b="0">
                <a:solidFill>
                  <a:schemeClr val="accent1"/>
                </a:solidFill>
              </a:defRPr>
            </a:lvl6pPr>
            <a:lvl7pPr marL="0" indent="0">
              <a:lnSpc>
                <a:spcPct val="100000"/>
              </a:lnSpc>
              <a:spcBef>
                <a:spcPts val="0"/>
              </a:spcBef>
              <a:spcAft>
                <a:spcPts val="0"/>
              </a:spcAft>
              <a:buNone/>
              <a:defRPr sz="1650" b="0">
                <a:solidFill>
                  <a:schemeClr val="accent1"/>
                </a:solidFill>
              </a:defRPr>
            </a:lvl7pPr>
            <a:lvl8pPr marL="0" indent="0">
              <a:lnSpc>
                <a:spcPct val="100000"/>
              </a:lnSpc>
              <a:spcBef>
                <a:spcPts val="0"/>
              </a:spcBef>
              <a:spcAft>
                <a:spcPts val="0"/>
              </a:spcAft>
              <a:buNone/>
              <a:defRPr sz="1650" b="0">
                <a:solidFill>
                  <a:schemeClr val="accent1"/>
                </a:solidFill>
              </a:defRPr>
            </a:lvl8pPr>
            <a:lvl9pPr marL="0" indent="0">
              <a:lnSpc>
                <a:spcPct val="100000"/>
              </a:lnSpc>
              <a:spcBef>
                <a:spcPts val="0"/>
              </a:spcBef>
              <a:spcAft>
                <a:spcPts val="0"/>
              </a:spcAft>
              <a:buNone/>
              <a:defRPr sz="1650" b="0">
                <a:solidFill>
                  <a:schemeClr val="accent1"/>
                </a:solidFill>
              </a:defRPr>
            </a:lvl9pPr>
          </a:lstStyle>
          <a:p>
            <a:pPr lvl="0"/>
            <a:r>
              <a:rPr lang="en-US" noProof="0" dirty="0"/>
              <a:t> </a:t>
            </a:r>
          </a:p>
        </p:txBody>
      </p:sp>
      <p:sp>
        <p:nvSpPr>
          <p:cNvPr id="3" name="Title 2"/>
          <p:cNvSpPr>
            <a:spLocks noGrp="1"/>
          </p:cNvSpPr>
          <p:nvPr>
            <p:ph type="title" hasCustomPrompt="1"/>
          </p:nvPr>
        </p:nvSpPr>
        <p:spPr bwMode="gray">
          <a:xfrm>
            <a:off x="623889" y="807744"/>
            <a:ext cx="10944225" cy="249008"/>
          </a:xfrm>
        </p:spPr>
        <p:txBody>
          <a:bodyPr/>
          <a:lstStyle/>
          <a:p>
            <a:r>
              <a:rPr lang="en-US" dirty="0"/>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Plastic">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93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6" name="Rectangle 15"/>
          <p:cNvSpPr/>
          <p:nvPr userDrawn="1"/>
        </p:nvSpPr>
        <p:spPr bwMode="gray">
          <a:xfrm>
            <a:off x="1" y="2"/>
            <a:ext cx="12192000" cy="6858001"/>
          </a:xfrm>
          <a:prstGeom prst="rect">
            <a:avLst/>
          </a:prstGeom>
          <a:solidFill>
            <a:srgbClr val="A5CD50"/>
          </a:solidFill>
          <a:ln w="9525" cap="flat" cmpd="sng" algn="ctr">
            <a:noFill/>
            <a:prstDash val="solid"/>
          </a:ln>
          <a:effectLst/>
        </p:spPr>
        <p:txBody>
          <a:bodyPr rtlCol="0" anchor="ctr" anchorCtr="0"/>
          <a:lstStyle/>
          <a:p>
            <a:pPr marL="0" indent="0" algn="ctr">
              <a:spcBef>
                <a:spcPts val="225"/>
              </a:spcBef>
              <a:spcAft>
                <a:spcPts val="225"/>
              </a:spcAft>
              <a:buClr>
                <a:schemeClr val="bg1"/>
              </a:buClr>
              <a:buSzPct val="100000"/>
              <a:buFont typeface="Arial" panose="020B0604020202020204" pitchFamily="34" charset="0"/>
              <a:buNone/>
            </a:pPr>
            <a:endParaRPr lang="en-US" sz="1050" kern="0">
              <a:solidFill>
                <a:srgbClr val="FFFFFF"/>
              </a:solidFill>
              <a:latin typeface="Verdana"/>
            </a:endParaRPr>
          </a:p>
        </p:txBody>
      </p:sp>
      <p:sp>
        <p:nvSpPr>
          <p:cNvPr id="19" name="Rectangle 1"/>
          <p:cNvSpPr/>
          <p:nvPr userDrawn="1"/>
        </p:nvSpPr>
        <p:spPr bwMode="gray">
          <a:xfrm>
            <a:off x="2" y="0"/>
            <a:ext cx="5832941" cy="6858000"/>
          </a:xfrm>
          <a:custGeom>
            <a:avLst/>
            <a:gdLst/>
            <a:ahLst/>
            <a:cxnLst/>
            <a:rect l="l" t="t" r="r" b="b"/>
            <a:pathLst>
              <a:path w="5832941" h="6859095">
                <a:moveTo>
                  <a:pt x="0" y="1095"/>
                </a:moveTo>
                <a:lnTo>
                  <a:pt x="2379070" y="1095"/>
                </a:lnTo>
                <a:lnTo>
                  <a:pt x="2375872" y="4439"/>
                </a:lnTo>
                <a:cubicBezTo>
                  <a:pt x="2375863" y="4452"/>
                  <a:pt x="2373953" y="7453"/>
                  <a:pt x="1944472" y="682162"/>
                </a:cubicBezTo>
                <a:cubicBezTo>
                  <a:pt x="1884685" y="775964"/>
                  <a:pt x="1877651" y="934256"/>
                  <a:pt x="1930404" y="1032749"/>
                </a:cubicBezTo>
                <a:cubicBezTo>
                  <a:pt x="1930408" y="1032756"/>
                  <a:pt x="1931244" y="1034335"/>
                  <a:pt x="2127348" y="1404441"/>
                </a:cubicBezTo>
                <a:cubicBezTo>
                  <a:pt x="2178929" y="1502934"/>
                  <a:pt x="2312569" y="1599081"/>
                  <a:pt x="2422764" y="1616669"/>
                </a:cubicBezTo>
                <a:cubicBezTo>
                  <a:pt x="2422777" y="1616671"/>
                  <a:pt x="2427199" y="1617400"/>
                  <a:pt x="3965491" y="1871109"/>
                </a:cubicBezTo>
                <a:cubicBezTo>
                  <a:pt x="4075686" y="1888697"/>
                  <a:pt x="4164779" y="1995397"/>
                  <a:pt x="4164779" y="2106788"/>
                </a:cubicBezTo>
                <a:cubicBezTo>
                  <a:pt x="4164779" y="2106805"/>
                  <a:pt x="4164779" y="2110586"/>
                  <a:pt x="4164779" y="2954528"/>
                </a:cubicBezTo>
                <a:cubicBezTo>
                  <a:pt x="4164779" y="3065918"/>
                  <a:pt x="4075686" y="3172618"/>
                  <a:pt x="3964319" y="3190206"/>
                </a:cubicBezTo>
                <a:cubicBezTo>
                  <a:pt x="3964302" y="3190209"/>
                  <a:pt x="3960071" y="3190896"/>
                  <a:pt x="2910435" y="3361396"/>
                </a:cubicBezTo>
                <a:cubicBezTo>
                  <a:pt x="2800240" y="3380156"/>
                  <a:pt x="2691217" y="3483339"/>
                  <a:pt x="2667772" y="3593557"/>
                </a:cubicBezTo>
                <a:cubicBezTo>
                  <a:pt x="2667771" y="3593562"/>
                  <a:pt x="2667429" y="3595183"/>
                  <a:pt x="2548199" y="4159890"/>
                </a:cubicBezTo>
                <a:cubicBezTo>
                  <a:pt x="2525925" y="4268935"/>
                  <a:pt x="2593918" y="4385016"/>
                  <a:pt x="2700595" y="4417847"/>
                </a:cubicBezTo>
                <a:cubicBezTo>
                  <a:pt x="2700612" y="4417852"/>
                  <a:pt x="2705245" y="4419265"/>
                  <a:pt x="4000659" y="4814162"/>
                </a:cubicBezTo>
                <a:cubicBezTo>
                  <a:pt x="4107337" y="4846993"/>
                  <a:pt x="4195259" y="4965419"/>
                  <a:pt x="4195259" y="5076809"/>
                </a:cubicBezTo>
                <a:cubicBezTo>
                  <a:pt x="4195259" y="5076821"/>
                  <a:pt x="4195259" y="5081382"/>
                  <a:pt x="4195259" y="6818752"/>
                </a:cubicBezTo>
                <a:lnTo>
                  <a:pt x="4195259" y="6859095"/>
                </a:lnTo>
                <a:lnTo>
                  <a:pt x="999485" y="6859095"/>
                </a:lnTo>
                <a:lnTo>
                  <a:pt x="963855" y="6799716"/>
                </a:lnTo>
                <a:cubicBezTo>
                  <a:pt x="953671" y="6773755"/>
                  <a:pt x="948029" y="6746201"/>
                  <a:pt x="948029" y="6718353"/>
                </a:cubicBezTo>
                <a:cubicBezTo>
                  <a:pt x="948029" y="6718334"/>
                  <a:pt x="948029" y="6713539"/>
                  <a:pt x="948029" y="5494230"/>
                </a:cubicBezTo>
                <a:cubicBezTo>
                  <a:pt x="948029" y="5381667"/>
                  <a:pt x="1026573" y="5243309"/>
                  <a:pt x="1122700" y="5185855"/>
                </a:cubicBezTo>
                <a:cubicBezTo>
                  <a:pt x="1122719" y="5185844"/>
                  <a:pt x="1127232" y="5183128"/>
                  <a:pt x="2217614" y="4526892"/>
                </a:cubicBezTo>
                <a:cubicBezTo>
                  <a:pt x="2313742" y="4469438"/>
                  <a:pt x="2409869" y="4333424"/>
                  <a:pt x="2433315" y="4223206"/>
                </a:cubicBezTo>
                <a:cubicBezTo>
                  <a:pt x="2433318" y="4223192"/>
                  <a:pt x="2433954" y="4220138"/>
                  <a:pt x="2573989" y="3547828"/>
                </a:cubicBezTo>
                <a:cubicBezTo>
                  <a:pt x="2596262" y="3438783"/>
                  <a:pt x="2545854" y="3288699"/>
                  <a:pt x="2461449" y="3216002"/>
                </a:cubicBezTo>
                <a:cubicBezTo>
                  <a:pt x="2461438" y="3215993"/>
                  <a:pt x="2459581" y="3214371"/>
                  <a:pt x="2128521" y="2925214"/>
                </a:cubicBezTo>
                <a:cubicBezTo>
                  <a:pt x="2044116" y="2852517"/>
                  <a:pt x="1904614" y="2850172"/>
                  <a:pt x="1817865" y="2921697"/>
                </a:cubicBezTo>
                <a:cubicBezTo>
                  <a:pt x="1817853" y="2921707"/>
                  <a:pt x="1814998" y="2924053"/>
                  <a:pt x="1102771" y="3509135"/>
                </a:cubicBezTo>
                <a:cubicBezTo>
                  <a:pt x="1017194" y="3580659"/>
                  <a:pt x="946857" y="3730743"/>
                  <a:pt x="946857" y="3842134"/>
                </a:cubicBezTo>
                <a:cubicBezTo>
                  <a:pt x="946857" y="3842145"/>
                  <a:pt x="946857" y="3845670"/>
                  <a:pt x="946857" y="4995905"/>
                </a:cubicBezTo>
                <a:cubicBezTo>
                  <a:pt x="946857" y="5107295"/>
                  <a:pt x="860108" y="5228066"/>
                  <a:pt x="753430" y="5264414"/>
                </a:cubicBezTo>
                <a:cubicBezTo>
                  <a:pt x="753412" y="5264420"/>
                  <a:pt x="750175" y="5265507"/>
                  <a:pt x="146651" y="5468184"/>
                </a:cubicBezTo>
                <a:lnTo>
                  <a:pt x="0" y="5517432"/>
                </a:lnTo>
                <a:lnTo>
                  <a:pt x="0" y="3305712"/>
                </a:lnTo>
                <a:lnTo>
                  <a:pt x="96951" y="3327228"/>
                </a:lnTo>
                <a:cubicBezTo>
                  <a:pt x="255209" y="3362349"/>
                  <a:pt x="466220" y="3409177"/>
                  <a:pt x="747569" y="3471614"/>
                </a:cubicBezTo>
                <a:cubicBezTo>
                  <a:pt x="856591" y="3496237"/>
                  <a:pt x="1017194" y="3457543"/>
                  <a:pt x="1102771" y="3386019"/>
                </a:cubicBezTo>
                <a:cubicBezTo>
                  <a:pt x="1102784" y="3386009"/>
                  <a:pt x="1105685" y="3383597"/>
                  <a:pt x="1768629" y="2832584"/>
                </a:cubicBezTo>
                <a:cubicBezTo>
                  <a:pt x="1854206" y="2761060"/>
                  <a:pt x="1942127" y="2613321"/>
                  <a:pt x="1964400" y="2504275"/>
                </a:cubicBezTo>
                <a:cubicBezTo>
                  <a:pt x="1964403" y="2504262"/>
                  <a:pt x="1964982" y="2501309"/>
                  <a:pt x="2095697" y="1834760"/>
                </a:cubicBezTo>
                <a:cubicBezTo>
                  <a:pt x="2116797" y="1724542"/>
                  <a:pt x="2091007" y="1554525"/>
                  <a:pt x="2038254" y="1456033"/>
                </a:cubicBezTo>
                <a:cubicBezTo>
                  <a:pt x="2038251" y="1456027"/>
                  <a:pt x="2037470" y="1454557"/>
                  <a:pt x="1830760" y="1065579"/>
                </a:cubicBezTo>
                <a:cubicBezTo>
                  <a:pt x="1778007" y="967087"/>
                  <a:pt x="1644367" y="876802"/>
                  <a:pt x="1533000" y="866249"/>
                </a:cubicBezTo>
                <a:cubicBezTo>
                  <a:pt x="1532991" y="866248"/>
                  <a:pt x="1529527" y="865906"/>
                  <a:pt x="252897" y="739783"/>
                </a:cubicBezTo>
                <a:lnTo>
                  <a:pt x="0" y="714798"/>
                </a:lnTo>
                <a:close/>
                <a:moveTo>
                  <a:pt x="2916470" y="0"/>
                </a:moveTo>
                <a:lnTo>
                  <a:pt x="3205161" y="0"/>
                </a:lnTo>
                <a:lnTo>
                  <a:pt x="3205161" y="1095"/>
                </a:lnTo>
                <a:lnTo>
                  <a:pt x="5832941" y="1095"/>
                </a:lnTo>
                <a:lnTo>
                  <a:pt x="5832941" y="26517"/>
                </a:lnTo>
                <a:cubicBezTo>
                  <a:pt x="5832941" y="128773"/>
                  <a:pt x="5832941" y="362500"/>
                  <a:pt x="5832941" y="896735"/>
                </a:cubicBezTo>
                <a:cubicBezTo>
                  <a:pt x="5832941" y="1008125"/>
                  <a:pt x="5749709" y="1138277"/>
                  <a:pt x="5647720" y="1185178"/>
                </a:cubicBezTo>
                <a:cubicBezTo>
                  <a:pt x="5647705" y="1185185"/>
                  <a:pt x="5645028" y="1186430"/>
                  <a:pt x="5163566" y="1410304"/>
                </a:cubicBezTo>
                <a:cubicBezTo>
                  <a:pt x="5062750" y="1457205"/>
                  <a:pt x="4903319" y="1444307"/>
                  <a:pt x="4810708" y="1382163"/>
                </a:cubicBezTo>
                <a:cubicBezTo>
                  <a:pt x="4810695" y="1382154"/>
                  <a:pt x="4805643" y="1378788"/>
                  <a:pt x="2849670" y="75240"/>
                </a:cubicBezTo>
                <a:lnTo>
                  <a:pt x="2738416" y="1095"/>
                </a:lnTo>
                <a:lnTo>
                  <a:pt x="2916470" y="1095"/>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7" name="Text Placeholder 12"/>
          <p:cNvSpPr>
            <a:spLocks noGrp="1"/>
          </p:cNvSpPr>
          <p:nvPr>
            <p:ph type="body" sz="quarter" idx="10" hasCustomPrompt="1"/>
          </p:nvPr>
        </p:nvSpPr>
        <p:spPr bwMode="gray">
          <a:xfrm>
            <a:off x="5159375" y="4292899"/>
            <a:ext cx="6408739"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latin typeface="+mn-lt"/>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dirty="0"/>
              <a:t>Name</a:t>
            </a:r>
            <a:br>
              <a:rPr lang="en-US" noProof="0" dirty="0"/>
            </a:br>
            <a:r>
              <a:rPr lang="en-US" noProof="0" dirty="0"/>
              <a:t>Place, Date</a:t>
            </a:r>
          </a:p>
        </p:txBody>
      </p:sp>
      <p:sp>
        <p:nvSpPr>
          <p:cNvPr id="3" name="Subtitle 2"/>
          <p:cNvSpPr>
            <a:spLocks noGrp="1"/>
          </p:cNvSpPr>
          <p:nvPr>
            <p:ph type="subTitle" idx="1" hasCustomPrompt="1"/>
          </p:nvPr>
        </p:nvSpPr>
        <p:spPr bwMode="gray">
          <a:xfrm>
            <a:off x="5160001" y="3501080"/>
            <a:ext cx="6408113" cy="648000"/>
          </a:xfrm>
          <a:prstGeom prst="rect">
            <a:avLst/>
          </a:prstGeom>
        </p:spPr>
        <p:txBody>
          <a:bodyPr>
            <a:noAutofit/>
          </a:bodyPr>
          <a:lstStyle>
            <a:lvl1pPr marL="0" indent="0" algn="l">
              <a:spcBef>
                <a:spcPts val="0"/>
              </a:spcBef>
              <a:spcAft>
                <a:spcPts val="900"/>
              </a:spcAft>
              <a:buNone/>
              <a:defRPr sz="1200" b="1" i="0" baseline="0">
                <a:solidFill>
                  <a:schemeClr val="accent1"/>
                </a:solidFill>
                <a:latin typeface="+mn-lt"/>
              </a:defRPr>
            </a:lvl1pPr>
            <a:lvl2pPr marL="0" indent="0" algn="l">
              <a:spcBef>
                <a:spcPts val="0"/>
              </a:spcBef>
              <a:spcAft>
                <a:spcPts val="900"/>
              </a:spcAft>
              <a:buNone/>
              <a:defRPr sz="1200" b="1">
                <a:solidFill>
                  <a:schemeClr val="accent1"/>
                </a:solidFill>
              </a:defRPr>
            </a:lvl2pPr>
            <a:lvl3pPr marL="0" indent="0" algn="l">
              <a:spcBef>
                <a:spcPts val="0"/>
              </a:spcBef>
              <a:spcAft>
                <a:spcPts val="900"/>
              </a:spcAft>
              <a:buNone/>
              <a:defRPr sz="1200" b="1">
                <a:solidFill>
                  <a:schemeClr val="accent1"/>
                </a:solidFill>
              </a:defRPr>
            </a:lvl3pPr>
            <a:lvl4pPr marL="0" indent="0" algn="l">
              <a:spcBef>
                <a:spcPts val="0"/>
              </a:spcBef>
              <a:spcAft>
                <a:spcPts val="900"/>
              </a:spcAft>
              <a:buNone/>
              <a:defRPr sz="1200" b="1">
                <a:solidFill>
                  <a:schemeClr val="accent1"/>
                </a:solidFill>
              </a:defRPr>
            </a:lvl4pPr>
            <a:lvl5pPr marL="0" indent="0" algn="l">
              <a:spcBef>
                <a:spcPts val="0"/>
              </a:spcBef>
              <a:spcAft>
                <a:spcPts val="900"/>
              </a:spcAft>
              <a:buNone/>
              <a:defRPr sz="1200" b="1">
                <a:solidFill>
                  <a:schemeClr val="accent1"/>
                </a:solidFill>
              </a:defRPr>
            </a:lvl5pPr>
            <a:lvl6pPr marL="0" indent="0" algn="l">
              <a:spcBef>
                <a:spcPts val="0"/>
              </a:spcBef>
              <a:spcAft>
                <a:spcPts val="900"/>
              </a:spcAft>
              <a:buNone/>
              <a:defRPr sz="1200" b="1">
                <a:solidFill>
                  <a:schemeClr val="accent1"/>
                </a:solidFill>
              </a:defRPr>
            </a:lvl6pPr>
            <a:lvl7pPr marL="0" indent="0" algn="l">
              <a:spcBef>
                <a:spcPts val="0"/>
              </a:spcBef>
              <a:spcAft>
                <a:spcPts val="900"/>
              </a:spcAft>
              <a:buNone/>
              <a:defRPr sz="1200" b="1">
                <a:solidFill>
                  <a:schemeClr val="accent1"/>
                </a:solidFill>
              </a:defRPr>
            </a:lvl7pPr>
            <a:lvl8pPr marL="0" indent="0" algn="l">
              <a:spcBef>
                <a:spcPts val="0"/>
              </a:spcBef>
              <a:spcAft>
                <a:spcPts val="900"/>
              </a:spcAft>
              <a:buNone/>
              <a:defRPr sz="1200" b="1">
                <a:solidFill>
                  <a:schemeClr val="accent1"/>
                </a:solidFill>
              </a:defRPr>
            </a:lvl8pPr>
            <a:lvl9pPr marL="0" indent="0" algn="l">
              <a:spcBef>
                <a:spcPts val="0"/>
              </a:spcBef>
              <a:spcAft>
                <a:spcPts val="900"/>
              </a:spcAft>
              <a:buNone/>
              <a:defRPr sz="1200" b="1">
                <a:solidFill>
                  <a:schemeClr val="accent1"/>
                </a:solidFill>
              </a:defRPr>
            </a:lvl9pPr>
          </a:lstStyle>
          <a:p>
            <a:r>
              <a:rPr lang="en-US" noProof="0" dirty="0"/>
              <a:t>Subtitle and other information of this presentation</a:t>
            </a:r>
          </a:p>
        </p:txBody>
      </p:sp>
      <p:sp>
        <p:nvSpPr>
          <p:cNvPr id="2" name="Title 1"/>
          <p:cNvSpPr>
            <a:spLocks noGrp="1"/>
          </p:cNvSpPr>
          <p:nvPr>
            <p:ph type="ctrTitle" hasCustomPrompt="1"/>
          </p:nvPr>
        </p:nvSpPr>
        <p:spPr bwMode="gray">
          <a:xfrm>
            <a:off x="5160001" y="2877160"/>
            <a:ext cx="6408113" cy="479841"/>
          </a:xfrm>
          <a:prstGeom prst="rect">
            <a:avLst/>
          </a:prstGeom>
          <a:noFill/>
        </p:spPr>
        <p:txBody>
          <a:bodyPr anchor="b"/>
          <a:lstStyle>
            <a:lvl1pPr algn="l">
              <a:lnSpc>
                <a:spcPct val="100000"/>
              </a:lnSpc>
              <a:defRPr sz="300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grpSp>
        <p:nvGrpSpPr>
          <p:cNvPr id="5" name="Gruppieren 4"/>
          <p:cNvGrpSpPr/>
          <p:nvPr userDrawn="1"/>
        </p:nvGrpSpPr>
        <p:grpSpPr bwMode="gray">
          <a:xfrm>
            <a:off x="0" y="4"/>
            <a:ext cx="4165600" cy="5517125"/>
            <a:chOff x="0" y="2"/>
            <a:chExt cx="4165600" cy="5517125"/>
          </a:xfrm>
        </p:grpSpPr>
        <p:sp>
          <p:nvSpPr>
            <p:cNvPr id="20" name="Freeform 40"/>
            <p:cNvSpPr>
              <a:spLocks/>
            </p:cNvSpPr>
            <p:nvPr userDrawn="1"/>
          </p:nvSpPr>
          <p:spPr bwMode="gray">
            <a:xfrm>
              <a:off x="2244725" y="1631950"/>
              <a:ext cx="1920875" cy="1468438"/>
            </a:xfrm>
            <a:custGeom>
              <a:avLst/>
              <a:gdLst>
                <a:gd name="T0" fmla="*/ 658 w 1639"/>
                <a:gd name="T1" fmla="*/ 632 h 1252"/>
                <a:gd name="T2" fmla="*/ 1321 w 1639"/>
                <a:gd name="T3" fmla="*/ 959 h 1252"/>
                <a:gd name="T4" fmla="*/ 1553 w 1639"/>
                <a:gd name="T5" fmla="*/ 866 h 1252"/>
                <a:gd name="T6" fmla="*/ 1639 w 1639"/>
                <a:gd name="T7" fmla="*/ 631 h 1252"/>
                <a:gd name="T8" fmla="*/ 1639 w 1639"/>
                <a:gd name="T9" fmla="*/ 406 h 1252"/>
                <a:gd name="T10" fmla="*/ 1468 w 1639"/>
                <a:gd name="T11" fmla="*/ 204 h 1252"/>
                <a:gd name="T12" fmla="*/ 229 w 1639"/>
                <a:gd name="T13" fmla="*/ 0 h 1252"/>
                <a:gd name="T14" fmla="*/ 354 w 1639"/>
                <a:gd name="T15" fmla="*/ 133 h 1252"/>
                <a:gd name="T16" fmla="*/ 389 w 1639"/>
                <a:gd name="T17" fmla="*/ 280 h 1252"/>
                <a:gd name="T18" fmla="*/ 336 w 1639"/>
                <a:gd name="T19" fmla="*/ 624 h 1252"/>
                <a:gd name="T20" fmla="*/ 0 w 1639"/>
                <a:gd name="T21" fmla="*/ 1189 h 1252"/>
                <a:gd name="T22" fmla="*/ 72 w 1639"/>
                <a:gd name="T23" fmla="*/ 1252 h 1252"/>
                <a:gd name="T24" fmla="*/ 394 w 1639"/>
                <a:gd name="T25" fmla="*/ 710 h 1252"/>
                <a:gd name="T26" fmla="*/ 658 w 1639"/>
                <a:gd name="T27" fmla="*/ 632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9" h="1252">
                  <a:moveTo>
                    <a:pt x="658" y="632"/>
                  </a:moveTo>
                  <a:cubicBezTo>
                    <a:pt x="1321" y="959"/>
                    <a:pt x="1321" y="959"/>
                    <a:pt x="1321" y="959"/>
                  </a:cubicBezTo>
                  <a:cubicBezTo>
                    <a:pt x="1413" y="1005"/>
                    <a:pt x="1518" y="963"/>
                    <a:pt x="1553" y="866"/>
                  </a:cubicBezTo>
                  <a:cubicBezTo>
                    <a:pt x="1639" y="631"/>
                    <a:pt x="1639" y="631"/>
                    <a:pt x="1639" y="631"/>
                  </a:cubicBezTo>
                  <a:cubicBezTo>
                    <a:pt x="1639" y="406"/>
                    <a:pt x="1639" y="406"/>
                    <a:pt x="1639" y="406"/>
                  </a:cubicBezTo>
                  <a:cubicBezTo>
                    <a:pt x="1639" y="310"/>
                    <a:pt x="1562" y="220"/>
                    <a:pt x="1468" y="204"/>
                  </a:cubicBezTo>
                  <a:cubicBezTo>
                    <a:pt x="229" y="0"/>
                    <a:pt x="229" y="0"/>
                    <a:pt x="229" y="0"/>
                  </a:cubicBezTo>
                  <a:cubicBezTo>
                    <a:pt x="289" y="19"/>
                    <a:pt x="338" y="68"/>
                    <a:pt x="354" y="133"/>
                  </a:cubicBezTo>
                  <a:cubicBezTo>
                    <a:pt x="389" y="280"/>
                    <a:pt x="389" y="280"/>
                    <a:pt x="389" y="280"/>
                  </a:cubicBezTo>
                  <a:cubicBezTo>
                    <a:pt x="412" y="381"/>
                    <a:pt x="389" y="535"/>
                    <a:pt x="336" y="624"/>
                  </a:cubicBezTo>
                  <a:cubicBezTo>
                    <a:pt x="0" y="1189"/>
                    <a:pt x="0" y="1189"/>
                    <a:pt x="0" y="1189"/>
                  </a:cubicBezTo>
                  <a:cubicBezTo>
                    <a:pt x="72" y="1252"/>
                    <a:pt x="72" y="1252"/>
                    <a:pt x="72" y="1252"/>
                  </a:cubicBezTo>
                  <a:cubicBezTo>
                    <a:pt x="394" y="710"/>
                    <a:pt x="394" y="710"/>
                    <a:pt x="394" y="710"/>
                  </a:cubicBezTo>
                  <a:cubicBezTo>
                    <a:pt x="447" y="621"/>
                    <a:pt x="566" y="586"/>
                    <a:pt x="658" y="632"/>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sz="1350" dirty="0"/>
            </a:p>
          </p:txBody>
        </p:sp>
        <p:sp>
          <p:nvSpPr>
            <p:cNvPr id="21" name="Freeform 20"/>
            <p:cNvSpPr/>
            <p:nvPr userDrawn="1"/>
          </p:nvSpPr>
          <p:spPr bwMode="gray">
            <a:xfrm>
              <a:off x="1" y="3279574"/>
              <a:ext cx="1336675" cy="2237553"/>
            </a:xfrm>
            <a:custGeom>
              <a:avLst/>
              <a:gdLst>
                <a:gd name="connsiteX0" fmla="*/ 1232317 w 1336675"/>
                <a:gd name="connsiteY0" fmla="*/ 0 h 2237553"/>
                <a:gd name="connsiteX1" fmla="*/ 1336675 w 1336675"/>
                <a:gd name="connsiteY1" fmla="*/ 38681 h 2237553"/>
                <a:gd name="connsiteX2" fmla="*/ 1103335 w 1336675"/>
                <a:gd name="connsiteY2" fmla="*/ 230918 h 2237553"/>
                <a:gd name="connsiteX3" fmla="*/ 946211 w 1336675"/>
                <a:gd name="connsiteY3" fmla="*/ 562644 h 2237553"/>
                <a:gd name="connsiteX4" fmla="*/ 946211 w 1336675"/>
                <a:gd name="connsiteY4" fmla="*/ 1716064 h 2237553"/>
                <a:gd name="connsiteX5" fmla="*/ 753911 w 1336675"/>
                <a:gd name="connsiteY5" fmla="*/ 1984492 h 2237553"/>
                <a:gd name="connsiteX6" fmla="*/ 110565 w 1336675"/>
                <a:gd name="connsiteY6" fmla="*/ 2200440 h 2237553"/>
                <a:gd name="connsiteX7" fmla="*/ 0 w 1336675"/>
                <a:gd name="connsiteY7" fmla="*/ 2237553 h 2237553"/>
                <a:gd name="connsiteX8" fmla="*/ 0 w 1336675"/>
                <a:gd name="connsiteY8" fmla="*/ 26059 h 2237553"/>
                <a:gd name="connsiteX9" fmla="*/ 83039 w 1336675"/>
                <a:gd name="connsiteY9" fmla="*/ 44506 h 2237553"/>
                <a:gd name="connsiteX10" fmla="*/ 748048 w 1336675"/>
                <a:gd name="connsiteY10" fmla="*/ 192236 h 2237553"/>
                <a:gd name="connsiteX11" fmla="*/ 1103335 w 1336675"/>
                <a:gd name="connsiteY11" fmla="*/ 106668 h 2237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6675" h="2237553">
                  <a:moveTo>
                    <a:pt x="1232317" y="0"/>
                  </a:moveTo>
                  <a:cubicBezTo>
                    <a:pt x="1232317" y="0"/>
                    <a:pt x="1232317" y="0"/>
                    <a:pt x="1336675" y="38681"/>
                  </a:cubicBezTo>
                  <a:cubicBezTo>
                    <a:pt x="1336675" y="38681"/>
                    <a:pt x="1336675" y="38681"/>
                    <a:pt x="1103335" y="230918"/>
                  </a:cubicBezTo>
                  <a:cubicBezTo>
                    <a:pt x="1017738" y="301249"/>
                    <a:pt x="946211" y="451287"/>
                    <a:pt x="946211" y="562644"/>
                  </a:cubicBezTo>
                  <a:cubicBezTo>
                    <a:pt x="946211" y="562644"/>
                    <a:pt x="946211" y="562644"/>
                    <a:pt x="946211" y="1716064"/>
                  </a:cubicBezTo>
                  <a:cubicBezTo>
                    <a:pt x="946211" y="1828593"/>
                    <a:pt x="859442" y="1948155"/>
                    <a:pt x="753911" y="1984492"/>
                  </a:cubicBezTo>
                  <a:cubicBezTo>
                    <a:pt x="753911" y="1984492"/>
                    <a:pt x="753911" y="1984492"/>
                    <a:pt x="110565" y="2200440"/>
                  </a:cubicBezTo>
                  <a:lnTo>
                    <a:pt x="0" y="2237553"/>
                  </a:lnTo>
                  <a:lnTo>
                    <a:pt x="0" y="26059"/>
                  </a:lnTo>
                  <a:lnTo>
                    <a:pt x="83039" y="44506"/>
                  </a:lnTo>
                  <a:cubicBezTo>
                    <a:pt x="244798" y="80440"/>
                    <a:pt x="460477" y="128353"/>
                    <a:pt x="748048" y="192236"/>
                  </a:cubicBezTo>
                  <a:cubicBezTo>
                    <a:pt x="857096" y="216852"/>
                    <a:pt x="1016565" y="178170"/>
                    <a:pt x="1103335" y="106668"/>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4" name="Freihandform 13"/>
            <p:cNvSpPr/>
            <p:nvPr userDrawn="1"/>
          </p:nvSpPr>
          <p:spPr bwMode="gray">
            <a:xfrm>
              <a:off x="0" y="2"/>
              <a:ext cx="1614244" cy="883735"/>
            </a:xfrm>
            <a:custGeom>
              <a:avLst/>
              <a:gdLst>
                <a:gd name="connsiteX0" fmla="*/ 0 w 1614244"/>
                <a:gd name="connsiteY0" fmla="*/ 0 h 883735"/>
                <a:gd name="connsiteX1" fmla="*/ 827794 w 1614244"/>
                <a:gd name="connsiteY1" fmla="*/ 0 h 883735"/>
                <a:gd name="connsiteX2" fmla="*/ 1088662 w 1614244"/>
                <a:gd name="connsiteY2" fmla="*/ 95411 h 883735"/>
                <a:gd name="connsiteX3" fmla="*/ 1413677 w 1614244"/>
                <a:gd name="connsiteY3" fmla="*/ 214283 h 883735"/>
                <a:gd name="connsiteX4" fmla="*/ 1614145 w 1614244"/>
                <a:gd name="connsiteY4" fmla="*/ 509733 h 883735"/>
                <a:gd name="connsiteX5" fmla="*/ 1604767 w 1614244"/>
                <a:gd name="connsiteY5" fmla="*/ 883735 h 883735"/>
                <a:gd name="connsiteX6" fmla="*/ 1532082 w 1614244"/>
                <a:gd name="connsiteY6" fmla="*/ 867321 h 883735"/>
                <a:gd name="connsiteX7" fmla="*/ 54021 w 1614244"/>
                <a:gd name="connsiteY7" fmla="*/ 721231 h 883735"/>
                <a:gd name="connsiteX8" fmla="*/ 0 w 1614244"/>
                <a:gd name="connsiteY8" fmla="*/ 715892 h 883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4244" h="883735">
                  <a:moveTo>
                    <a:pt x="0" y="0"/>
                  </a:moveTo>
                  <a:lnTo>
                    <a:pt x="827794" y="0"/>
                  </a:lnTo>
                  <a:lnTo>
                    <a:pt x="1088662" y="95411"/>
                  </a:lnTo>
                  <a:cubicBezTo>
                    <a:pt x="1190088" y="132507"/>
                    <a:pt x="1298277" y="172076"/>
                    <a:pt x="1413677" y="214283"/>
                  </a:cubicBezTo>
                  <a:cubicBezTo>
                    <a:pt x="1527393" y="256490"/>
                    <a:pt x="1617662" y="388974"/>
                    <a:pt x="1614145" y="509733"/>
                  </a:cubicBezTo>
                  <a:cubicBezTo>
                    <a:pt x="1614145" y="509733"/>
                    <a:pt x="1614145" y="509733"/>
                    <a:pt x="1604767" y="883735"/>
                  </a:cubicBezTo>
                  <a:cubicBezTo>
                    <a:pt x="1580148" y="875528"/>
                    <a:pt x="1555529" y="869666"/>
                    <a:pt x="1532082" y="867321"/>
                  </a:cubicBezTo>
                  <a:cubicBezTo>
                    <a:pt x="1532082" y="867321"/>
                    <a:pt x="1532082" y="867321"/>
                    <a:pt x="54021" y="721231"/>
                  </a:cubicBezTo>
                  <a:lnTo>
                    <a:pt x="0" y="715892"/>
                  </a:lnTo>
                  <a:close/>
                </a:path>
              </a:pathLst>
            </a:custGeom>
            <a:solidFill>
              <a:schemeClr val="accent5"/>
            </a:solidFill>
            <a:ln w="9525" cap="flat" cmpd="sng" algn="ctr">
              <a:noFill/>
              <a:prstDash val="solid"/>
            </a:ln>
            <a:effectLst/>
          </p:spPr>
          <p:txBody>
            <a:bodyPr rtlCol="0" anchor="ctr" anchorCtr="0"/>
            <a:lstStyle/>
            <a:p>
              <a:pPr marL="0" indent="0" algn="ctr">
                <a:spcBef>
                  <a:spcPts val="225"/>
                </a:spcBef>
                <a:spcAft>
                  <a:spcPts val="225"/>
                </a:spcAft>
                <a:buClr>
                  <a:schemeClr val="bg1"/>
                </a:buClr>
                <a:buSzPct val="100000"/>
                <a:buFont typeface="Arial" panose="020B0604020202020204" pitchFamily="34" charset="0"/>
                <a:buNone/>
              </a:pPr>
              <a:endParaRPr lang="en-US" sz="1050" kern="0" dirty="0">
                <a:solidFill>
                  <a:srgbClr val="FFFFFF"/>
                </a:solidFill>
                <a:latin typeface="Verdana"/>
              </a:endParaRPr>
            </a:p>
          </p:txBody>
        </p:sp>
      </p:grpSp>
      <p:pic>
        <p:nvPicPr>
          <p:cNvPr id="4" name="Grafik 3"/>
          <p:cNvPicPr>
            <a:picLocks noChangeAspect="1"/>
          </p:cNvPicPr>
          <p:nvPr userDrawn="1"/>
        </p:nvPicPr>
        <p:blipFill>
          <a:blip r:embed="rId6"/>
          <a:stretch>
            <a:fillRect/>
          </a:stretch>
        </p:blipFill>
        <p:spPr bwMode="gray">
          <a:xfrm>
            <a:off x="1271744" y="5271237"/>
            <a:ext cx="2520000" cy="1254109"/>
          </a:xfrm>
          <a:prstGeom prst="rect">
            <a:avLst/>
          </a:prstGeom>
        </p:spPr>
      </p:pic>
      <p:sp>
        <p:nvSpPr>
          <p:cNvPr id="18" name="Rechteck 18"/>
          <p:cNvSpPr/>
          <p:nvPr userDrawn="1"/>
        </p:nvSpPr>
        <p:spPr bwMode="gray">
          <a:xfrm rot="996474">
            <a:off x="2655809" y="4383168"/>
            <a:ext cx="1690556" cy="360040"/>
          </a:xfrm>
          <a:prstGeom prst="rect">
            <a:avLst/>
          </a:prstGeom>
          <a:noFill/>
          <a:ln w="9525" cap="flat" cmpd="sng" algn="ctr">
            <a:noFill/>
            <a:prstDash val="solid"/>
          </a:ln>
          <a:effectLst/>
        </p:spPr>
        <p:txBody>
          <a:bodyPr lIns="0" tIns="0" rIns="0" bIns="0" rtlCol="0" anchor="t" anchorCtr="0"/>
          <a:lstStyle/>
          <a:p>
            <a:pPr marL="0" indent="0" algn="l">
              <a:spcBef>
                <a:spcPts val="225"/>
              </a:spcBef>
              <a:spcAft>
                <a:spcPts val="225"/>
              </a:spcAft>
              <a:buClr>
                <a:schemeClr val="bg1"/>
              </a:buClr>
              <a:buSzPct val="100000"/>
              <a:buFont typeface="Arial" panose="020B0604020202020204" pitchFamily="34" charset="0"/>
              <a:buNone/>
            </a:pPr>
            <a:r>
              <a:rPr lang="en-US" sz="525" kern="0" dirty="0">
                <a:solidFill>
                  <a:srgbClr val="EB3C96"/>
                </a:solidFill>
                <a:latin typeface="+mn-lt"/>
              </a:rPr>
              <a:t>MilliporeSigma is a business of</a:t>
            </a:r>
            <a:br>
              <a:rPr lang="en-US" sz="525" kern="0" dirty="0">
                <a:solidFill>
                  <a:srgbClr val="EB3C96"/>
                </a:solidFill>
                <a:latin typeface="+mn-lt"/>
              </a:rPr>
            </a:br>
            <a:r>
              <a:rPr lang="en-US" sz="525" kern="0" dirty="0">
                <a:solidFill>
                  <a:srgbClr val="EB3C96"/>
                </a:solidFill>
                <a:latin typeface="+mn-lt"/>
              </a:rPr>
              <a:t>Merck KGaA, Darmstadt, Germany</a:t>
            </a:r>
            <a:endParaRPr lang="de-DE" sz="525" kern="0" dirty="0">
              <a:solidFill>
                <a:srgbClr val="EB3C96"/>
              </a:solidFill>
              <a:latin typeface="Verdana"/>
            </a:endParaRPr>
          </a:p>
        </p:txBody>
      </p:sp>
      <p:sp>
        <p:nvSpPr>
          <p:cNvPr id="23" name="Rechteck 19"/>
          <p:cNvSpPr/>
          <p:nvPr userDrawn="1"/>
        </p:nvSpPr>
        <p:spPr bwMode="gray">
          <a:xfrm>
            <a:off x="0" y="-387424"/>
            <a:ext cx="12192000" cy="288032"/>
          </a:xfrm>
          <a:prstGeom prst="rect">
            <a:avLst/>
          </a:prstGeom>
          <a:solidFill>
            <a:srgbClr val="E61E50"/>
          </a:solidFill>
          <a:ln w="9525" cap="flat" cmpd="sng" algn="ctr">
            <a:noFill/>
            <a:prstDash val="solid"/>
          </a:ln>
          <a:effectLst/>
        </p:spPr>
        <p:txBody>
          <a:bodyPr rtlCol="0" anchor="ctr" anchorCtr="0"/>
          <a:lstStyle/>
          <a:p>
            <a:pPr marL="0" indent="0" algn="ctr">
              <a:spcBef>
                <a:spcPts val="225"/>
              </a:spcBef>
              <a:spcAft>
                <a:spcPts val="225"/>
              </a:spcAft>
              <a:buClr>
                <a:schemeClr val="bg1"/>
              </a:buClr>
              <a:buSzPct val="100000"/>
              <a:buFont typeface="Arial" panose="020B0604020202020204" pitchFamily="34" charset="0"/>
              <a:buNone/>
            </a:pPr>
            <a:r>
              <a:rPr lang="en-US" sz="1050" kern="0" dirty="0">
                <a:solidFill>
                  <a:srgbClr val="FFFFFF"/>
                </a:solidFill>
                <a:latin typeface="+mn-lt"/>
              </a:rPr>
              <a:t>Only to be used in USA &amp; Canada, never outside these two countries</a:t>
            </a:r>
            <a:endParaRPr lang="de-DE" sz="1050" kern="0" dirty="0">
              <a:solidFill>
                <a:srgbClr val="FFFFFF"/>
              </a:solidFill>
              <a:latin typeface="Verdana"/>
            </a:endParaRPr>
          </a:p>
        </p:txBody>
      </p:sp>
      <p:sp>
        <p:nvSpPr>
          <p:cNvPr id="17" name="Freeform 5"/>
          <p:cNvSpPr>
            <a:spLocks noEditPoints="1"/>
          </p:cNvSpPr>
          <p:nvPr userDrawn="1"/>
        </p:nvSpPr>
        <p:spPr bwMode="auto">
          <a:xfrm>
            <a:off x="9969502" y="6060209"/>
            <a:ext cx="1820863" cy="465137"/>
          </a:xfrm>
          <a:custGeom>
            <a:avLst/>
            <a:gdLst>
              <a:gd name="T0" fmla="*/ 5746 w 47033"/>
              <a:gd name="T1" fmla="*/ 7214 h 11985"/>
              <a:gd name="T2" fmla="*/ 157 w 47033"/>
              <a:gd name="T3" fmla="*/ 7953 h 11985"/>
              <a:gd name="T4" fmla="*/ 3892 w 47033"/>
              <a:gd name="T5" fmla="*/ 10065 h 11985"/>
              <a:gd name="T6" fmla="*/ 1042 w 47033"/>
              <a:gd name="T7" fmla="*/ 10025 h 11985"/>
              <a:gd name="T8" fmla="*/ 2274 w 47033"/>
              <a:gd name="T9" fmla="*/ 11918 h 11985"/>
              <a:gd name="T10" fmla="*/ 5242 w 47033"/>
              <a:gd name="T11" fmla="*/ 9018 h 11985"/>
              <a:gd name="T12" fmla="*/ 12027 w 47033"/>
              <a:gd name="T13" fmla="*/ 840 h 11985"/>
              <a:gd name="T14" fmla="*/ 2328 w 47033"/>
              <a:gd name="T15" fmla="*/ 405 h 11985"/>
              <a:gd name="T16" fmla="*/ 1484 w 47033"/>
              <a:gd name="T17" fmla="*/ 5712 h 11985"/>
              <a:gd name="T18" fmla="*/ 9685 w 47033"/>
              <a:gd name="T19" fmla="*/ 3071 h 11985"/>
              <a:gd name="T20" fmla="*/ 12027 w 47033"/>
              <a:gd name="T21" fmla="*/ 5543 h 11985"/>
              <a:gd name="T22" fmla="*/ 37476 w 47033"/>
              <a:gd name="T23" fmla="*/ 4017 h 11985"/>
              <a:gd name="T24" fmla="*/ 39160 w 47033"/>
              <a:gd name="T25" fmla="*/ 2513 h 11985"/>
              <a:gd name="T26" fmla="*/ 35890 w 47033"/>
              <a:gd name="T27" fmla="*/ 5657 h 11985"/>
              <a:gd name="T28" fmla="*/ 35115 w 47033"/>
              <a:gd name="T29" fmla="*/ 124 h 11985"/>
              <a:gd name="T30" fmla="*/ 40508 w 47033"/>
              <a:gd name="T31" fmla="*/ 3372 h 11985"/>
              <a:gd name="T32" fmla="*/ 43843 w 47033"/>
              <a:gd name="T33" fmla="*/ 4078 h 11985"/>
              <a:gd name="T34" fmla="*/ 43824 w 47033"/>
              <a:gd name="T35" fmla="*/ 1468 h 11985"/>
              <a:gd name="T36" fmla="*/ 44709 w 47033"/>
              <a:gd name="T37" fmla="*/ 3605 h 11985"/>
              <a:gd name="T38" fmla="*/ 43809 w 47033"/>
              <a:gd name="T39" fmla="*/ 0 h 11985"/>
              <a:gd name="T40" fmla="*/ 44542 w 47033"/>
              <a:gd name="T41" fmla="*/ 5712 h 11985"/>
              <a:gd name="T42" fmla="*/ 28851 w 47033"/>
              <a:gd name="T43" fmla="*/ 157 h 11985"/>
              <a:gd name="T44" fmla="*/ 33992 w 47033"/>
              <a:gd name="T45" fmla="*/ 5141 h 11985"/>
              <a:gd name="T46" fmla="*/ 28986 w 47033"/>
              <a:gd name="T47" fmla="*/ 0 h 11985"/>
              <a:gd name="T48" fmla="*/ 32855 w 47033"/>
              <a:gd name="T49" fmla="*/ 4077 h 11985"/>
              <a:gd name="T50" fmla="*/ 26686 w 47033"/>
              <a:gd name="T51" fmla="*/ 7111 h 11985"/>
              <a:gd name="T52" fmla="*/ 16988 w 47033"/>
              <a:gd name="T53" fmla="*/ 6676 h 11985"/>
              <a:gd name="T54" fmla="*/ 16144 w 47033"/>
              <a:gd name="T55" fmla="*/ 11982 h 11985"/>
              <a:gd name="T56" fmla="*/ 24345 w 47033"/>
              <a:gd name="T57" fmla="*/ 9342 h 11985"/>
              <a:gd name="T58" fmla="*/ 26686 w 47033"/>
              <a:gd name="T59" fmla="*/ 11814 h 11985"/>
              <a:gd name="T60" fmla="*/ 12607 w 47033"/>
              <a:gd name="T61" fmla="*/ 157 h 11985"/>
              <a:gd name="T62" fmla="*/ 14174 w 47033"/>
              <a:gd name="T63" fmla="*/ 2897 h 11985"/>
              <a:gd name="T64" fmla="*/ 12842 w 47033"/>
              <a:gd name="T65" fmla="*/ 5477 h 11985"/>
              <a:gd name="T66" fmla="*/ 17175 w 47033"/>
              <a:gd name="T67" fmla="*/ 4265 h 11985"/>
              <a:gd name="T68" fmla="*/ 15440 w 47033"/>
              <a:gd name="T69" fmla="*/ 0 h 11985"/>
              <a:gd name="T70" fmla="*/ 17175 w 47033"/>
              <a:gd name="T71" fmla="*/ 5766 h 11985"/>
              <a:gd name="T72" fmla="*/ 24357 w 47033"/>
              <a:gd name="T73" fmla="*/ 2588 h 11985"/>
              <a:gd name="T74" fmla="*/ 26793 w 47033"/>
              <a:gd name="T75" fmla="*/ 2823 h 11985"/>
              <a:gd name="T76" fmla="*/ 22772 w 47033"/>
              <a:gd name="T77" fmla="*/ 1 h 11985"/>
              <a:gd name="T78" fmla="*/ 24206 w 47033"/>
              <a:gd name="T79" fmla="*/ 4279 h 11985"/>
              <a:gd name="T80" fmla="*/ 27395 w 47033"/>
              <a:gd name="T81" fmla="*/ 10806 h 11985"/>
              <a:gd name="T82" fmla="*/ 32640 w 47033"/>
              <a:gd name="T83" fmla="*/ 8287 h 11985"/>
              <a:gd name="T84" fmla="*/ 27502 w 47033"/>
              <a:gd name="T85" fmla="*/ 7515 h 11985"/>
              <a:gd name="T86" fmla="*/ 27098 w 47033"/>
              <a:gd name="T87" fmla="*/ 9798 h 11985"/>
              <a:gd name="T88" fmla="*/ 29175 w 47033"/>
              <a:gd name="T89" fmla="*/ 10517 h 11985"/>
              <a:gd name="T90" fmla="*/ 10571 w 47033"/>
              <a:gd name="T91" fmla="*/ 8701 h 11985"/>
              <a:gd name="T92" fmla="*/ 11747 w 47033"/>
              <a:gd name="T93" fmla="*/ 10504 h 11985"/>
              <a:gd name="T94" fmla="*/ 13930 w 47033"/>
              <a:gd name="T95" fmla="*/ 7750 h 11985"/>
              <a:gd name="T96" fmla="*/ 9092 w 47033"/>
              <a:gd name="T97" fmla="*/ 6932 h 11985"/>
              <a:gd name="T98" fmla="*/ 14042 w 47033"/>
              <a:gd name="T99" fmla="*/ 11983 h 11985"/>
              <a:gd name="T100" fmla="*/ 19265 w 47033"/>
              <a:gd name="T101" fmla="*/ 3897 h 11985"/>
              <a:gd name="T102" fmla="*/ 17435 w 47033"/>
              <a:gd name="T103" fmla="*/ 135 h 11985"/>
              <a:gd name="T104" fmla="*/ 22053 w 47033"/>
              <a:gd name="T105" fmla="*/ 1321 h 11985"/>
              <a:gd name="T106" fmla="*/ 20620 w 47033"/>
              <a:gd name="T107" fmla="*/ 1477 h 11985"/>
              <a:gd name="T108" fmla="*/ 21169 w 47033"/>
              <a:gd name="T109" fmla="*/ 2024 h 11985"/>
              <a:gd name="T110" fmla="*/ 21896 w 47033"/>
              <a:gd name="T111" fmla="*/ 5712 h 11985"/>
              <a:gd name="T112" fmla="*/ 6283 w 47033"/>
              <a:gd name="T113" fmla="*/ 6427 h 11985"/>
              <a:gd name="T114" fmla="*/ 7850 w 47033"/>
              <a:gd name="T115" fmla="*/ 9168 h 11985"/>
              <a:gd name="T116" fmla="*/ 6518 w 47033"/>
              <a:gd name="T117" fmla="*/ 11748 h 11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033" h="11985">
                <a:moveTo>
                  <a:pt x="3646" y="7701"/>
                </a:moveTo>
                <a:cubicBezTo>
                  <a:pt x="3911" y="7772"/>
                  <a:pt x="4140" y="7863"/>
                  <a:pt x="4335" y="7976"/>
                </a:cubicBezTo>
                <a:cubicBezTo>
                  <a:pt x="4432" y="8036"/>
                  <a:pt x="4505" y="8073"/>
                  <a:pt x="4553" y="8088"/>
                </a:cubicBezTo>
                <a:cubicBezTo>
                  <a:pt x="4602" y="8103"/>
                  <a:pt x="4656" y="8110"/>
                  <a:pt x="4716" y="8110"/>
                </a:cubicBezTo>
                <a:cubicBezTo>
                  <a:pt x="4850" y="8110"/>
                  <a:pt x="4992" y="8036"/>
                  <a:pt x="5141" y="7886"/>
                </a:cubicBezTo>
                <a:cubicBezTo>
                  <a:pt x="5712" y="7292"/>
                  <a:pt x="5712" y="7292"/>
                  <a:pt x="5712" y="7292"/>
                </a:cubicBezTo>
                <a:cubicBezTo>
                  <a:pt x="5735" y="7270"/>
                  <a:pt x="5746" y="7244"/>
                  <a:pt x="5746" y="7214"/>
                </a:cubicBezTo>
                <a:cubicBezTo>
                  <a:pt x="5746" y="7177"/>
                  <a:pt x="5723" y="7136"/>
                  <a:pt x="5679" y="7091"/>
                </a:cubicBezTo>
                <a:cubicBezTo>
                  <a:pt x="5358" y="6800"/>
                  <a:pt x="4942" y="6572"/>
                  <a:pt x="4430" y="6408"/>
                </a:cubicBezTo>
                <a:cubicBezTo>
                  <a:pt x="3919" y="6244"/>
                  <a:pt x="3379" y="6162"/>
                  <a:pt x="2812" y="6162"/>
                </a:cubicBezTo>
                <a:cubicBezTo>
                  <a:pt x="2460" y="6162"/>
                  <a:pt x="2127" y="6194"/>
                  <a:pt x="1809" y="6262"/>
                </a:cubicBezTo>
                <a:cubicBezTo>
                  <a:pt x="1492" y="6329"/>
                  <a:pt x="1210" y="6434"/>
                  <a:pt x="964" y="6576"/>
                </a:cubicBezTo>
                <a:cubicBezTo>
                  <a:pt x="717" y="6718"/>
                  <a:pt x="521" y="6903"/>
                  <a:pt x="376" y="7130"/>
                </a:cubicBezTo>
                <a:cubicBezTo>
                  <a:pt x="230" y="7358"/>
                  <a:pt x="157" y="7632"/>
                  <a:pt x="157" y="7953"/>
                </a:cubicBezTo>
                <a:cubicBezTo>
                  <a:pt x="157" y="8237"/>
                  <a:pt x="220" y="8479"/>
                  <a:pt x="348" y="8682"/>
                </a:cubicBezTo>
                <a:cubicBezTo>
                  <a:pt x="475" y="8883"/>
                  <a:pt x="650" y="9054"/>
                  <a:pt x="873" y="9196"/>
                </a:cubicBezTo>
                <a:cubicBezTo>
                  <a:pt x="1098" y="9338"/>
                  <a:pt x="1363" y="9452"/>
                  <a:pt x="1669" y="9538"/>
                </a:cubicBezTo>
                <a:cubicBezTo>
                  <a:pt x="1975" y="9624"/>
                  <a:pt x="2307" y="9693"/>
                  <a:pt x="2666" y="9745"/>
                </a:cubicBezTo>
                <a:cubicBezTo>
                  <a:pt x="2927" y="9783"/>
                  <a:pt x="3140" y="9818"/>
                  <a:pt x="3304" y="9852"/>
                </a:cubicBezTo>
                <a:cubicBezTo>
                  <a:pt x="3469" y="9885"/>
                  <a:pt x="3599" y="9919"/>
                  <a:pt x="3696" y="9952"/>
                </a:cubicBezTo>
                <a:cubicBezTo>
                  <a:pt x="3793" y="9986"/>
                  <a:pt x="3859" y="10023"/>
                  <a:pt x="3892" y="10065"/>
                </a:cubicBezTo>
                <a:cubicBezTo>
                  <a:pt x="3926" y="10105"/>
                  <a:pt x="3943" y="10156"/>
                  <a:pt x="3943" y="10216"/>
                </a:cubicBezTo>
                <a:cubicBezTo>
                  <a:pt x="3943" y="10335"/>
                  <a:pt x="3870" y="10419"/>
                  <a:pt x="3724" y="10468"/>
                </a:cubicBezTo>
                <a:cubicBezTo>
                  <a:pt x="3579" y="10516"/>
                  <a:pt x="3386" y="10541"/>
                  <a:pt x="3148" y="10541"/>
                </a:cubicBezTo>
                <a:cubicBezTo>
                  <a:pt x="2752" y="10541"/>
                  <a:pt x="2416" y="10507"/>
                  <a:pt x="2139" y="10440"/>
                </a:cubicBezTo>
                <a:cubicBezTo>
                  <a:pt x="1863" y="10372"/>
                  <a:pt x="1624" y="10279"/>
                  <a:pt x="1422" y="10160"/>
                </a:cubicBezTo>
                <a:cubicBezTo>
                  <a:pt x="1326" y="10100"/>
                  <a:pt x="1253" y="10063"/>
                  <a:pt x="1205" y="10048"/>
                </a:cubicBezTo>
                <a:cubicBezTo>
                  <a:pt x="1156" y="10033"/>
                  <a:pt x="1102" y="10025"/>
                  <a:pt x="1042" y="10025"/>
                </a:cubicBezTo>
                <a:cubicBezTo>
                  <a:pt x="907" y="10025"/>
                  <a:pt x="766" y="10100"/>
                  <a:pt x="616" y="10249"/>
                </a:cubicBezTo>
                <a:cubicBezTo>
                  <a:pt x="34" y="10854"/>
                  <a:pt x="34" y="10854"/>
                  <a:pt x="34" y="10854"/>
                </a:cubicBezTo>
                <a:cubicBezTo>
                  <a:pt x="11" y="10877"/>
                  <a:pt x="0" y="10903"/>
                  <a:pt x="0" y="10932"/>
                </a:cubicBezTo>
                <a:cubicBezTo>
                  <a:pt x="0" y="10970"/>
                  <a:pt x="23" y="11011"/>
                  <a:pt x="68" y="11056"/>
                </a:cubicBezTo>
                <a:cubicBezTo>
                  <a:pt x="210" y="11198"/>
                  <a:pt x="390" y="11327"/>
                  <a:pt x="611" y="11442"/>
                </a:cubicBezTo>
                <a:cubicBezTo>
                  <a:pt x="831" y="11558"/>
                  <a:pt x="1081" y="11655"/>
                  <a:pt x="1361" y="11733"/>
                </a:cubicBezTo>
                <a:cubicBezTo>
                  <a:pt x="1641" y="11812"/>
                  <a:pt x="1945" y="11873"/>
                  <a:pt x="2274" y="11918"/>
                </a:cubicBezTo>
                <a:cubicBezTo>
                  <a:pt x="2602" y="11963"/>
                  <a:pt x="2946" y="11985"/>
                  <a:pt x="3304" y="11985"/>
                </a:cubicBezTo>
                <a:cubicBezTo>
                  <a:pt x="5668" y="11985"/>
                  <a:pt x="5668" y="11985"/>
                  <a:pt x="5668" y="11985"/>
                </a:cubicBezTo>
                <a:cubicBezTo>
                  <a:pt x="5705" y="11985"/>
                  <a:pt x="5731" y="11970"/>
                  <a:pt x="5746" y="11941"/>
                </a:cubicBezTo>
                <a:cubicBezTo>
                  <a:pt x="5753" y="11926"/>
                  <a:pt x="5757" y="11907"/>
                  <a:pt x="5757" y="11884"/>
                </a:cubicBezTo>
                <a:cubicBezTo>
                  <a:pt x="5757" y="10574"/>
                  <a:pt x="5757" y="10574"/>
                  <a:pt x="5757" y="10574"/>
                </a:cubicBezTo>
                <a:cubicBezTo>
                  <a:pt x="5757" y="10193"/>
                  <a:pt x="5712" y="9878"/>
                  <a:pt x="5623" y="9628"/>
                </a:cubicBezTo>
                <a:cubicBezTo>
                  <a:pt x="5534" y="9378"/>
                  <a:pt x="5406" y="9174"/>
                  <a:pt x="5242" y="9018"/>
                </a:cubicBezTo>
                <a:cubicBezTo>
                  <a:pt x="5078" y="8860"/>
                  <a:pt x="4878" y="8741"/>
                  <a:pt x="4643" y="8659"/>
                </a:cubicBezTo>
                <a:cubicBezTo>
                  <a:pt x="4408" y="8577"/>
                  <a:pt x="4144" y="8513"/>
                  <a:pt x="3853" y="8469"/>
                </a:cubicBezTo>
                <a:cubicBezTo>
                  <a:pt x="3248" y="8379"/>
                  <a:pt x="2770" y="8297"/>
                  <a:pt x="2419" y="8222"/>
                </a:cubicBezTo>
                <a:cubicBezTo>
                  <a:pt x="2069" y="8147"/>
                  <a:pt x="1893" y="8039"/>
                  <a:pt x="1893" y="7897"/>
                </a:cubicBezTo>
                <a:cubicBezTo>
                  <a:pt x="1893" y="7696"/>
                  <a:pt x="2177" y="7595"/>
                  <a:pt x="2745" y="7595"/>
                </a:cubicBezTo>
                <a:cubicBezTo>
                  <a:pt x="3081" y="7595"/>
                  <a:pt x="3381" y="7630"/>
                  <a:pt x="3646" y="7701"/>
                </a:cubicBezTo>
                <a:close/>
                <a:moveTo>
                  <a:pt x="12027" y="840"/>
                </a:moveTo>
                <a:cubicBezTo>
                  <a:pt x="12027" y="376"/>
                  <a:pt x="11651" y="0"/>
                  <a:pt x="11187" y="0"/>
                </a:cubicBezTo>
                <a:cubicBezTo>
                  <a:pt x="10297" y="0"/>
                  <a:pt x="10297" y="0"/>
                  <a:pt x="10297" y="0"/>
                </a:cubicBezTo>
                <a:cubicBezTo>
                  <a:pt x="10253" y="1"/>
                  <a:pt x="10213" y="18"/>
                  <a:pt x="10183" y="46"/>
                </a:cubicBezTo>
                <a:cubicBezTo>
                  <a:pt x="8399" y="1721"/>
                  <a:pt x="8399" y="1721"/>
                  <a:pt x="8399" y="1721"/>
                </a:cubicBezTo>
                <a:cubicBezTo>
                  <a:pt x="7789" y="2294"/>
                  <a:pt x="6967" y="2617"/>
                  <a:pt x="6063" y="2617"/>
                </a:cubicBezTo>
                <a:cubicBezTo>
                  <a:pt x="5121" y="2617"/>
                  <a:pt x="4269" y="2265"/>
                  <a:pt x="3651" y="1648"/>
                </a:cubicBezTo>
                <a:cubicBezTo>
                  <a:pt x="3651" y="1648"/>
                  <a:pt x="2340" y="416"/>
                  <a:pt x="2328" y="405"/>
                </a:cubicBezTo>
                <a:cubicBezTo>
                  <a:pt x="2077" y="171"/>
                  <a:pt x="1730" y="9"/>
                  <a:pt x="1332" y="0"/>
                </a:cubicBezTo>
                <a:cubicBezTo>
                  <a:pt x="267" y="0"/>
                  <a:pt x="267" y="0"/>
                  <a:pt x="267" y="0"/>
                </a:cubicBezTo>
                <a:cubicBezTo>
                  <a:pt x="175" y="0"/>
                  <a:pt x="99" y="76"/>
                  <a:pt x="99" y="168"/>
                </a:cubicBezTo>
                <a:cubicBezTo>
                  <a:pt x="99" y="4872"/>
                  <a:pt x="99" y="4872"/>
                  <a:pt x="99" y="4872"/>
                </a:cubicBezTo>
                <a:cubicBezTo>
                  <a:pt x="99" y="5336"/>
                  <a:pt x="475" y="5712"/>
                  <a:pt x="939" y="5712"/>
                </a:cubicBezTo>
                <a:cubicBezTo>
                  <a:pt x="1264" y="5712"/>
                  <a:pt x="1264" y="5712"/>
                  <a:pt x="1264" y="5712"/>
                </a:cubicBezTo>
                <a:cubicBezTo>
                  <a:pt x="1484" y="5712"/>
                  <a:pt x="1484" y="5712"/>
                  <a:pt x="1484" y="5712"/>
                </a:cubicBezTo>
                <a:cubicBezTo>
                  <a:pt x="1577" y="5712"/>
                  <a:pt x="1653" y="5636"/>
                  <a:pt x="1653" y="5543"/>
                </a:cubicBezTo>
                <a:cubicBezTo>
                  <a:pt x="1653" y="3869"/>
                  <a:pt x="1653" y="3869"/>
                  <a:pt x="1653" y="3869"/>
                </a:cubicBezTo>
                <a:cubicBezTo>
                  <a:pt x="1653" y="3432"/>
                  <a:pt x="2010" y="3071"/>
                  <a:pt x="2441" y="3071"/>
                </a:cubicBezTo>
                <a:cubicBezTo>
                  <a:pt x="3242" y="3071"/>
                  <a:pt x="3816" y="3757"/>
                  <a:pt x="4335" y="4216"/>
                </a:cubicBezTo>
                <a:cubicBezTo>
                  <a:pt x="4971" y="4777"/>
                  <a:pt x="5461" y="5318"/>
                  <a:pt x="6063" y="5318"/>
                </a:cubicBezTo>
                <a:cubicBezTo>
                  <a:pt x="6665" y="5318"/>
                  <a:pt x="7155" y="4777"/>
                  <a:pt x="7791" y="4216"/>
                </a:cubicBezTo>
                <a:cubicBezTo>
                  <a:pt x="8310" y="3757"/>
                  <a:pt x="8884" y="3071"/>
                  <a:pt x="9685" y="3071"/>
                </a:cubicBezTo>
                <a:cubicBezTo>
                  <a:pt x="10113" y="3071"/>
                  <a:pt x="10469" y="3428"/>
                  <a:pt x="10473" y="3862"/>
                </a:cubicBezTo>
                <a:cubicBezTo>
                  <a:pt x="10473" y="3862"/>
                  <a:pt x="10473" y="4865"/>
                  <a:pt x="10473" y="4872"/>
                </a:cubicBezTo>
                <a:cubicBezTo>
                  <a:pt x="10473" y="5336"/>
                  <a:pt x="10849" y="5711"/>
                  <a:pt x="11313" y="5711"/>
                </a:cubicBezTo>
                <a:cubicBezTo>
                  <a:pt x="11313" y="5711"/>
                  <a:pt x="11662" y="5711"/>
                  <a:pt x="11676" y="5711"/>
                </a:cubicBezTo>
                <a:cubicBezTo>
                  <a:pt x="11770" y="5711"/>
                  <a:pt x="11858" y="5712"/>
                  <a:pt x="11858" y="5712"/>
                </a:cubicBezTo>
                <a:cubicBezTo>
                  <a:pt x="11858" y="5712"/>
                  <a:pt x="11858" y="5712"/>
                  <a:pt x="11858" y="5712"/>
                </a:cubicBezTo>
                <a:cubicBezTo>
                  <a:pt x="11951" y="5712"/>
                  <a:pt x="12027" y="5636"/>
                  <a:pt x="12027" y="5543"/>
                </a:cubicBezTo>
                <a:cubicBezTo>
                  <a:pt x="12027" y="5541"/>
                  <a:pt x="12027" y="880"/>
                  <a:pt x="12027" y="840"/>
                </a:cubicBezTo>
                <a:close/>
                <a:moveTo>
                  <a:pt x="41328" y="5154"/>
                </a:moveTo>
                <a:cubicBezTo>
                  <a:pt x="41328" y="5550"/>
                  <a:pt x="41328" y="5550"/>
                  <a:pt x="41328" y="5550"/>
                </a:cubicBezTo>
                <a:cubicBezTo>
                  <a:pt x="41328" y="5655"/>
                  <a:pt x="41284" y="5713"/>
                  <a:pt x="41196" y="5713"/>
                </a:cubicBezTo>
                <a:cubicBezTo>
                  <a:pt x="39953" y="5711"/>
                  <a:pt x="39953" y="5711"/>
                  <a:pt x="39953" y="5711"/>
                </a:cubicBezTo>
                <a:cubicBezTo>
                  <a:pt x="39741" y="5711"/>
                  <a:pt x="39544" y="5637"/>
                  <a:pt x="39361" y="5504"/>
                </a:cubicBezTo>
                <a:cubicBezTo>
                  <a:pt x="39361" y="5504"/>
                  <a:pt x="37482" y="4022"/>
                  <a:pt x="37476" y="4017"/>
                </a:cubicBezTo>
                <a:cubicBezTo>
                  <a:pt x="37350" y="3905"/>
                  <a:pt x="37266" y="3719"/>
                  <a:pt x="37266" y="3508"/>
                </a:cubicBezTo>
                <a:cubicBezTo>
                  <a:pt x="37266" y="3508"/>
                  <a:pt x="37266" y="2897"/>
                  <a:pt x="37266" y="2897"/>
                </a:cubicBezTo>
                <a:cubicBezTo>
                  <a:pt x="37266" y="2793"/>
                  <a:pt x="37298" y="2741"/>
                  <a:pt x="37364" y="2741"/>
                </a:cubicBezTo>
                <a:cubicBezTo>
                  <a:pt x="37430" y="2741"/>
                  <a:pt x="37520" y="2784"/>
                  <a:pt x="37565" y="2798"/>
                </a:cubicBezTo>
                <a:cubicBezTo>
                  <a:pt x="37662" y="2833"/>
                  <a:pt x="37784" y="2866"/>
                  <a:pt x="37791" y="2868"/>
                </a:cubicBezTo>
                <a:cubicBezTo>
                  <a:pt x="37986" y="2930"/>
                  <a:pt x="38177" y="2963"/>
                  <a:pt x="38363" y="2963"/>
                </a:cubicBezTo>
                <a:cubicBezTo>
                  <a:pt x="38752" y="2963"/>
                  <a:pt x="39062" y="2790"/>
                  <a:pt x="39160" y="2513"/>
                </a:cubicBezTo>
                <a:cubicBezTo>
                  <a:pt x="39251" y="2257"/>
                  <a:pt x="38997" y="1663"/>
                  <a:pt x="38135" y="1445"/>
                </a:cubicBezTo>
                <a:cubicBezTo>
                  <a:pt x="37489" y="1282"/>
                  <a:pt x="36888" y="1408"/>
                  <a:pt x="36713" y="1731"/>
                </a:cubicBezTo>
                <a:cubicBezTo>
                  <a:pt x="36713" y="1731"/>
                  <a:pt x="36686" y="1781"/>
                  <a:pt x="36670" y="1833"/>
                </a:cubicBezTo>
                <a:cubicBezTo>
                  <a:pt x="36655" y="1883"/>
                  <a:pt x="36651" y="1958"/>
                  <a:pt x="36651" y="1989"/>
                </a:cubicBezTo>
                <a:cubicBezTo>
                  <a:pt x="36651" y="1989"/>
                  <a:pt x="36651" y="4294"/>
                  <a:pt x="36651" y="4327"/>
                </a:cubicBezTo>
                <a:cubicBezTo>
                  <a:pt x="36651" y="4678"/>
                  <a:pt x="36597" y="5004"/>
                  <a:pt x="36379" y="5291"/>
                </a:cubicBezTo>
                <a:cubicBezTo>
                  <a:pt x="36254" y="5457"/>
                  <a:pt x="36086" y="5593"/>
                  <a:pt x="35890" y="5657"/>
                </a:cubicBezTo>
                <a:cubicBezTo>
                  <a:pt x="35762" y="5697"/>
                  <a:pt x="35622" y="5712"/>
                  <a:pt x="35492" y="5712"/>
                </a:cubicBezTo>
                <a:cubicBezTo>
                  <a:pt x="35401" y="5712"/>
                  <a:pt x="35241" y="5707"/>
                  <a:pt x="35169" y="5669"/>
                </a:cubicBezTo>
                <a:cubicBezTo>
                  <a:pt x="35115" y="5639"/>
                  <a:pt x="35115" y="5581"/>
                  <a:pt x="35115" y="5527"/>
                </a:cubicBezTo>
                <a:cubicBezTo>
                  <a:pt x="35115" y="5143"/>
                  <a:pt x="35115" y="5143"/>
                  <a:pt x="35115" y="5143"/>
                </a:cubicBezTo>
                <a:cubicBezTo>
                  <a:pt x="35115" y="4848"/>
                  <a:pt x="35115" y="4848"/>
                  <a:pt x="35115" y="4848"/>
                </a:cubicBezTo>
                <a:cubicBezTo>
                  <a:pt x="35115" y="3990"/>
                  <a:pt x="35115" y="3990"/>
                  <a:pt x="35115" y="3990"/>
                </a:cubicBezTo>
                <a:cubicBezTo>
                  <a:pt x="35115" y="3990"/>
                  <a:pt x="35115" y="134"/>
                  <a:pt x="35115" y="124"/>
                </a:cubicBezTo>
                <a:cubicBezTo>
                  <a:pt x="35115" y="56"/>
                  <a:pt x="35171" y="0"/>
                  <a:pt x="35239" y="0"/>
                </a:cubicBezTo>
                <a:cubicBezTo>
                  <a:pt x="35243" y="0"/>
                  <a:pt x="37546" y="0"/>
                  <a:pt x="37546" y="0"/>
                </a:cubicBezTo>
                <a:cubicBezTo>
                  <a:pt x="37926" y="0"/>
                  <a:pt x="38306" y="64"/>
                  <a:pt x="38697" y="195"/>
                </a:cubicBezTo>
                <a:cubicBezTo>
                  <a:pt x="39088" y="326"/>
                  <a:pt x="39442" y="502"/>
                  <a:pt x="39756" y="726"/>
                </a:cubicBezTo>
                <a:cubicBezTo>
                  <a:pt x="40071" y="950"/>
                  <a:pt x="40327" y="1213"/>
                  <a:pt x="40524" y="1515"/>
                </a:cubicBezTo>
                <a:cubicBezTo>
                  <a:pt x="40722" y="1817"/>
                  <a:pt x="40820" y="2140"/>
                  <a:pt x="40820" y="2483"/>
                </a:cubicBezTo>
                <a:cubicBezTo>
                  <a:pt x="40820" y="2848"/>
                  <a:pt x="40711" y="3140"/>
                  <a:pt x="40508" y="3372"/>
                </a:cubicBezTo>
                <a:cubicBezTo>
                  <a:pt x="40181" y="3746"/>
                  <a:pt x="39821" y="3890"/>
                  <a:pt x="39711" y="3960"/>
                </a:cubicBezTo>
                <a:cubicBezTo>
                  <a:pt x="39809" y="4037"/>
                  <a:pt x="40036" y="4217"/>
                  <a:pt x="40343" y="4460"/>
                </a:cubicBezTo>
                <a:cubicBezTo>
                  <a:pt x="40937" y="4930"/>
                  <a:pt x="41237" y="5013"/>
                  <a:pt x="41238" y="5013"/>
                </a:cubicBezTo>
                <a:cubicBezTo>
                  <a:pt x="41280" y="5030"/>
                  <a:pt x="41328" y="5093"/>
                  <a:pt x="41328" y="5154"/>
                </a:cubicBezTo>
                <a:close/>
                <a:moveTo>
                  <a:pt x="46158" y="4229"/>
                </a:moveTo>
                <a:cubicBezTo>
                  <a:pt x="44501" y="4229"/>
                  <a:pt x="44501" y="4229"/>
                  <a:pt x="44501" y="4229"/>
                </a:cubicBezTo>
                <a:cubicBezTo>
                  <a:pt x="44265" y="4229"/>
                  <a:pt x="44051" y="4167"/>
                  <a:pt x="43843" y="4078"/>
                </a:cubicBezTo>
                <a:cubicBezTo>
                  <a:pt x="43665" y="4002"/>
                  <a:pt x="43392" y="3765"/>
                  <a:pt x="43311" y="3675"/>
                </a:cubicBezTo>
                <a:cubicBezTo>
                  <a:pt x="43159" y="3507"/>
                  <a:pt x="43041" y="3313"/>
                  <a:pt x="42956" y="3093"/>
                </a:cubicBezTo>
                <a:cubicBezTo>
                  <a:pt x="42871" y="2874"/>
                  <a:pt x="42829" y="2648"/>
                  <a:pt x="42829" y="2417"/>
                </a:cubicBezTo>
                <a:cubicBezTo>
                  <a:pt x="42829" y="2119"/>
                  <a:pt x="42913" y="1887"/>
                  <a:pt x="43083" y="1723"/>
                </a:cubicBezTo>
                <a:cubicBezTo>
                  <a:pt x="43104" y="1703"/>
                  <a:pt x="43177" y="1643"/>
                  <a:pt x="43262" y="1593"/>
                </a:cubicBezTo>
                <a:cubicBezTo>
                  <a:pt x="43347" y="1543"/>
                  <a:pt x="43440" y="1518"/>
                  <a:pt x="43501" y="1505"/>
                </a:cubicBezTo>
                <a:cubicBezTo>
                  <a:pt x="43599" y="1481"/>
                  <a:pt x="43708" y="1468"/>
                  <a:pt x="43824" y="1468"/>
                </a:cubicBezTo>
                <a:cubicBezTo>
                  <a:pt x="43939" y="1468"/>
                  <a:pt x="44047" y="1481"/>
                  <a:pt x="44146" y="1504"/>
                </a:cubicBezTo>
                <a:cubicBezTo>
                  <a:pt x="44332" y="1541"/>
                  <a:pt x="44515" y="1615"/>
                  <a:pt x="44695" y="1729"/>
                </a:cubicBezTo>
                <a:cubicBezTo>
                  <a:pt x="44953" y="1892"/>
                  <a:pt x="45227" y="2141"/>
                  <a:pt x="45410" y="2381"/>
                </a:cubicBezTo>
                <a:cubicBezTo>
                  <a:pt x="43687" y="2380"/>
                  <a:pt x="43687" y="2380"/>
                  <a:pt x="43687" y="2380"/>
                </a:cubicBezTo>
                <a:cubicBezTo>
                  <a:pt x="43583" y="2380"/>
                  <a:pt x="43532" y="2426"/>
                  <a:pt x="43532" y="2515"/>
                </a:cubicBezTo>
                <a:cubicBezTo>
                  <a:pt x="43532" y="2694"/>
                  <a:pt x="43559" y="2809"/>
                  <a:pt x="43629" y="2954"/>
                </a:cubicBezTo>
                <a:cubicBezTo>
                  <a:pt x="43699" y="3099"/>
                  <a:pt x="44031" y="3605"/>
                  <a:pt x="44709" y="3605"/>
                </a:cubicBezTo>
                <a:cubicBezTo>
                  <a:pt x="46313" y="3606"/>
                  <a:pt x="46313" y="3606"/>
                  <a:pt x="46313" y="3606"/>
                </a:cubicBezTo>
                <a:cubicBezTo>
                  <a:pt x="46594" y="3606"/>
                  <a:pt x="46788" y="3532"/>
                  <a:pt x="46895" y="3382"/>
                </a:cubicBezTo>
                <a:cubicBezTo>
                  <a:pt x="47002" y="3234"/>
                  <a:pt x="47033" y="3105"/>
                  <a:pt x="47033" y="2904"/>
                </a:cubicBezTo>
                <a:cubicBezTo>
                  <a:pt x="47033" y="2576"/>
                  <a:pt x="46946" y="2254"/>
                  <a:pt x="46773" y="1908"/>
                </a:cubicBezTo>
                <a:cubicBezTo>
                  <a:pt x="46599" y="1561"/>
                  <a:pt x="46364" y="1246"/>
                  <a:pt x="46069" y="962"/>
                </a:cubicBezTo>
                <a:cubicBezTo>
                  <a:pt x="45774" y="679"/>
                  <a:pt x="45430" y="448"/>
                  <a:pt x="45039" y="269"/>
                </a:cubicBezTo>
                <a:cubicBezTo>
                  <a:pt x="44647" y="90"/>
                  <a:pt x="44237" y="0"/>
                  <a:pt x="43809" y="0"/>
                </a:cubicBezTo>
                <a:cubicBezTo>
                  <a:pt x="43809" y="0"/>
                  <a:pt x="41455" y="0"/>
                  <a:pt x="41452" y="0"/>
                </a:cubicBezTo>
                <a:cubicBezTo>
                  <a:pt x="41383" y="0"/>
                  <a:pt x="41328" y="56"/>
                  <a:pt x="41328" y="124"/>
                </a:cubicBezTo>
                <a:cubicBezTo>
                  <a:pt x="41328" y="134"/>
                  <a:pt x="41328" y="2473"/>
                  <a:pt x="41328" y="2473"/>
                </a:cubicBezTo>
                <a:cubicBezTo>
                  <a:pt x="41328" y="2913"/>
                  <a:pt x="41412" y="3328"/>
                  <a:pt x="41582" y="3720"/>
                </a:cubicBezTo>
                <a:cubicBezTo>
                  <a:pt x="41752" y="4112"/>
                  <a:pt x="41983" y="4455"/>
                  <a:pt x="42275" y="4749"/>
                </a:cubicBezTo>
                <a:cubicBezTo>
                  <a:pt x="42566" y="5044"/>
                  <a:pt x="42906" y="5277"/>
                  <a:pt x="43294" y="5448"/>
                </a:cubicBezTo>
                <a:cubicBezTo>
                  <a:pt x="43682" y="5620"/>
                  <a:pt x="44099" y="5712"/>
                  <a:pt x="44542" y="5712"/>
                </a:cubicBezTo>
                <a:cubicBezTo>
                  <a:pt x="46909" y="5712"/>
                  <a:pt x="46909" y="5712"/>
                  <a:pt x="46909" y="5712"/>
                </a:cubicBezTo>
                <a:cubicBezTo>
                  <a:pt x="46978" y="5712"/>
                  <a:pt x="47033" y="5657"/>
                  <a:pt x="47033" y="5588"/>
                </a:cubicBezTo>
                <a:cubicBezTo>
                  <a:pt x="47033" y="5113"/>
                  <a:pt x="47033" y="5113"/>
                  <a:pt x="47033" y="5113"/>
                </a:cubicBezTo>
                <a:cubicBezTo>
                  <a:pt x="47033" y="4837"/>
                  <a:pt x="46955" y="4621"/>
                  <a:pt x="46800" y="4464"/>
                </a:cubicBezTo>
                <a:cubicBezTo>
                  <a:pt x="46645" y="4307"/>
                  <a:pt x="46431" y="4229"/>
                  <a:pt x="46158" y="4229"/>
                </a:cubicBezTo>
                <a:close/>
                <a:moveTo>
                  <a:pt x="28986" y="0"/>
                </a:moveTo>
                <a:cubicBezTo>
                  <a:pt x="28896" y="0"/>
                  <a:pt x="28851" y="52"/>
                  <a:pt x="28851" y="157"/>
                </a:cubicBezTo>
                <a:cubicBezTo>
                  <a:pt x="28851" y="2476"/>
                  <a:pt x="28851" y="2476"/>
                  <a:pt x="28851" y="2476"/>
                </a:cubicBezTo>
                <a:cubicBezTo>
                  <a:pt x="28851" y="2923"/>
                  <a:pt x="28944" y="3349"/>
                  <a:pt x="29132" y="3752"/>
                </a:cubicBezTo>
                <a:cubicBezTo>
                  <a:pt x="29318" y="4155"/>
                  <a:pt x="29566" y="4512"/>
                  <a:pt x="29876" y="4822"/>
                </a:cubicBezTo>
                <a:cubicBezTo>
                  <a:pt x="30186" y="5131"/>
                  <a:pt x="30543" y="5376"/>
                  <a:pt x="30945" y="5555"/>
                </a:cubicBezTo>
                <a:cubicBezTo>
                  <a:pt x="31349" y="5735"/>
                  <a:pt x="31767" y="5824"/>
                  <a:pt x="32200" y="5824"/>
                </a:cubicBezTo>
                <a:cubicBezTo>
                  <a:pt x="32574" y="5824"/>
                  <a:pt x="32911" y="5765"/>
                  <a:pt x="33213" y="5644"/>
                </a:cubicBezTo>
                <a:cubicBezTo>
                  <a:pt x="33516" y="5525"/>
                  <a:pt x="33775" y="5358"/>
                  <a:pt x="33992" y="5141"/>
                </a:cubicBezTo>
                <a:cubicBezTo>
                  <a:pt x="34208" y="4924"/>
                  <a:pt x="34376" y="4665"/>
                  <a:pt x="34496" y="4363"/>
                </a:cubicBezTo>
                <a:cubicBezTo>
                  <a:pt x="34616" y="4060"/>
                  <a:pt x="34676" y="3722"/>
                  <a:pt x="34676" y="3349"/>
                </a:cubicBezTo>
                <a:cubicBezTo>
                  <a:pt x="34676" y="2901"/>
                  <a:pt x="34582" y="2476"/>
                  <a:pt x="34395" y="2072"/>
                </a:cubicBezTo>
                <a:cubicBezTo>
                  <a:pt x="34208" y="1669"/>
                  <a:pt x="33960" y="1312"/>
                  <a:pt x="33651" y="1003"/>
                </a:cubicBezTo>
                <a:cubicBezTo>
                  <a:pt x="33341" y="693"/>
                  <a:pt x="32984" y="448"/>
                  <a:pt x="32581" y="269"/>
                </a:cubicBezTo>
                <a:cubicBezTo>
                  <a:pt x="32178" y="90"/>
                  <a:pt x="31760" y="0"/>
                  <a:pt x="31327" y="0"/>
                </a:cubicBezTo>
                <a:lnTo>
                  <a:pt x="28986" y="0"/>
                </a:lnTo>
                <a:close/>
                <a:moveTo>
                  <a:pt x="30677" y="1748"/>
                </a:moveTo>
                <a:cubicBezTo>
                  <a:pt x="30849" y="1568"/>
                  <a:pt x="31069" y="1478"/>
                  <a:pt x="31338" y="1478"/>
                </a:cubicBezTo>
                <a:cubicBezTo>
                  <a:pt x="31547" y="1478"/>
                  <a:pt x="31756" y="1536"/>
                  <a:pt x="31965" y="1652"/>
                </a:cubicBezTo>
                <a:cubicBezTo>
                  <a:pt x="32174" y="1768"/>
                  <a:pt x="32363" y="1918"/>
                  <a:pt x="32531" y="2100"/>
                </a:cubicBezTo>
                <a:cubicBezTo>
                  <a:pt x="32698" y="2283"/>
                  <a:pt x="32836" y="2487"/>
                  <a:pt x="32945" y="2711"/>
                </a:cubicBezTo>
                <a:cubicBezTo>
                  <a:pt x="33053" y="2934"/>
                  <a:pt x="33107" y="3159"/>
                  <a:pt x="33107" y="3383"/>
                </a:cubicBezTo>
                <a:cubicBezTo>
                  <a:pt x="33107" y="3666"/>
                  <a:pt x="33023" y="3898"/>
                  <a:pt x="32855" y="4077"/>
                </a:cubicBezTo>
                <a:cubicBezTo>
                  <a:pt x="32687" y="4256"/>
                  <a:pt x="32465" y="4346"/>
                  <a:pt x="32189" y="4346"/>
                </a:cubicBezTo>
                <a:cubicBezTo>
                  <a:pt x="31980" y="4346"/>
                  <a:pt x="31771" y="4288"/>
                  <a:pt x="31562" y="4172"/>
                </a:cubicBezTo>
                <a:cubicBezTo>
                  <a:pt x="31352" y="4056"/>
                  <a:pt x="31165" y="3907"/>
                  <a:pt x="30997" y="3724"/>
                </a:cubicBezTo>
                <a:cubicBezTo>
                  <a:pt x="30829" y="3541"/>
                  <a:pt x="30690" y="3337"/>
                  <a:pt x="30582" y="3114"/>
                </a:cubicBezTo>
                <a:cubicBezTo>
                  <a:pt x="30473" y="2890"/>
                  <a:pt x="30420" y="2666"/>
                  <a:pt x="30420" y="2442"/>
                </a:cubicBezTo>
                <a:cubicBezTo>
                  <a:pt x="30420" y="2158"/>
                  <a:pt x="30505" y="1927"/>
                  <a:pt x="30677" y="1748"/>
                </a:cubicBezTo>
                <a:close/>
                <a:moveTo>
                  <a:pt x="26686" y="7111"/>
                </a:moveTo>
                <a:cubicBezTo>
                  <a:pt x="26686" y="6647"/>
                  <a:pt x="26310" y="6271"/>
                  <a:pt x="25846" y="6271"/>
                </a:cubicBezTo>
                <a:cubicBezTo>
                  <a:pt x="24957" y="6271"/>
                  <a:pt x="24957" y="6271"/>
                  <a:pt x="24957" y="6271"/>
                </a:cubicBezTo>
                <a:cubicBezTo>
                  <a:pt x="24912" y="6271"/>
                  <a:pt x="24872" y="6289"/>
                  <a:pt x="24842" y="6317"/>
                </a:cubicBezTo>
                <a:cubicBezTo>
                  <a:pt x="23059" y="7991"/>
                  <a:pt x="23059" y="7991"/>
                  <a:pt x="23059" y="7991"/>
                </a:cubicBezTo>
                <a:cubicBezTo>
                  <a:pt x="22448" y="8565"/>
                  <a:pt x="21626" y="8887"/>
                  <a:pt x="20722" y="8887"/>
                </a:cubicBezTo>
                <a:cubicBezTo>
                  <a:pt x="19781" y="8887"/>
                  <a:pt x="18928" y="8535"/>
                  <a:pt x="18311" y="7918"/>
                </a:cubicBezTo>
                <a:cubicBezTo>
                  <a:pt x="18311" y="7918"/>
                  <a:pt x="17000" y="6687"/>
                  <a:pt x="16988" y="6676"/>
                </a:cubicBezTo>
                <a:cubicBezTo>
                  <a:pt x="16736" y="6441"/>
                  <a:pt x="16390" y="6280"/>
                  <a:pt x="15991" y="6271"/>
                </a:cubicBezTo>
                <a:cubicBezTo>
                  <a:pt x="14927" y="6271"/>
                  <a:pt x="14927" y="6271"/>
                  <a:pt x="14927" y="6271"/>
                </a:cubicBezTo>
                <a:cubicBezTo>
                  <a:pt x="14834" y="6271"/>
                  <a:pt x="14759" y="6346"/>
                  <a:pt x="14759" y="6439"/>
                </a:cubicBezTo>
                <a:cubicBezTo>
                  <a:pt x="14759" y="11142"/>
                  <a:pt x="14759" y="11142"/>
                  <a:pt x="14759" y="11142"/>
                </a:cubicBezTo>
                <a:cubicBezTo>
                  <a:pt x="14759" y="11606"/>
                  <a:pt x="15135" y="11983"/>
                  <a:pt x="15599" y="11983"/>
                </a:cubicBezTo>
                <a:cubicBezTo>
                  <a:pt x="15924" y="11983"/>
                  <a:pt x="15924" y="11983"/>
                  <a:pt x="15924" y="11983"/>
                </a:cubicBezTo>
                <a:cubicBezTo>
                  <a:pt x="16144" y="11982"/>
                  <a:pt x="16144" y="11982"/>
                  <a:pt x="16144" y="11982"/>
                </a:cubicBezTo>
                <a:cubicBezTo>
                  <a:pt x="16236" y="11982"/>
                  <a:pt x="16312" y="11907"/>
                  <a:pt x="16312" y="11813"/>
                </a:cubicBezTo>
                <a:cubicBezTo>
                  <a:pt x="16313" y="10140"/>
                  <a:pt x="16313" y="10140"/>
                  <a:pt x="16313" y="10140"/>
                </a:cubicBezTo>
                <a:cubicBezTo>
                  <a:pt x="16313" y="9702"/>
                  <a:pt x="16670" y="9342"/>
                  <a:pt x="17100" y="9342"/>
                </a:cubicBezTo>
                <a:cubicBezTo>
                  <a:pt x="17901" y="9342"/>
                  <a:pt x="18476" y="10028"/>
                  <a:pt x="18995" y="10486"/>
                </a:cubicBezTo>
                <a:cubicBezTo>
                  <a:pt x="19630" y="11048"/>
                  <a:pt x="20120" y="11589"/>
                  <a:pt x="20722" y="11589"/>
                </a:cubicBezTo>
                <a:cubicBezTo>
                  <a:pt x="21325" y="11589"/>
                  <a:pt x="21814" y="11048"/>
                  <a:pt x="22450" y="10486"/>
                </a:cubicBezTo>
                <a:cubicBezTo>
                  <a:pt x="22969" y="10028"/>
                  <a:pt x="23544" y="9342"/>
                  <a:pt x="24345" y="9342"/>
                </a:cubicBezTo>
                <a:cubicBezTo>
                  <a:pt x="24773" y="9342"/>
                  <a:pt x="25128" y="9698"/>
                  <a:pt x="25132" y="10133"/>
                </a:cubicBezTo>
                <a:cubicBezTo>
                  <a:pt x="25132" y="10133"/>
                  <a:pt x="25132" y="11136"/>
                  <a:pt x="25132" y="11142"/>
                </a:cubicBezTo>
                <a:cubicBezTo>
                  <a:pt x="25132" y="11606"/>
                  <a:pt x="25508" y="11981"/>
                  <a:pt x="25972" y="11981"/>
                </a:cubicBezTo>
                <a:cubicBezTo>
                  <a:pt x="25972" y="11981"/>
                  <a:pt x="26321" y="11981"/>
                  <a:pt x="26335" y="11981"/>
                </a:cubicBezTo>
                <a:cubicBezTo>
                  <a:pt x="26430" y="11981"/>
                  <a:pt x="26517" y="11983"/>
                  <a:pt x="26517" y="11983"/>
                </a:cubicBezTo>
                <a:cubicBezTo>
                  <a:pt x="26517" y="11982"/>
                  <a:pt x="26517" y="11982"/>
                  <a:pt x="26517" y="11982"/>
                </a:cubicBezTo>
                <a:cubicBezTo>
                  <a:pt x="26611" y="11982"/>
                  <a:pt x="26686" y="11907"/>
                  <a:pt x="26686" y="11814"/>
                </a:cubicBezTo>
                <a:cubicBezTo>
                  <a:pt x="26686" y="11811"/>
                  <a:pt x="26686" y="7150"/>
                  <a:pt x="26686" y="7111"/>
                </a:cubicBezTo>
                <a:close/>
                <a:moveTo>
                  <a:pt x="14175" y="1321"/>
                </a:moveTo>
                <a:cubicBezTo>
                  <a:pt x="14175" y="884"/>
                  <a:pt x="14175" y="884"/>
                  <a:pt x="14175" y="884"/>
                </a:cubicBezTo>
                <a:cubicBezTo>
                  <a:pt x="14175" y="608"/>
                  <a:pt x="14097" y="392"/>
                  <a:pt x="13940" y="235"/>
                </a:cubicBezTo>
                <a:cubicBezTo>
                  <a:pt x="13783" y="78"/>
                  <a:pt x="13567" y="0"/>
                  <a:pt x="13290" y="0"/>
                </a:cubicBezTo>
                <a:cubicBezTo>
                  <a:pt x="12741" y="0"/>
                  <a:pt x="12741" y="0"/>
                  <a:pt x="12741" y="0"/>
                </a:cubicBezTo>
                <a:cubicBezTo>
                  <a:pt x="12652" y="0"/>
                  <a:pt x="12607" y="52"/>
                  <a:pt x="12607" y="157"/>
                </a:cubicBezTo>
                <a:cubicBezTo>
                  <a:pt x="12607" y="1321"/>
                  <a:pt x="12607" y="1321"/>
                  <a:pt x="12607" y="1321"/>
                </a:cubicBezTo>
                <a:cubicBezTo>
                  <a:pt x="12607" y="1425"/>
                  <a:pt x="12652" y="1477"/>
                  <a:pt x="12741" y="1477"/>
                </a:cubicBezTo>
                <a:cubicBezTo>
                  <a:pt x="14041" y="1477"/>
                  <a:pt x="14041" y="1477"/>
                  <a:pt x="14041" y="1477"/>
                </a:cubicBezTo>
                <a:cubicBezTo>
                  <a:pt x="14131" y="1477"/>
                  <a:pt x="14175" y="1425"/>
                  <a:pt x="14175" y="1321"/>
                </a:cubicBezTo>
                <a:moveTo>
                  <a:pt x="14175" y="5578"/>
                </a:moveTo>
                <a:cubicBezTo>
                  <a:pt x="14175" y="2897"/>
                  <a:pt x="14175" y="2897"/>
                  <a:pt x="14175" y="2897"/>
                </a:cubicBezTo>
                <a:cubicBezTo>
                  <a:pt x="14174" y="2897"/>
                  <a:pt x="14174" y="2897"/>
                  <a:pt x="14174" y="2897"/>
                </a:cubicBezTo>
                <a:cubicBezTo>
                  <a:pt x="14172" y="2626"/>
                  <a:pt x="14094" y="2414"/>
                  <a:pt x="13940" y="2259"/>
                </a:cubicBezTo>
                <a:cubicBezTo>
                  <a:pt x="13783" y="2102"/>
                  <a:pt x="13567" y="2024"/>
                  <a:pt x="13290" y="2024"/>
                </a:cubicBezTo>
                <a:cubicBezTo>
                  <a:pt x="12764" y="2024"/>
                  <a:pt x="12764" y="2024"/>
                  <a:pt x="12764" y="2024"/>
                </a:cubicBezTo>
                <a:cubicBezTo>
                  <a:pt x="12660" y="2024"/>
                  <a:pt x="12607" y="2068"/>
                  <a:pt x="12607" y="2158"/>
                </a:cubicBezTo>
                <a:cubicBezTo>
                  <a:pt x="12607" y="2897"/>
                  <a:pt x="12607" y="2897"/>
                  <a:pt x="12607" y="2897"/>
                </a:cubicBezTo>
                <a:cubicBezTo>
                  <a:pt x="12607" y="4827"/>
                  <a:pt x="12607" y="4827"/>
                  <a:pt x="12607" y="4827"/>
                </a:cubicBezTo>
                <a:cubicBezTo>
                  <a:pt x="12607" y="5104"/>
                  <a:pt x="12686" y="5321"/>
                  <a:pt x="12842" y="5477"/>
                </a:cubicBezTo>
                <a:cubicBezTo>
                  <a:pt x="12999" y="5634"/>
                  <a:pt x="13216" y="5712"/>
                  <a:pt x="13492" y="5712"/>
                </a:cubicBezTo>
                <a:cubicBezTo>
                  <a:pt x="14018" y="5712"/>
                  <a:pt x="14018" y="5712"/>
                  <a:pt x="14018" y="5712"/>
                </a:cubicBezTo>
                <a:cubicBezTo>
                  <a:pt x="14123" y="5712"/>
                  <a:pt x="14175" y="5668"/>
                  <a:pt x="14175" y="5578"/>
                </a:cubicBezTo>
                <a:moveTo>
                  <a:pt x="17332" y="5621"/>
                </a:moveTo>
                <a:cubicBezTo>
                  <a:pt x="17332" y="4412"/>
                  <a:pt x="17332" y="4412"/>
                  <a:pt x="17332" y="4412"/>
                </a:cubicBezTo>
                <a:cubicBezTo>
                  <a:pt x="17332" y="4359"/>
                  <a:pt x="17321" y="4326"/>
                  <a:pt x="17298" y="4311"/>
                </a:cubicBezTo>
                <a:cubicBezTo>
                  <a:pt x="17276" y="4296"/>
                  <a:pt x="17235" y="4281"/>
                  <a:pt x="17175" y="4265"/>
                </a:cubicBezTo>
                <a:cubicBezTo>
                  <a:pt x="17063" y="4244"/>
                  <a:pt x="16957" y="4199"/>
                  <a:pt x="16856" y="4131"/>
                </a:cubicBezTo>
                <a:cubicBezTo>
                  <a:pt x="16755" y="4065"/>
                  <a:pt x="16666" y="3986"/>
                  <a:pt x="16587" y="3897"/>
                </a:cubicBezTo>
                <a:cubicBezTo>
                  <a:pt x="16509" y="3807"/>
                  <a:pt x="16445" y="3708"/>
                  <a:pt x="16397" y="3600"/>
                </a:cubicBezTo>
                <a:cubicBezTo>
                  <a:pt x="16348" y="3492"/>
                  <a:pt x="16324" y="3382"/>
                  <a:pt x="16324" y="3269"/>
                </a:cubicBezTo>
                <a:cubicBezTo>
                  <a:pt x="16324" y="885"/>
                  <a:pt x="16324" y="885"/>
                  <a:pt x="16324" y="885"/>
                </a:cubicBezTo>
                <a:cubicBezTo>
                  <a:pt x="16324" y="609"/>
                  <a:pt x="16246" y="392"/>
                  <a:pt x="16089" y="236"/>
                </a:cubicBezTo>
                <a:cubicBezTo>
                  <a:pt x="15932" y="78"/>
                  <a:pt x="15715" y="0"/>
                  <a:pt x="15440" y="0"/>
                </a:cubicBezTo>
                <a:cubicBezTo>
                  <a:pt x="14913" y="0"/>
                  <a:pt x="14913" y="0"/>
                  <a:pt x="14913" y="0"/>
                </a:cubicBezTo>
                <a:cubicBezTo>
                  <a:pt x="14808" y="0"/>
                  <a:pt x="14757" y="45"/>
                  <a:pt x="14757" y="135"/>
                </a:cubicBezTo>
                <a:cubicBezTo>
                  <a:pt x="14757" y="3314"/>
                  <a:pt x="14757" y="3314"/>
                  <a:pt x="14757" y="3314"/>
                </a:cubicBezTo>
                <a:cubicBezTo>
                  <a:pt x="14757" y="3642"/>
                  <a:pt x="14822" y="3949"/>
                  <a:pt x="14952" y="4233"/>
                </a:cubicBezTo>
                <a:cubicBezTo>
                  <a:pt x="15083" y="4516"/>
                  <a:pt x="15258" y="4768"/>
                  <a:pt x="15479" y="4989"/>
                </a:cubicBezTo>
                <a:cubicBezTo>
                  <a:pt x="15698" y="5208"/>
                  <a:pt x="15955" y="5386"/>
                  <a:pt x="16246" y="5520"/>
                </a:cubicBezTo>
                <a:cubicBezTo>
                  <a:pt x="16537" y="5655"/>
                  <a:pt x="16847" y="5737"/>
                  <a:pt x="17175" y="5766"/>
                </a:cubicBezTo>
                <a:cubicBezTo>
                  <a:pt x="17280" y="5774"/>
                  <a:pt x="17332" y="5726"/>
                  <a:pt x="17332" y="5621"/>
                </a:cubicBezTo>
                <a:moveTo>
                  <a:pt x="26793" y="2823"/>
                </a:moveTo>
                <a:cubicBezTo>
                  <a:pt x="26793" y="3018"/>
                  <a:pt x="26716" y="3172"/>
                  <a:pt x="26563" y="3287"/>
                </a:cubicBezTo>
                <a:cubicBezTo>
                  <a:pt x="26410" y="3404"/>
                  <a:pt x="26206" y="3462"/>
                  <a:pt x="25953" y="3462"/>
                </a:cubicBezTo>
                <a:cubicBezTo>
                  <a:pt x="25736" y="3462"/>
                  <a:pt x="25525" y="3420"/>
                  <a:pt x="25320" y="3338"/>
                </a:cubicBezTo>
                <a:cubicBezTo>
                  <a:pt x="25114" y="3256"/>
                  <a:pt x="24928" y="3152"/>
                  <a:pt x="24760" y="3025"/>
                </a:cubicBezTo>
                <a:cubicBezTo>
                  <a:pt x="24592" y="2898"/>
                  <a:pt x="24458" y="2752"/>
                  <a:pt x="24357" y="2588"/>
                </a:cubicBezTo>
                <a:cubicBezTo>
                  <a:pt x="24256" y="2423"/>
                  <a:pt x="24206" y="2264"/>
                  <a:pt x="24206" y="2106"/>
                </a:cubicBezTo>
                <a:cubicBezTo>
                  <a:pt x="24206" y="1890"/>
                  <a:pt x="24292" y="1730"/>
                  <a:pt x="24463" y="1625"/>
                </a:cubicBezTo>
                <a:cubicBezTo>
                  <a:pt x="24635" y="1520"/>
                  <a:pt x="24829" y="1468"/>
                  <a:pt x="25046" y="1468"/>
                </a:cubicBezTo>
                <a:cubicBezTo>
                  <a:pt x="25262" y="1468"/>
                  <a:pt x="25475" y="1510"/>
                  <a:pt x="25684" y="1591"/>
                </a:cubicBezTo>
                <a:cubicBezTo>
                  <a:pt x="25893" y="1674"/>
                  <a:pt x="26079" y="1780"/>
                  <a:pt x="26244" y="1910"/>
                </a:cubicBezTo>
                <a:cubicBezTo>
                  <a:pt x="26408" y="2041"/>
                  <a:pt x="26541" y="2187"/>
                  <a:pt x="26642" y="2347"/>
                </a:cubicBezTo>
                <a:cubicBezTo>
                  <a:pt x="26742" y="2508"/>
                  <a:pt x="26793" y="2666"/>
                  <a:pt x="26793" y="2823"/>
                </a:cubicBezTo>
                <a:moveTo>
                  <a:pt x="28231" y="3691"/>
                </a:moveTo>
                <a:cubicBezTo>
                  <a:pt x="28347" y="3434"/>
                  <a:pt x="28405" y="3148"/>
                  <a:pt x="28405" y="2834"/>
                </a:cubicBezTo>
                <a:cubicBezTo>
                  <a:pt x="28405" y="2453"/>
                  <a:pt x="28313" y="2094"/>
                  <a:pt x="28131" y="1754"/>
                </a:cubicBezTo>
                <a:cubicBezTo>
                  <a:pt x="27948" y="1414"/>
                  <a:pt x="27701" y="1113"/>
                  <a:pt x="27391" y="853"/>
                </a:cubicBezTo>
                <a:cubicBezTo>
                  <a:pt x="27081" y="591"/>
                  <a:pt x="26727" y="384"/>
                  <a:pt x="26328" y="231"/>
                </a:cubicBezTo>
                <a:cubicBezTo>
                  <a:pt x="25929" y="78"/>
                  <a:pt x="25516" y="1"/>
                  <a:pt x="25090" y="1"/>
                </a:cubicBezTo>
                <a:cubicBezTo>
                  <a:pt x="22772" y="1"/>
                  <a:pt x="22772" y="1"/>
                  <a:pt x="22772" y="1"/>
                </a:cubicBezTo>
                <a:cubicBezTo>
                  <a:pt x="22683" y="1"/>
                  <a:pt x="22638" y="46"/>
                  <a:pt x="22638" y="136"/>
                </a:cubicBezTo>
                <a:cubicBezTo>
                  <a:pt x="22638" y="4827"/>
                  <a:pt x="22638" y="4827"/>
                  <a:pt x="22638" y="4827"/>
                </a:cubicBezTo>
                <a:cubicBezTo>
                  <a:pt x="22638" y="5104"/>
                  <a:pt x="22717" y="5321"/>
                  <a:pt x="22873" y="5477"/>
                </a:cubicBezTo>
                <a:cubicBezTo>
                  <a:pt x="23030" y="5634"/>
                  <a:pt x="23247" y="5712"/>
                  <a:pt x="23523" y="5712"/>
                </a:cubicBezTo>
                <a:cubicBezTo>
                  <a:pt x="24072" y="5712"/>
                  <a:pt x="24072" y="5712"/>
                  <a:pt x="24072" y="5712"/>
                </a:cubicBezTo>
                <a:cubicBezTo>
                  <a:pt x="24161" y="5712"/>
                  <a:pt x="24206" y="5660"/>
                  <a:pt x="24206" y="5555"/>
                </a:cubicBezTo>
                <a:cubicBezTo>
                  <a:pt x="24206" y="4279"/>
                  <a:pt x="24206" y="4279"/>
                  <a:pt x="24206" y="4279"/>
                </a:cubicBezTo>
                <a:cubicBezTo>
                  <a:pt x="24467" y="4488"/>
                  <a:pt x="24749" y="4648"/>
                  <a:pt x="25051" y="4760"/>
                </a:cubicBezTo>
                <a:cubicBezTo>
                  <a:pt x="25353" y="4873"/>
                  <a:pt x="25673" y="4928"/>
                  <a:pt x="26009" y="4928"/>
                </a:cubicBezTo>
                <a:cubicBezTo>
                  <a:pt x="26368" y="4928"/>
                  <a:pt x="26693" y="4878"/>
                  <a:pt x="26989" y="4777"/>
                </a:cubicBezTo>
                <a:cubicBezTo>
                  <a:pt x="27283" y="4677"/>
                  <a:pt x="27535" y="4535"/>
                  <a:pt x="27745" y="4351"/>
                </a:cubicBezTo>
                <a:cubicBezTo>
                  <a:pt x="27953" y="4168"/>
                  <a:pt x="28115" y="3949"/>
                  <a:pt x="28231" y="3691"/>
                </a:cubicBezTo>
                <a:moveTo>
                  <a:pt x="27098" y="9798"/>
                </a:moveTo>
                <a:cubicBezTo>
                  <a:pt x="27098" y="10195"/>
                  <a:pt x="27197" y="10530"/>
                  <a:pt x="27395" y="10806"/>
                </a:cubicBezTo>
                <a:cubicBezTo>
                  <a:pt x="27592" y="11083"/>
                  <a:pt x="27849" y="11309"/>
                  <a:pt x="28162" y="11484"/>
                </a:cubicBezTo>
                <a:cubicBezTo>
                  <a:pt x="28475" y="11659"/>
                  <a:pt x="28821" y="11786"/>
                  <a:pt x="29198" y="11865"/>
                </a:cubicBezTo>
                <a:cubicBezTo>
                  <a:pt x="29575" y="11943"/>
                  <a:pt x="29943" y="11983"/>
                  <a:pt x="30300" y="11983"/>
                </a:cubicBezTo>
                <a:cubicBezTo>
                  <a:pt x="32731" y="11983"/>
                  <a:pt x="32731" y="11983"/>
                  <a:pt x="32731" y="11983"/>
                </a:cubicBezTo>
                <a:cubicBezTo>
                  <a:pt x="32819" y="11983"/>
                  <a:pt x="32865" y="11930"/>
                  <a:pt x="32865" y="11825"/>
                </a:cubicBezTo>
                <a:cubicBezTo>
                  <a:pt x="32865" y="9575"/>
                  <a:pt x="32865" y="9575"/>
                  <a:pt x="32865" y="9575"/>
                </a:cubicBezTo>
                <a:cubicBezTo>
                  <a:pt x="32865" y="9119"/>
                  <a:pt x="32790" y="8690"/>
                  <a:pt x="32640" y="8287"/>
                </a:cubicBezTo>
                <a:cubicBezTo>
                  <a:pt x="32491" y="7884"/>
                  <a:pt x="32277" y="7534"/>
                  <a:pt x="31997" y="7234"/>
                </a:cubicBezTo>
                <a:cubicBezTo>
                  <a:pt x="31717" y="6936"/>
                  <a:pt x="31377" y="6701"/>
                  <a:pt x="30978" y="6529"/>
                </a:cubicBezTo>
                <a:cubicBezTo>
                  <a:pt x="30578" y="6357"/>
                  <a:pt x="30125" y="6271"/>
                  <a:pt x="29617" y="6271"/>
                </a:cubicBezTo>
                <a:cubicBezTo>
                  <a:pt x="27423" y="6271"/>
                  <a:pt x="27423" y="6271"/>
                  <a:pt x="27423" y="6271"/>
                </a:cubicBezTo>
                <a:cubicBezTo>
                  <a:pt x="27318" y="6271"/>
                  <a:pt x="27266" y="6316"/>
                  <a:pt x="27266" y="6405"/>
                </a:cubicBezTo>
                <a:cubicBezTo>
                  <a:pt x="27266" y="6865"/>
                  <a:pt x="27266" y="6865"/>
                  <a:pt x="27266" y="6865"/>
                </a:cubicBezTo>
                <a:cubicBezTo>
                  <a:pt x="27266" y="7141"/>
                  <a:pt x="27344" y="7358"/>
                  <a:pt x="27502" y="7515"/>
                </a:cubicBezTo>
                <a:cubicBezTo>
                  <a:pt x="27658" y="7671"/>
                  <a:pt x="27874" y="7750"/>
                  <a:pt x="28150" y="7750"/>
                </a:cubicBezTo>
                <a:cubicBezTo>
                  <a:pt x="29673" y="7750"/>
                  <a:pt x="29673" y="7750"/>
                  <a:pt x="29673" y="7750"/>
                </a:cubicBezTo>
                <a:cubicBezTo>
                  <a:pt x="29934" y="7750"/>
                  <a:pt x="30171" y="7805"/>
                  <a:pt x="30384" y="7917"/>
                </a:cubicBezTo>
                <a:cubicBezTo>
                  <a:pt x="30597" y="8030"/>
                  <a:pt x="30767" y="8175"/>
                  <a:pt x="30893" y="8354"/>
                </a:cubicBezTo>
                <a:cubicBezTo>
                  <a:pt x="29438" y="8354"/>
                  <a:pt x="29438" y="8354"/>
                  <a:pt x="29438" y="8354"/>
                </a:cubicBezTo>
                <a:cubicBezTo>
                  <a:pt x="28684" y="8354"/>
                  <a:pt x="28106" y="8478"/>
                  <a:pt x="27702" y="8724"/>
                </a:cubicBezTo>
                <a:cubicBezTo>
                  <a:pt x="27299" y="8970"/>
                  <a:pt x="27098" y="9328"/>
                  <a:pt x="27098" y="9798"/>
                </a:cubicBezTo>
                <a:moveTo>
                  <a:pt x="28822" y="10142"/>
                </a:moveTo>
                <a:cubicBezTo>
                  <a:pt x="28822" y="10031"/>
                  <a:pt x="28882" y="9953"/>
                  <a:pt x="29001" y="9908"/>
                </a:cubicBezTo>
                <a:cubicBezTo>
                  <a:pt x="29121" y="9863"/>
                  <a:pt x="29307" y="9840"/>
                  <a:pt x="29561" y="9840"/>
                </a:cubicBezTo>
                <a:cubicBezTo>
                  <a:pt x="31297" y="9840"/>
                  <a:pt x="31297" y="9840"/>
                  <a:pt x="31297" y="9840"/>
                </a:cubicBezTo>
                <a:cubicBezTo>
                  <a:pt x="31281" y="10131"/>
                  <a:pt x="31157" y="10342"/>
                  <a:pt x="30922" y="10473"/>
                </a:cubicBezTo>
                <a:cubicBezTo>
                  <a:pt x="30686" y="10604"/>
                  <a:pt x="30413" y="10669"/>
                  <a:pt x="30099" y="10669"/>
                </a:cubicBezTo>
                <a:cubicBezTo>
                  <a:pt x="29718" y="10669"/>
                  <a:pt x="29410" y="10619"/>
                  <a:pt x="29175" y="10517"/>
                </a:cubicBezTo>
                <a:cubicBezTo>
                  <a:pt x="28940" y="10417"/>
                  <a:pt x="28822" y="10292"/>
                  <a:pt x="28822" y="10142"/>
                </a:cubicBezTo>
                <a:moveTo>
                  <a:pt x="14199" y="11848"/>
                </a:moveTo>
                <a:cubicBezTo>
                  <a:pt x="14199" y="9451"/>
                  <a:pt x="14199" y="9451"/>
                  <a:pt x="14199" y="9451"/>
                </a:cubicBezTo>
                <a:cubicBezTo>
                  <a:pt x="14199" y="9175"/>
                  <a:pt x="14120" y="8959"/>
                  <a:pt x="13964" y="8802"/>
                </a:cubicBezTo>
                <a:cubicBezTo>
                  <a:pt x="13806" y="8646"/>
                  <a:pt x="13590" y="8567"/>
                  <a:pt x="13314" y="8567"/>
                </a:cubicBezTo>
                <a:cubicBezTo>
                  <a:pt x="10728" y="8567"/>
                  <a:pt x="10728" y="8567"/>
                  <a:pt x="10728" y="8567"/>
                </a:cubicBezTo>
                <a:cubicBezTo>
                  <a:pt x="10623" y="8567"/>
                  <a:pt x="10571" y="8612"/>
                  <a:pt x="10571" y="8701"/>
                </a:cubicBezTo>
                <a:cubicBezTo>
                  <a:pt x="10571" y="8880"/>
                  <a:pt x="10606" y="9043"/>
                  <a:pt x="10677" y="9188"/>
                </a:cubicBezTo>
                <a:cubicBezTo>
                  <a:pt x="10748" y="9333"/>
                  <a:pt x="10841" y="9459"/>
                  <a:pt x="10957" y="9563"/>
                </a:cubicBezTo>
                <a:cubicBezTo>
                  <a:pt x="11073" y="9669"/>
                  <a:pt x="11203" y="9748"/>
                  <a:pt x="11349" y="9804"/>
                </a:cubicBezTo>
                <a:cubicBezTo>
                  <a:pt x="11494" y="9860"/>
                  <a:pt x="11642" y="9889"/>
                  <a:pt x="11791" y="9889"/>
                </a:cubicBezTo>
                <a:cubicBezTo>
                  <a:pt x="12687" y="9889"/>
                  <a:pt x="12687" y="9889"/>
                  <a:pt x="12687" y="9889"/>
                </a:cubicBezTo>
                <a:cubicBezTo>
                  <a:pt x="12687" y="10504"/>
                  <a:pt x="12687" y="10504"/>
                  <a:pt x="12687" y="10504"/>
                </a:cubicBezTo>
                <a:cubicBezTo>
                  <a:pt x="11747" y="10504"/>
                  <a:pt x="11747" y="10504"/>
                  <a:pt x="11747" y="10504"/>
                </a:cubicBezTo>
                <a:cubicBezTo>
                  <a:pt x="11508" y="10504"/>
                  <a:pt x="11279" y="10450"/>
                  <a:pt x="11063" y="10342"/>
                </a:cubicBezTo>
                <a:cubicBezTo>
                  <a:pt x="10847" y="10234"/>
                  <a:pt x="10654" y="10089"/>
                  <a:pt x="10486" y="9910"/>
                </a:cubicBezTo>
                <a:cubicBezTo>
                  <a:pt x="10319" y="9731"/>
                  <a:pt x="10186" y="9530"/>
                  <a:pt x="10089" y="9306"/>
                </a:cubicBezTo>
                <a:cubicBezTo>
                  <a:pt x="9992" y="9083"/>
                  <a:pt x="9944" y="8855"/>
                  <a:pt x="9944" y="8623"/>
                </a:cubicBezTo>
                <a:cubicBezTo>
                  <a:pt x="9944" y="8340"/>
                  <a:pt x="10033" y="8123"/>
                  <a:pt x="10212" y="7974"/>
                </a:cubicBezTo>
                <a:cubicBezTo>
                  <a:pt x="10392" y="7824"/>
                  <a:pt x="10616" y="7750"/>
                  <a:pt x="10884" y="7750"/>
                </a:cubicBezTo>
                <a:cubicBezTo>
                  <a:pt x="13930" y="7750"/>
                  <a:pt x="13930" y="7750"/>
                  <a:pt x="13930" y="7750"/>
                </a:cubicBezTo>
                <a:cubicBezTo>
                  <a:pt x="14034" y="7750"/>
                  <a:pt x="14087" y="7704"/>
                  <a:pt x="14087" y="7615"/>
                </a:cubicBezTo>
                <a:cubicBezTo>
                  <a:pt x="14087" y="7156"/>
                  <a:pt x="14087" y="7156"/>
                  <a:pt x="14087" y="7156"/>
                </a:cubicBezTo>
                <a:cubicBezTo>
                  <a:pt x="14087" y="6879"/>
                  <a:pt x="14008" y="6663"/>
                  <a:pt x="13852" y="6507"/>
                </a:cubicBezTo>
                <a:cubicBezTo>
                  <a:pt x="13695" y="6350"/>
                  <a:pt x="13479" y="6271"/>
                  <a:pt x="13202" y="6271"/>
                </a:cubicBezTo>
                <a:cubicBezTo>
                  <a:pt x="10896" y="6271"/>
                  <a:pt x="10896" y="6271"/>
                  <a:pt x="10896" y="6271"/>
                </a:cubicBezTo>
                <a:cubicBezTo>
                  <a:pt x="10530" y="6271"/>
                  <a:pt x="10194" y="6329"/>
                  <a:pt x="9887" y="6445"/>
                </a:cubicBezTo>
                <a:cubicBezTo>
                  <a:pt x="9581" y="6561"/>
                  <a:pt x="9317" y="6723"/>
                  <a:pt x="9092" y="6932"/>
                </a:cubicBezTo>
                <a:cubicBezTo>
                  <a:pt x="8869" y="7141"/>
                  <a:pt x="8693" y="7393"/>
                  <a:pt x="8566" y="7688"/>
                </a:cubicBezTo>
                <a:cubicBezTo>
                  <a:pt x="8439" y="7983"/>
                  <a:pt x="8376" y="8313"/>
                  <a:pt x="8376" y="8679"/>
                </a:cubicBezTo>
                <a:cubicBezTo>
                  <a:pt x="8376" y="9135"/>
                  <a:pt x="8466" y="9563"/>
                  <a:pt x="8645" y="9966"/>
                </a:cubicBezTo>
                <a:cubicBezTo>
                  <a:pt x="8824" y="10370"/>
                  <a:pt x="9068" y="10721"/>
                  <a:pt x="9378" y="11018"/>
                </a:cubicBezTo>
                <a:cubicBezTo>
                  <a:pt x="9688" y="11318"/>
                  <a:pt x="10046" y="11553"/>
                  <a:pt x="10453" y="11725"/>
                </a:cubicBezTo>
                <a:cubicBezTo>
                  <a:pt x="10860" y="11896"/>
                  <a:pt x="11287" y="11983"/>
                  <a:pt x="11735" y="11983"/>
                </a:cubicBezTo>
                <a:cubicBezTo>
                  <a:pt x="14042" y="11983"/>
                  <a:pt x="14042" y="11983"/>
                  <a:pt x="14042" y="11983"/>
                </a:cubicBezTo>
                <a:cubicBezTo>
                  <a:pt x="14147" y="11983"/>
                  <a:pt x="14199" y="11937"/>
                  <a:pt x="14199" y="11848"/>
                </a:cubicBezTo>
                <a:moveTo>
                  <a:pt x="20010" y="5621"/>
                </a:moveTo>
                <a:cubicBezTo>
                  <a:pt x="20010" y="4412"/>
                  <a:pt x="20010" y="4412"/>
                  <a:pt x="20010" y="4412"/>
                </a:cubicBezTo>
                <a:cubicBezTo>
                  <a:pt x="20010" y="4359"/>
                  <a:pt x="19999" y="4326"/>
                  <a:pt x="19976" y="4311"/>
                </a:cubicBezTo>
                <a:cubicBezTo>
                  <a:pt x="19954" y="4296"/>
                  <a:pt x="19913" y="4281"/>
                  <a:pt x="19853" y="4265"/>
                </a:cubicBezTo>
                <a:cubicBezTo>
                  <a:pt x="19741" y="4244"/>
                  <a:pt x="19635" y="4199"/>
                  <a:pt x="19534" y="4131"/>
                </a:cubicBezTo>
                <a:cubicBezTo>
                  <a:pt x="19433" y="4065"/>
                  <a:pt x="19344" y="3986"/>
                  <a:pt x="19265" y="3897"/>
                </a:cubicBezTo>
                <a:cubicBezTo>
                  <a:pt x="19187" y="3807"/>
                  <a:pt x="19123" y="3708"/>
                  <a:pt x="19075" y="3600"/>
                </a:cubicBezTo>
                <a:cubicBezTo>
                  <a:pt x="19026" y="3492"/>
                  <a:pt x="19002" y="3382"/>
                  <a:pt x="19002" y="3269"/>
                </a:cubicBezTo>
                <a:cubicBezTo>
                  <a:pt x="19002" y="885"/>
                  <a:pt x="19002" y="885"/>
                  <a:pt x="19002" y="885"/>
                </a:cubicBezTo>
                <a:cubicBezTo>
                  <a:pt x="19002" y="609"/>
                  <a:pt x="18923" y="392"/>
                  <a:pt x="18767" y="236"/>
                </a:cubicBezTo>
                <a:cubicBezTo>
                  <a:pt x="18610" y="78"/>
                  <a:pt x="18393" y="0"/>
                  <a:pt x="18117" y="0"/>
                </a:cubicBezTo>
                <a:cubicBezTo>
                  <a:pt x="17591" y="0"/>
                  <a:pt x="17591" y="0"/>
                  <a:pt x="17591" y="0"/>
                </a:cubicBezTo>
                <a:cubicBezTo>
                  <a:pt x="17486" y="0"/>
                  <a:pt x="17435" y="45"/>
                  <a:pt x="17435" y="135"/>
                </a:cubicBezTo>
                <a:cubicBezTo>
                  <a:pt x="17435" y="3314"/>
                  <a:pt x="17435" y="3314"/>
                  <a:pt x="17435" y="3314"/>
                </a:cubicBezTo>
                <a:cubicBezTo>
                  <a:pt x="17435" y="3642"/>
                  <a:pt x="17500" y="3949"/>
                  <a:pt x="17630" y="4233"/>
                </a:cubicBezTo>
                <a:cubicBezTo>
                  <a:pt x="17761" y="4516"/>
                  <a:pt x="17936" y="4768"/>
                  <a:pt x="18157" y="4989"/>
                </a:cubicBezTo>
                <a:cubicBezTo>
                  <a:pt x="18376" y="5208"/>
                  <a:pt x="18633" y="5386"/>
                  <a:pt x="18923" y="5520"/>
                </a:cubicBezTo>
                <a:cubicBezTo>
                  <a:pt x="19215" y="5655"/>
                  <a:pt x="19525" y="5737"/>
                  <a:pt x="19853" y="5766"/>
                </a:cubicBezTo>
                <a:cubicBezTo>
                  <a:pt x="19958" y="5774"/>
                  <a:pt x="20010" y="5726"/>
                  <a:pt x="20010" y="5621"/>
                </a:cubicBezTo>
                <a:moveTo>
                  <a:pt x="22053" y="1321"/>
                </a:moveTo>
                <a:cubicBezTo>
                  <a:pt x="22053" y="884"/>
                  <a:pt x="22053" y="884"/>
                  <a:pt x="22053" y="884"/>
                </a:cubicBezTo>
                <a:cubicBezTo>
                  <a:pt x="22053" y="608"/>
                  <a:pt x="21975" y="392"/>
                  <a:pt x="21818" y="235"/>
                </a:cubicBezTo>
                <a:cubicBezTo>
                  <a:pt x="21661" y="78"/>
                  <a:pt x="21445" y="0"/>
                  <a:pt x="21169" y="0"/>
                </a:cubicBezTo>
                <a:cubicBezTo>
                  <a:pt x="20620" y="0"/>
                  <a:pt x="20620" y="0"/>
                  <a:pt x="20620" y="0"/>
                </a:cubicBezTo>
                <a:cubicBezTo>
                  <a:pt x="20530" y="0"/>
                  <a:pt x="20485" y="52"/>
                  <a:pt x="20485" y="157"/>
                </a:cubicBezTo>
                <a:cubicBezTo>
                  <a:pt x="20485" y="1321"/>
                  <a:pt x="20485" y="1321"/>
                  <a:pt x="20485" y="1321"/>
                </a:cubicBezTo>
                <a:cubicBezTo>
                  <a:pt x="20485" y="1425"/>
                  <a:pt x="20530" y="1477"/>
                  <a:pt x="20620" y="1477"/>
                </a:cubicBezTo>
                <a:cubicBezTo>
                  <a:pt x="21919" y="1477"/>
                  <a:pt x="21919" y="1477"/>
                  <a:pt x="21919" y="1477"/>
                </a:cubicBezTo>
                <a:cubicBezTo>
                  <a:pt x="22009" y="1477"/>
                  <a:pt x="22053" y="1425"/>
                  <a:pt x="22053" y="1321"/>
                </a:cubicBezTo>
                <a:moveTo>
                  <a:pt x="22053" y="5578"/>
                </a:moveTo>
                <a:cubicBezTo>
                  <a:pt x="22053" y="2897"/>
                  <a:pt x="22053" y="2897"/>
                  <a:pt x="22053" y="2897"/>
                </a:cubicBezTo>
                <a:cubicBezTo>
                  <a:pt x="22053" y="2897"/>
                  <a:pt x="22053" y="2897"/>
                  <a:pt x="22053" y="2897"/>
                </a:cubicBezTo>
                <a:cubicBezTo>
                  <a:pt x="22051" y="2626"/>
                  <a:pt x="21973" y="2414"/>
                  <a:pt x="21818" y="2259"/>
                </a:cubicBezTo>
                <a:cubicBezTo>
                  <a:pt x="21661" y="2102"/>
                  <a:pt x="21445" y="2024"/>
                  <a:pt x="21169" y="2024"/>
                </a:cubicBezTo>
                <a:cubicBezTo>
                  <a:pt x="20643" y="2024"/>
                  <a:pt x="20643" y="2024"/>
                  <a:pt x="20643" y="2024"/>
                </a:cubicBezTo>
                <a:cubicBezTo>
                  <a:pt x="20538" y="2024"/>
                  <a:pt x="20485" y="2068"/>
                  <a:pt x="20485" y="2158"/>
                </a:cubicBezTo>
                <a:cubicBezTo>
                  <a:pt x="20485" y="2897"/>
                  <a:pt x="20485" y="2897"/>
                  <a:pt x="20485" y="2897"/>
                </a:cubicBezTo>
                <a:cubicBezTo>
                  <a:pt x="20485" y="4827"/>
                  <a:pt x="20485" y="4827"/>
                  <a:pt x="20485" y="4827"/>
                </a:cubicBezTo>
                <a:cubicBezTo>
                  <a:pt x="20485" y="5104"/>
                  <a:pt x="20564" y="5321"/>
                  <a:pt x="20721" y="5477"/>
                </a:cubicBezTo>
                <a:cubicBezTo>
                  <a:pt x="20877" y="5634"/>
                  <a:pt x="21094" y="5712"/>
                  <a:pt x="21370" y="5712"/>
                </a:cubicBezTo>
                <a:cubicBezTo>
                  <a:pt x="21896" y="5712"/>
                  <a:pt x="21896" y="5712"/>
                  <a:pt x="21896" y="5712"/>
                </a:cubicBezTo>
                <a:cubicBezTo>
                  <a:pt x="22001" y="5712"/>
                  <a:pt x="22053" y="5668"/>
                  <a:pt x="22053" y="5578"/>
                </a:cubicBezTo>
                <a:moveTo>
                  <a:pt x="7850" y="7592"/>
                </a:moveTo>
                <a:cubicBezTo>
                  <a:pt x="7850" y="7155"/>
                  <a:pt x="7850" y="7155"/>
                  <a:pt x="7850" y="7155"/>
                </a:cubicBezTo>
                <a:cubicBezTo>
                  <a:pt x="7850" y="6879"/>
                  <a:pt x="7772" y="6663"/>
                  <a:pt x="7615" y="6505"/>
                </a:cubicBezTo>
                <a:cubicBezTo>
                  <a:pt x="7458" y="6349"/>
                  <a:pt x="7242" y="6271"/>
                  <a:pt x="6966" y="6271"/>
                </a:cubicBezTo>
                <a:cubicBezTo>
                  <a:pt x="6417" y="6271"/>
                  <a:pt x="6417" y="6271"/>
                  <a:pt x="6417" y="6271"/>
                </a:cubicBezTo>
                <a:cubicBezTo>
                  <a:pt x="6328" y="6271"/>
                  <a:pt x="6283" y="6323"/>
                  <a:pt x="6283" y="6427"/>
                </a:cubicBezTo>
                <a:cubicBezTo>
                  <a:pt x="6283" y="7592"/>
                  <a:pt x="6283" y="7592"/>
                  <a:pt x="6283" y="7592"/>
                </a:cubicBezTo>
                <a:cubicBezTo>
                  <a:pt x="6283" y="7696"/>
                  <a:pt x="6328" y="7748"/>
                  <a:pt x="6417" y="7748"/>
                </a:cubicBezTo>
                <a:cubicBezTo>
                  <a:pt x="7716" y="7748"/>
                  <a:pt x="7716" y="7748"/>
                  <a:pt x="7716" y="7748"/>
                </a:cubicBezTo>
                <a:cubicBezTo>
                  <a:pt x="7806" y="7748"/>
                  <a:pt x="7850" y="7696"/>
                  <a:pt x="7850" y="7592"/>
                </a:cubicBezTo>
                <a:moveTo>
                  <a:pt x="7850" y="11848"/>
                </a:moveTo>
                <a:cubicBezTo>
                  <a:pt x="7850" y="9168"/>
                  <a:pt x="7850" y="9168"/>
                  <a:pt x="7850" y="9168"/>
                </a:cubicBezTo>
                <a:cubicBezTo>
                  <a:pt x="7850" y="9168"/>
                  <a:pt x="7850" y="9168"/>
                  <a:pt x="7850" y="9168"/>
                </a:cubicBezTo>
                <a:cubicBezTo>
                  <a:pt x="7848" y="8897"/>
                  <a:pt x="7770" y="8684"/>
                  <a:pt x="7615" y="8530"/>
                </a:cubicBezTo>
                <a:cubicBezTo>
                  <a:pt x="7458" y="8373"/>
                  <a:pt x="7242" y="8294"/>
                  <a:pt x="6966" y="8294"/>
                </a:cubicBezTo>
                <a:cubicBezTo>
                  <a:pt x="6440" y="8294"/>
                  <a:pt x="6440" y="8294"/>
                  <a:pt x="6440" y="8294"/>
                </a:cubicBezTo>
                <a:cubicBezTo>
                  <a:pt x="6335" y="8294"/>
                  <a:pt x="6283" y="8339"/>
                  <a:pt x="6283" y="8429"/>
                </a:cubicBezTo>
                <a:cubicBezTo>
                  <a:pt x="6283" y="9168"/>
                  <a:pt x="6283" y="9168"/>
                  <a:pt x="6283" y="9168"/>
                </a:cubicBezTo>
                <a:cubicBezTo>
                  <a:pt x="6283" y="11098"/>
                  <a:pt x="6283" y="11098"/>
                  <a:pt x="6283" y="11098"/>
                </a:cubicBezTo>
                <a:cubicBezTo>
                  <a:pt x="6283" y="11374"/>
                  <a:pt x="6361" y="11591"/>
                  <a:pt x="6518" y="11748"/>
                </a:cubicBezTo>
                <a:cubicBezTo>
                  <a:pt x="6674" y="11905"/>
                  <a:pt x="6891" y="11983"/>
                  <a:pt x="7167" y="11983"/>
                </a:cubicBezTo>
                <a:cubicBezTo>
                  <a:pt x="7693" y="11983"/>
                  <a:pt x="7693" y="11983"/>
                  <a:pt x="7693" y="11983"/>
                </a:cubicBezTo>
                <a:cubicBezTo>
                  <a:pt x="7798" y="11983"/>
                  <a:pt x="7850" y="11938"/>
                  <a:pt x="7850" y="11848"/>
                </a:cubicBezTo>
              </a:path>
            </a:pathLst>
          </a:custGeom>
          <a:solidFill>
            <a:srgbClr val="EB3C96"/>
          </a:solidFill>
          <a:ln>
            <a:noFill/>
          </a:ln>
        </p:spPr>
        <p:txBody>
          <a:bodyPr vert="horz" wrap="square" lIns="68580" tIns="34290" rIns="68580" bIns="34290" numCol="1" anchor="t" anchorCtr="0" compatLnSpc="1">
            <a:prstTxWarp prst="textNoShape">
              <a:avLst/>
            </a:prstTxWarp>
          </a:bodyPr>
          <a:lstStyle/>
          <a:p>
            <a:endParaRPr lang="de-DE" sz="1350"/>
          </a:p>
        </p:txBody>
      </p:sp>
    </p:spTree>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Organic">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954"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4" name="Rectangle 13"/>
          <p:cNvSpPr/>
          <p:nvPr userDrawn="1"/>
        </p:nvSpPr>
        <p:spPr bwMode="gray">
          <a:xfrm>
            <a:off x="1" y="1"/>
            <a:ext cx="12192000" cy="6858000"/>
          </a:xfrm>
          <a:prstGeom prst="rect">
            <a:avLst/>
          </a:prstGeom>
          <a:solidFill>
            <a:schemeClr val="bg2"/>
          </a:solidFill>
          <a:ln w="9525" cap="flat" cmpd="sng" algn="ctr">
            <a:noFill/>
            <a:prstDash val="solid"/>
          </a:ln>
          <a:effectLst/>
        </p:spPr>
        <p:txBody>
          <a:bodyPr rtlCol="0" anchor="ctr" anchorCtr="0"/>
          <a:lstStyle/>
          <a:p>
            <a:pPr marL="0" indent="0" algn="ctr">
              <a:spcBef>
                <a:spcPts val="225"/>
              </a:spcBef>
              <a:spcAft>
                <a:spcPts val="225"/>
              </a:spcAft>
              <a:buClr>
                <a:schemeClr val="bg1"/>
              </a:buClr>
              <a:buSzPct val="100000"/>
              <a:buFont typeface="Arial" panose="020B0604020202020204" pitchFamily="34" charset="0"/>
              <a:buNone/>
            </a:pPr>
            <a:endParaRPr lang="en-US" sz="1050" kern="0">
              <a:solidFill>
                <a:srgbClr val="FFFFFF"/>
              </a:solidFill>
              <a:latin typeface="Verdana"/>
            </a:endParaRPr>
          </a:p>
        </p:txBody>
      </p:sp>
      <p:sp>
        <p:nvSpPr>
          <p:cNvPr id="16" name="Freeform 15"/>
          <p:cNvSpPr/>
          <p:nvPr userDrawn="1"/>
        </p:nvSpPr>
        <p:spPr bwMode="gray">
          <a:xfrm>
            <a:off x="0" y="0"/>
            <a:ext cx="12192000" cy="6858000"/>
          </a:xfrm>
          <a:custGeom>
            <a:avLst/>
            <a:gdLst>
              <a:gd name="connsiteX0" fmla="*/ 3028369 w 12192000"/>
              <a:gd name="connsiteY0" fmla="*/ 0 h 6858000"/>
              <a:gd name="connsiteX1" fmla="*/ 6019945 w 12192000"/>
              <a:gd name="connsiteY1" fmla="*/ 0 h 6858000"/>
              <a:gd name="connsiteX2" fmla="*/ 6010517 w 12192000"/>
              <a:gd name="connsiteY2" fmla="*/ 24413 h 6858000"/>
              <a:gd name="connsiteX3" fmla="*/ 5988728 w 12192000"/>
              <a:gd name="connsiteY3" fmla="*/ 542902 h 6858000"/>
              <a:gd name="connsiteX4" fmla="*/ 8283293 w 12192000"/>
              <a:gd name="connsiteY4" fmla="*/ 2994229 h 6858000"/>
              <a:gd name="connsiteX5" fmla="*/ 11934313 w 12192000"/>
              <a:gd name="connsiteY5" fmla="*/ 4275389 h 6858000"/>
              <a:gd name="connsiteX6" fmla="*/ 12139920 w 12192000"/>
              <a:gd name="connsiteY6" fmla="*/ 4248830 h 6858000"/>
              <a:gd name="connsiteX7" fmla="*/ 12192000 w 12192000"/>
              <a:gd name="connsiteY7" fmla="*/ 4238176 h 6858000"/>
              <a:gd name="connsiteX8" fmla="*/ 12192000 w 12192000"/>
              <a:gd name="connsiteY8" fmla="*/ 4877795 h 6858000"/>
              <a:gd name="connsiteX9" fmla="*/ 12173693 w 12192000"/>
              <a:gd name="connsiteY9" fmla="*/ 4890450 h 6858000"/>
              <a:gd name="connsiteX10" fmla="*/ 11823388 w 12192000"/>
              <a:gd name="connsiteY10" fmla="*/ 5651684 h 6858000"/>
              <a:gd name="connsiteX11" fmla="*/ 12181381 w 12192000"/>
              <a:gd name="connsiteY11" fmla="*/ 6745688 h 6858000"/>
              <a:gd name="connsiteX12" fmla="*/ 12192000 w 12192000"/>
              <a:gd name="connsiteY12" fmla="*/ 6767229 h 6858000"/>
              <a:gd name="connsiteX13" fmla="*/ 12192000 w 12192000"/>
              <a:gd name="connsiteY13" fmla="*/ 6858000 h 6858000"/>
              <a:gd name="connsiteX14" fmla="*/ 11748516 w 12192000"/>
              <a:gd name="connsiteY14" fmla="*/ 6858000 h 6858000"/>
              <a:gd name="connsiteX15" fmla="*/ 11744223 w 12192000"/>
              <a:gd name="connsiteY15" fmla="*/ 6845586 h 6858000"/>
              <a:gd name="connsiteX16" fmla="*/ 11424057 w 12192000"/>
              <a:gd name="connsiteY16" fmla="*/ 5987830 h 6858000"/>
              <a:gd name="connsiteX17" fmla="*/ 8644592 w 12192000"/>
              <a:gd name="connsiteY17" fmla="*/ 3856792 h 6858000"/>
              <a:gd name="connsiteX18" fmla="*/ 5459457 w 12192000"/>
              <a:gd name="connsiteY18" fmla="*/ 4687643 h 6858000"/>
              <a:gd name="connsiteX19" fmla="*/ 4527600 w 12192000"/>
              <a:gd name="connsiteY19" fmla="*/ 6636628 h 6858000"/>
              <a:gd name="connsiteX20" fmla="*/ 4523380 w 12192000"/>
              <a:gd name="connsiteY20" fmla="*/ 6858000 h 6858000"/>
              <a:gd name="connsiteX21" fmla="*/ 4101261 w 12192000"/>
              <a:gd name="connsiteY21" fmla="*/ 6858000 h 6858000"/>
              <a:gd name="connsiteX22" fmla="*/ 4129024 w 12192000"/>
              <a:gd name="connsiteY22" fmla="*/ 6686756 h 6858000"/>
              <a:gd name="connsiteX23" fmla="*/ 5583060 w 12192000"/>
              <a:gd name="connsiteY23" fmla="*/ 860020 h 6858000"/>
              <a:gd name="connsiteX24" fmla="*/ 3662471 w 12192000"/>
              <a:gd name="connsiteY24" fmla="*/ 270180 h 6858000"/>
              <a:gd name="connsiteX25" fmla="*/ 198439 w 12192000"/>
              <a:gd name="connsiteY25" fmla="*/ 2486840 h 6858000"/>
              <a:gd name="connsiteX26" fmla="*/ 0 w 12192000"/>
              <a:gd name="connsiteY26" fmla="*/ 2850498 h 6858000"/>
              <a:gd name="connsiteX27" fmla="*/ 0 w 12192000"/>
              <a:gd name="connsiteY27" fmla="*/ 651095 h 6858000"/>
              <a:gd name="connsiteX28" fmla="*/ 13333 w 12192000"/>
              <a:gd name="connsiteY28" fmla="*/ 659740 h 6858000"/>
              <a:gd name="connsiteX29" fmla="*/ 1529540 w 12192000"/>
              <a:gd name="connsiteY29" fmla="*/ 571443 h 6858000"/>
              <a:gd name="connsiteX30" fmla="*/ 2758320 w 12192000"/>
              <a:gd name="connsiteY30" fmla="*/ 1001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3028369" y="0"/>
                </a:moveTo>
                <a:lnTo>
                  <a:pt x="6019945" y="0"/>
                </a:lnTo>
                <a:lnTo>
                  <a:pt x="6010517" y="24413"/>
                </a:lnTo>
                <a:cubicBezTo>
                  <a:pt x="5959413" y="184558"/>
                  <a:pt x="5947528" y="357387"/>
                  <a:pt x="5988728" y="542902"/>
                </a:cubicBezTo>
                <a:cubicBezTo>
                  <a:pt x="6483137" y="1684529"/>
                  <a:pt x="7269121" y="2328280"/>
                  <a:pt x="8283293" y="2994229"/>
                </a:cubicBezTo>
                <a:cubicBezTo>
                  <a:pt x="9376697" y="3714089"/>
                  <a:pt x="10672936" y="4269046"/>
                  <a:pt x="11934313" y="4275389"/>
                </a:cubicBezTo>
                <a:cubicBezTo>
                  <a:pt x="11977098" y="4275389"/>
                  <a:pt x="12048407" y="4265875"/>
                  <a:pt x="12139920" y="4248830"/>
                </a:cubicBezTo>
                <a:lnTo>
                  <a:pt x="12192000" y="4238176"/>
                </a:lnTo>
                <a:lnTo>
                  <a:pt x="12192000" y="4877795"/>
                </a:lnTo>
                <a:lnTo>
                  <a:pt x="12173693" y="4890450"/>
                </a:lnTo>
                <a:cubicBezTo>
                  <a:pt x="11925003" y="5082654"/>
                  <a:pt x="11809126" y="5309196"/>
                  <a:pt x="11823388" y="5651684"/>
                </a:cubicBezTo>
                <a:cubicBezTo>
                  <a:pt x="11831707" y="5818171"/>
                  <a:pt x="11946792" y="6244448"/>
                  <a:pt x="12181381" y="6745688"/>
                </a:cubicBezTo>
                <a:lnTo>
                  <a:pt x="12192000" y="6767229"/>
                </a:lnTo>
                <a:lnTo>
                  <a:pt x="12192000" y="6858000"/>
                </a:lnTo>
                <a:lnTo>
                  <a:pt x="11748516" y="6858000"/>
                </a:lnTo>
                <a:lnTo>
                  <a:pt x="11744223" y="6845586"/>
                </a:lnTo>
                <a:cubicBezTo>
                  <a:pt x="11639321" y="6545909"/>
                  <a:pt x="11479520" y="6112695"/>
                  <a:pt x="11424057" y="5987830"/>
                </a:cubicBezTo>
                <a:cubicBezTo>
                  <a:pt x="10920140" y="4849374"/>
                  <a:pt x="9953508" y="3920216"/>
                  <a:pt x="8644592" y="3856792"/>
                </a:cubicBezTo>
                <a:cubicBezTo>
                  <a:pt x="7446601" y="3799711"/>
                  <a:pt x="6365874" y="3986811"/>
                  <a:pt x="5459457" y="4687643"/>
                </a:cubicBezTo>
                <a:cubicBezTo>
                  <a:pt x="4849369" y="5159357"/>
                  <a:pt x="4574137" y="5876293"/>
                  <a:pt x="4527600" y="6636628"/>
                </a:cubicBezTo>
                <a:lnTo>
                  <a:pt x="4523380" y="6858000"/>
                </a:lnTo>
                <a:lnTo>
                  <a:pt x="4101261" y="6858000"/>
                </a:lnTo>
                <a:lnTo>
                  <a:pt x="4129024" y="6686756"/>
                </a:lnTo>
                <a:cubicBezTo>
                  <a:pt x="4619962" y="3869418"/>
                  <a:pt x="5877804" y="2678696"/>
                  <a:pt x="5583060" y="860020"/>
                </a:cubicBezTo>
                <a:cubicBezTo>
                  <a:pt x="5434103" y="-59624"/>
                  <a:pt x="4099833" y="127476"/>
                  <a:pt x="3662471" y="270180"/>
                </a:cubicBezTo>
                <a:cubicBezTo>
                  <a:pt x="1529540" y="980525"/>
                  <a:pt x="1031962" y="1034436"/>
                  <a:pt x="198439" y="2486840"/>
                </a:cubicBezTo>
                <a:lnTo>
                  <a:pt x="0" y="2850498"/>
                </a:lnTo>
                <a:lnTo>
                  <a:pt x="0" y="651095"/>
                </a:lnTo>
                <a:lnTo>
                  <a:pt x="13333" y="659740"/>
                </a:lnTo>
                <a:cubicBezTo>
                  <a:pt x="306591" y="810471"/>
                  <a:pt x="766534" y="821173"/>
                  <a:pt x="1529540" y="571443"/>
                </a:cubicBezTo>
                <a:cubicBezTo>
                  <a:pt x="1798930" y="482253"/>
                  <a:pt x="2293636" y="276621"/>
                  <a:pt x="2758320" y="100100"/>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7" name="Freeform 16"/>
          <p:cNvSpPr/>
          <p:nvPr userDrawn="1"/>
        </p:nvSpPr>
        <p:spPr bwMode="gray">
          <a:xfrm>
            <a:off x="0" y="0"/>
            <a:ext cx="12192000" cy="6858000"/>
          </a:xfrm>
          <a:custGeom>
            <a:avLst/>
            <a:gdLst>
              <a:gd name="connsiteX0" fmla="*/ 349336 w 12160800"/>
              <a:gd name="connsiteY0" fmla="*/ 0 h 6858000"/>
              <a:gd name="connsiteX1" fmla="*/ 2343649 w 12160800"/>
              <a:gd name="connsiteY1" fmla="*/ 0 h 6858000"/>
              <a:gd name="connsiteX2" fmla="*/ 2362300 w 12160800"/>
              <a:gd name="connsiteY2" fmla="*/ 74444 h 6858000"/>
              <a:gd name="connsiteX3" fmla="*/ 3066495 w 12160800"/>
              <a:gd name="connsiteY3" fmla="*/ 1483638 h 6858000"/>
              <a:gd name="connsiteX4" fmla="*/ 3887362 w 12160800"/>
              <a:gd name="connsiteY4" fmla="*/ 1569259 h 6858000"/>
              <a:gd name="connsiteX5" fmla="*/ 4635346 w 12160800"/>
              <a:gd name="connsiteY5" fmla="*/ 56135 h 6858000"/>
              <a:gd name="connsiteX6" fmla="*/ 4613106 w 12160800"/>
              <a:gd name="connsiteY6" fmla="*/ 0 h 6858000"/>
              <a:gd name="connsiteX7" fmla="*/ 12160800 w 12160800"/>
              <a:gd name="connsiteY7" fmla="*/ 0 h 6858000"/>
              <a:gd name="connsiteX8" fmla="*/ 12160800 w 12160800"/>
              <a:gd name="connsiteY8" fmla="*/ 6858000 h 6858000"/>
              <a:gd name="connsiteX9" fmla="*/ 6255540 w 12160800"/>
              <a:gd name="connsiteY9" fmla="*/ 6858000 h 6858000"/>
              <a:gd name="connsiteX10" fmla="*/ 6191495 w 12160800"/>
              <a:gd name="connsiteY10" fmla="*/ 6468735 h 6858000"/>
              <a:gd name="connsiteX11" fmla="*/ 5449862 w 12160800"/>
              <a:gd name="connsiteY11" fmla="*/ 4474062 h 6858000"/>
              <a:gd name="connsiteX12" fmla="*/ 4895222 w 12160800"/>
              <a:gd name="connsiteY12" fmla="*/ 3322923 h 6858000"/>
              <a:gd name="connsiteX13" fmla="*/ 2527702 w 12160800"/>
              <a:gd name="connsiteY13" fmla="*/ 2714056 h 6858000"/>
              <a:gd name="connsiteX14" fmla="*/ 870120 w 12160800"/>
              <a:gd name="connsiteY14" fmla="*/ 4667504 h 6858000"/>
              <a:gd name="connsiteX15" fmla="*/ 677253 w 12160800"/>
              <a:gd name="connsiteY15" fmla="*/ 6722405 h 6858000"/>
              <a:gd name="connsiteX16" fmla="*/ 731247 w 12160800"/>
              <a:gd name="connsiteY16" fmla="*/ 6858000 h 6858000"/>
              <a:gd name="connsiteX17" fmla="*/ 0 w 12160800"/>
              <a:gd name="connsiteY17" fmla="*/ 6858000 h 6858000"/>
              <a:gd name="connsiteX18" fmla="*/ 0 w 12160800"/>
              <a:gd name="connsiteY18" fmla="*/ 4583499 h 6858000"/>
              <a:gd name="connsiteX19" fmla="*/ 125318 w 12160800"/>
              <a:gd name="connsiteY19" fmla="*/ 4534314 h 6858000"/>
              <a:gd name="connsiteX20" fmla="*/ 2207595 w 12160800"/>
              <a:gd name="connsiteY20" fmla="*/ 2580866 h 6858000"/>
              <a:gd name="connsiteX21" fmla="*/ 2404096 w 12160800"/>
              <a:gd name="connsiteY21" fmla="*/ 674986 h 6858000"/>
              <a:gd name="connsiteX22" fmla="*/ 1418422 w 12160800"/>
              <a:gd name="connsiteY22" fmla="*/ 9038 h 6858000"/>
              <a:gd name="connsiteX23" fmla="*/ 88715 w 12160800"/>
              <a:gd name="connsiteY23" fmla="*/ 380165 h 6858000"/>
              <a:gd name="connsiteX24" fmla="*/ 0 w 12160800"/>
              <a:gd name="connsiteY24" fmla="*/ 432649 h 6858000"/>
              <a:gd name="connsiteX25" fmla="*/ 0 w 12160800"/>
              <a:gd name="connsiteY25" fmla="*/ 218659 h 6858000"/>
              <a:gd name="connsiteX26" fmla="*/ 3446 w 12160800"/>
              <a:gd name="connsiteY26" fmla="*/ 216602 h 6858000"/>
              <a:gd name="connsiteX27" fmla="*/ 331723 w 12160800"/>
              <a:gd name="connsiteY27" fmla="*/ 118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60800" h="6858000">
                <a:moveTo>
                  <a:pt x="349336" y="0"/>
                </a:moveTo>
                <a:lnTo>
                  <a:pt x="2343649" y="0"/>
                </a:lnTo>
                <a:lnTo>
                  <a:pt x="2362300" y="74444"/>
                </a:lnTo>
                <a:cubicBezTo>
                  <a:pt x="2552462" y="724338"/>
                  <a:pt x="2869202" y="1267204"/>
                  <a:pt x="3066495" y="1483638"/>
                </a:cubicBezTo>
                <a:cubicBezTo>
                  <a:pt x="3180592" y="1610485"/>
                  <a:pt x="3510207" y="1750017"/>
                  <a:pt x="3887362" y="1569259"/>
                </a:cubicBezTo>
                <a:cubicBezTo>
                  <a:pt x="4392085" y="1325078"/>
                  <a:pt x="4857982" y="738559"/>
                  <a:pt x="4635346" y="56135"/>
                </a:cubicBezTo>
                <a:lnTo>
                  <a:pt x="4613106" y="0"/>
                </a:lnTo>
                <a:lnTo>
                  <a:pt x="12160800" y="0"/>
                </a:lnTo>
                <a:lnTo>
                  <a:pt x="12160800" y="6858000"/>
                </a:lnTo>
                <a:lnTo>
                  <a:pt x="6255540" y="6858000"/>
                </a:lnTo>
                <a:lnTo>
                  <a:pt x="6191495" y="6468735"/>
                </a:lnTo>
                <a:cubicBezTo>
                  <a:pt x="6052043" y="5780588"/>
                  <a:pt x="5760461" y="5120983"/>
                  <a:pt x="5449862" y="4474062"/>
                </a:cubicBezTo>
                <a:cubicBezTo>
                  <a:pt x="5430846" y="4436007"/>
                  <a:pt x="5120248" y="3808114"/>
                  <a:pt x="4895222" y="3322923"/>
                </a:cubicBezTo>
                <a:cubicBezTo>
                  <a:pt x="4473696" y="2409622"/>
                  <a:pt x="3082342" y="2162270"/>
                  <a:pt x="2527702" y="2714056"/>
                </a:cubicBezTo>
                <a:cubicBezTo>
                  <a:pt x="2042788" y="3199247"/>
                  <a:pt x="1082468" y="4302818"/>
                  <a:pt x="870120" y="4667504"/>
                </a:cubicBezTo>
                <a:cubicBezTo>
                  <a:pt x="495738" y="5314028"/>
                  <a:pt x="439234" y="6018823"/>
                  <a:pt x="677253" y="6722405"/>
                </a:cubicBezTo>
                <a:lnTo>
                  <a:pt x="731247" y="6858000"/>
                </a:lnTo>
                <a:lnTo>
                  <a:pt x="0" y="6858000"/>
                </a:lnTo>
                <a:lnTo>
                  <a:pt x="0" y="4583499"/>
                </a:lnTo>
                <a:lnTo>
                  <a:pt x="125318" y="4534314"/>
                </a:lnTo>
                <a:cubicBezTo>
                  <a:pt x="1028589" y="4156944"/>
                  <a:pt x="1789238" y="3465626"/>
                  <a:pt x="2207595" y="2580866"/>
                </a:cubicBezTo>
                <a:cubicBezTo>
                  <a:pt x="2473823" y="2010054"/>
                  <a:pt x="2679832" y="1299709"/>
                  <a:pt x="2404096" y="674986"/>
                </a:cubicBezTo>
                <a:cubicBezTo>
                  <a:pt x="2229781" y="288102"/>
                  <a:pt x="1843118" y="18552"/>
                  <a:pt x="1418422" y="9038"/>
                </a:cubicBezTo>
                <a:cubicBezTo>
                  <a:pt x="966390" y="-4836"/>
                  <a:pt x="516785" y="141534"/>
                  <a:pt x="88715" y="380165"/>
                </a:cubicBezTo>
                <a:lnTo>
                  <a:pt x="0" y="432649"/>
                </a:lnTo>
                <a:lnTo>
                  <a:pt x="0" y="218659"/>
                </a:lnTo>
                <a:lnTo>
                  <a:pt x="3446" y="216602"/>
                </a:lnTo>
                <a:cubicBezTo>
                  <a:pt x="117494" y="147282"/>
                  <a:pt x="227332" y="79002"/>
                  <a:pt x="331723" y="11813"/>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 name="Text Placeholder 12"/>
          <p:cNvSpPr>
            <a:spLocks noGrp="1"/>
          </p:cNvSpPr>
          <p:nvPr>
            <p:ph type="body" sz="quarter" idx="10" hasCustomPrompt="1"/>
          </p:nvPr>
        </p:nvSpPr>
        <p:spPr bwMode="gray">
          <a:xfrm>
            <a:off x="5808663" y="3501002"/>
            <a:ext cx="5759451"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4"/>
                </a:solidFill>
              </a:defRPr>
            </a:lvl1pPr>
            <a:lvl2pPr marL="0" indent="0">
              <a:spcBef>
                <a:spcPts val="0"/>
              </a:spcBef>
              <a:spcAft>
                <a:spcPts val="0"/>
              </a:spcAft>
              <a:buNone/>
              <a:defRPr>
                <a:solidFill>
                  <a:schemeClr val="accent4"/>
                </a:solidFill>
              </a:defRPr>
            </a:lvl2pPr>
            <a:lvl3pPr marL="0" indent="0">
              <a:spcBef>
                <a:spcPts val="0"/>
              </a:spcBef>
              <a:spcAft>
                <a:spcPts val="0"/>
              </a:spcAft>
              <a:buNone/>
              <a:defRPr>
                <a:solidFill>
                  <a:schemeClr val="accent4"/>
                </a:solidFill>
              </a:defRPr>
            </a:lvl3pPr>
            <a:lvl4pPr marL="0" indent="0">
              <a:spcBef>
                <a:spcPts val="0"/>
              </a:spcBef>
              <a:spcAft>
                <a:spcPts val="0"/>
              </a:spcAft>
              <a:buNone/>
              <a:defRPr>
                <a:solidFill>
                  <a:schemeClr val="accent4"/>
                </a:solidFill>
              </a:defRPr>
            </a:lvl4pPr>
            <a:lvl5pPr marL="0" indent="0">
              <a:spcBef>
                <a:spcPts val="0"/>
              </a:spcBef>
              <a:spcAft>
                <a:spcPts val="0"/>
              </a:spcAft>
              <a:buNone/>
              <a:defRPr>
                <a:solidFill>
                  <a:schemeClr val="accent4"/>
                </a:solidFill>
              </a:defRPr>
            </a:lvl5pPr>
            <a:lvl6pPr marL="0" indent="0">
              <a:spcBef>
                <a:spcPts val="0"/>
              </a:spcBef>
              <a:spcAft>
                <a:spcPts val="0"/>
              </a:spcAft>
              <a:buNone/>
              <a:defRPr>
                <a:solidFill>
                  <a:schemeClr val="accent4"/>
                </a:solidFill>
              </a:defRPr>
            </a:lvl6pPr>
            <a:lvl7pPr marL="0" indent="0">
              <a:spcBef>
                <a:spcPts val="0"/>
              </a:spcBef>
              <a:spcAft>
                <a:spcPts val="0"/>
              </a:spcAft>
              <a:buNone/>
              <a:defRPr>
                <a:solidFill>
                  <a:schemeClr val="accent4"/>
                </a:solidFill>
              </a:defRPr>
            </a:lvl7pPr>
            <a:lvl8pPr marL="0" indent="0">
              <a:spcBef>
                <a:spcPts val="0"/>
              </a:spcBef>
              <a:spcAft>
                <a:spcPts val="0"/>
              </a:spcAft>
              <a:buNone/>
              <a:defRPr>
                <a:solidFill>
                  <a:schemeClr val="accent4"/>
                </a:solidFill>
              </a:defRPr>
            </a:lvl8pPr>
            <a:lvl9pPr marL="0" indent="0">
              <a:spcBef>
                <a:spcPts val="0"/>
              </a:spcBef>
              <a:spcAft>
                <a:spcPts val="0"/>
              </a:spcAft>
              <a:buNone/>
              <a:defRPr>
                <a:solidFill>
                  <a:schemeClr val="accent4"/>
                </a:solidFill>
              </a:defRPr>
            </a:lvl9pPr>
          </a:lstStyle>
          <a:p>
            <a:r>
              <a:rPr lang="en-US" noProof="0" dirty="0"/>
              <a:t>Name</a:t>
            </a:r>
          </a:p>
          <a:p>
            <a:r>
              <a:rPr lang="en-US" noProof="0" dirty="0"/>
              <a:t>Place, Date</a:t>
            </a:r>
          </a:p>
        </p:txBody>
      </p:sp>
      <p:sp>
        <p:nvSpPr>
          <p:cNvPr id="3" name="Subtitle 2"/>
          <p:cNvSpPr>
            <a:spLocks noGrp="1"/>
          </p:cNvSpPr>
          <p:nvPr>
            <p:ph type="subTitle" idx="1" hasCustomPrompt="1"/>
          </p:nvPr>
        </p:nvSpPr>
        <p:spPr bwMode="gray">
          <a:xfrm>
            <a:off x="5807693" y="2709683"/>
            <a:ext cx="5760420" cy="647311"/>
          </a:xfrm>
          <a:prstGeom prst="rect">
            <a:avLst/>
          </a:prstGeom>
        </p:spPr>
        <p:txBody>
          <a:bodyPr>
            <a:noAutofit/>
          </a:bodyPr>
          <a:lstStyle>
            <a:lvl1pPr marL="0" indent="0" algn="l">
              <a:spcBef>
                <a:spcPts val="0"/>
              </a:spcBef>
              <a:spcAft>
                <a:spcPts val="900"/>
              </a:spcAft>
              <a:buNone/>
              <a:defRPr sz="1200" b="1" i="0" baseline="0">
                <a:solidFill>
                  <a:schemeClr val="accent4"/>
                </a:solidFill>
                <a:latin typeface="+mn-lt"/>
              </a:defRPr>
            </a:lvl1pPr>
            <a:lvl2pPr marL="0" indent="0" algn="l">
              <a:spcBef>
                <a:spcPts val="0"/>
              </a:spcBef>
              <a:spcAft>
                <a:spcPts val="900"/>
              </a:spcAft>
              <a:buNone/>
              <a:defRPr sz="1200" b="1">
                <a:solidFill>
                  <a:schemeClr val="accent4"/>
                </a:solidFill>
              </a:defRPr>
            </a:lvl2pPr>
            <a:lvl3pPr marL="0" indent="0" algn="l">
              <a:spcBef>
                <a:spcPts val="0"/>
              </a:spcBef>
              <a:spcAft>
                <a:spcPts val="900"/>
              </a:spcAft>
              <a:buNone/>
              <a:defRPr sz="1200" b="1">
                <a:solidFill>
                  <a:schemeClr val="accent4"/>
                </a:solidFill>
              </a:defRPr>
            </a:lvl3pPr>
            <a:lvl4pPr marL="0" indent="0" algn="l">
              <a:spcBef>
                <a:spcPts val="0"/>
              </a:spcBef>
              <a:spcAft>
                <a:spcPts val="900"/>
              </a:spcAft>
              <a:buNone/>
              <a:defRPr sz="1200" b="1">
                <a:solidFill>
                  <a:schemeClr val="accent4"/>
                </a:solidFill>
              </a:defRPr>
            </a:lvl4pPr>
            <a:lvl5pPr marL="0" indent="0" algn="l">
              <a:spcBef>
                <a:spcPts val="0"/>
              </a:spcBef>
              <a:spcAft>
                <a:spcPts val="900"/>
              </a:spcAft>
              <a:buNone/>
              <a:defRPr sz="1200" b="1">
                <a:solidFill>
                  <a:schemeClr val="accent4"/>
                </a:solidFill>
              </a:defRPr>
            </a:lvl5pPr>
            <a:lvl6pPr marL="0" indent="0" algn="l">
              <a:spcBef>
                <a:spcPts val="0"/>
              </a:spcBef>
              <a:spcAft>
                <a:spcPts val="900"/>
              </a:spcAft>
              <a:buNone/>
              <a:defRPr sz="1200" b="1">
                <a:solidFill>
                  <a:schemeClr val="accent4"/>
                </a:solidFill>
              </a:defRPr>
            </a:lvl6pPr>
            <a:lvl7pPr marL="0" indent="0" algn="l">
              <a:spcBef>
                <a:spcPts val="0"/>
              </a:spcBef>
              <a:spcAft>
                <a:spcPts val="900"/>
              </a:spcAft>
              <a:buNone/>
              <a:defRPr sz="1200" b="1">
                <a:solidFill>
                  <a:schemeClr val="accent4"/>
                </a:solidFill>
              </a:defRPr>
            </a:lvl7pPr>
            <a:lvl8pPr marL="0" indent="0" algn="l">
              <a:spcBef>
                <a:spcPts val="0"/>
              </a:spcBef>
              <a:spcAft>
                <a:spcPts val="900"/>
              </a:spcAft>
              <a:buNone/>
              <a:defRPr sz="1200" b="1">
                <a:solidFill>
                  <a:schemeClr val="accent4"/>
                </a:solidFill>
              </a:defRPr>
            </a:lvl8pPr>
            <a:lvl9pPr marL="0" indent="0" algn="l">
              <a:spcBef>
                <a:spcPts val="0"/>
              </a:spcBef>
              <a:spcAft>
                <a:spcPts val="900"/>
              </a:spcAft>
              <a:buNone/>
              <a:defRPr sz="1200" b="1">
                <a:solidFill>
                  <a:schemeClr val="accent4"/>
                </a:solidFill>
              </a:defRPr>
            </a:lvl9pPr>
          </a:lstStyle>
          <a:p>
            <a:r>
              <a:rPr lang="en-US" noProof="0" dirty="0"/>
              <a:t>Subtitle and other information of this presentation</a:t>
            </a:r>
          </a:p>
        </p:txBody>
      </p:sp>
      <p:sp>
        <p:nvSpPr>
          <p:cNvPr id="2" name="Title 1"/>
          <p:cNvSpPr>
            <a:spLocks noGrp="1"/>
          </p:cNvSpPr>
          <p:nvPr>
            <p:ph type="ctrTitle" hasCustomPrompt="1"/>
          </p:nvPr>
        </p:nvSpPr>
        <p:spPr bwMode="gray">
          <a:xfrm>
            <a:off x="5807693" y="2085847"/>
            <a:ext cx="5760420" cy="479841"/>
          </a:xfrm>
          <a:prstGeom prst="rect">
            <a:avLst/>
          </a:prstGeom>
          <a:noFill/>
        </p:spPr>
        <p:txBody>
          <a:bodyPr anchor="b"/>
          <a:lstStyle>
            <a:lvl1pPr algn="l">
              <a:lnSpc>
                <a:spcPct val="100000"/>
              </a:lnSpc>
              <a:defRPr sz="3000" cap="none" baseline="0">
                <a:solidFill>
                  <a:schemeClr val="bg2"/>
                </a:solidFill>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sp>
        <p:nvSpPr>
          <p:cNvPr id="19" name="Rechteck 19"/>
          <p:cNvSpPr/>
          <p:nvPr userDrawn="1"/>
        </p:nvSpPr>
        <p:spPr bwMode="gray">
          <a:xfrm>
            <a:off x="0" y="-387424"/>
            <a:ext cx="12192000" cy="288032"/>
          </a:xfrm>
          <a:prstGeom prst="rect">
            <a:avLst/>
          </a:prstGeom>
          <a:solidFill>
            <a:srgbClr val="E61E50"/>
          </a:solidFill>
          <a:ln w="9525" cap="flat" cmpd="sng" algn="ctr">
            <a:noFill/>
            <a:prstDash val="solid"/>
          </a:ln>
          <a:effectLst/>
        </p:spPr>
        <p:txBody>
          <a:bodyPr rtlCol="0" anchor="ctr" anchorCtr="0"/>
          <a:lstStyle/>
          <a:p>
            <a:pPr marL="0" indent="0" algn="ctr">
              <a:spcBef>
                <a:spcPts val="225"/>
              </a:spcBef>
              <a:spcAft>
                <a:spcPts val="225"/>
              </a:spcAft>
              <a:buClr>
                <a:schemeClr val="bg1"/>
              </a:buClr>
              <a:buSzPct val="100000"/>
              <a:buFont typeface="Arial" panose="020B0604020202020204" pitchFamily="34" charset="0"/>
              <a:buNone/>
            </a:pPr>
            <a:r>
              <a:rPr lang="en-US" sz="1050" kern="0" dirty="0">
                <a:solidFill>
                  <a:srgbClr val="FFFFFF"/>
                </a:solidFill>
                <a:latin typeface="+mn-lt"/>
              </a:rPr>
              <a:t>Only to be used in USA &amp; Canada, never outside these two countries</a:t>
            </a:r>
            <a:endParaRPr lang="de-DE" sz="1050" kern="0" dirty="0">
              <a:solidFill>
                <a:srgbClr val="FFFFFF"/>
              </a:solidFill>
              <a:latin typeface="Verdana"/>
            </a:endParaRPr>
          </a:p>
        </p:txBody>
      </p:sp>
      <p:sp>
        <p:nvSpPr>
          <p:cNvPr id="15" name="Freeform 5"/>
          <p:cNvSpPr>
            <a:spLocks noEditPoints="1"/>
          </p:cNvSpPr>
          <p:nvPr userDrawn="1"/>
        </p:nvSpPr>
        <p:spPr bwMode="auto">
          <a:xfrm>
            <a:off x="9969502" y="6060209"/>
            <a:ext cx="1820863" cy="465137"/>
          </a:xfrm>
          <a:custGeom>
            <a:avLst/>
            <a:gdLst>
              <a:gd name="T0" fmla="*/ 5746 w 47033"/>
              <a:gd name="T1" fmla="*/ 7214 h 11985"/>
              <a:gd name="T2" fmla="*/ 157 w 47033"/>
              <a:gd name="T3" fmla="*/ 7953 h 11985"/>
              <a:gd name="T4" fmla="*/ 3892 w 47033"/>
              <a:gd name="T5" fmla="*/ 10065 h 11985"/>
              <a:gd name="T6" fmla="*/ 1042 w 47033"/>
              <a:gd name="T7" fmla="*/ 10025 h 11985"/>
              <a:gd name="T8" fmla="*/ 2274 w 47033"/>
              <a:gd name="T9" fmla="*/ 11918 h 11985"/>
              <a:gd name="T10" fmla="*/ 5242 w 47033"/>
              <a:gd name="T11" fmla="*/ 9018 h 11985"/>
              <a:gd name="T12" fmla="*/ 12027 w 47033"/>
              <a:gd name="T13" fmla="*/ 840 h 11985"/>
              <a:gd name="T14" fmla="*/ 2328 w 47033"/>
              <a:gd name="T15" fmla="*/ 405 h 11985"/>
              <a:gd name="T16" fmla="*/ 1484 w 47033"/>
              <a:gd name="T17" fmla="*/ 5712 h 11985"/>
              <a:gd name="T18" fmla="*/ 9685 w 47033"/>
              <a:gd name="T19" fmla="*/ 3071 h 11985"/>
              <a:gd name="T20" fmla="*/ 12027 w 47033"/>
              <a:gd name="T21" fmla="*/ 5543 h 11985"/>
              <a:gd name="T22" fmla="*/ 37476 w 47033"/>
              <a:gd name="T23" fmla="*/ 4017 h 11985"/>
              <a:gd name="T24" fmla="*/ 39160 w 47033"/>
              <a:gd name="T25" fmla="*/ 2513 h 11985"/>
              <a:gd name="T26" fmla="*/ 35890 w 47033"/>
              <a:gd name="T27" fmla="*/ 5657 h 11985"/>
              <a:gd name="T28" fmla="*/ 35115 w 47033"/>
              <a:gd name="T29" fmla="*/ 124 h 11985"/>
              <a:gd name="T30" fmla="*/ 40508 w 47033"/>
              <a:gd name="T31" fmla="*/ 3372 h 11985"/>
              <a:gd name="T32" fmla="*/ 43843 w 47033"/>
              <a:gd name="T33" fmla="*/ 4078 h 11985"/>
              <a:gd name="T34" fmla="*/ 43824 w 47033"/>
              <a:gd name="T35" fmla="*/ 1468 h 11985"/>
              <a:gd name="T36" fmla="*/ 44709 w 47033"/>
              <a:gd name="T37" fmla="*/ 3605 h 11985"/>
              <a:gd name="T38" fmla="*/ 43809 w 47033"/>
              <a:gd name="T39" fmla="*/ 0 h 11985"/>
              <a:gd name="T40" fmla="*/ 44542 w 47033"/>
              <a:gd name="T41" fmla="*/ 5712 h 11985"/>
              <a:gd name="T42" fmla="*/ 28851 w 47033"/>
              <a:gd name="T43" fmla="*/ 157 h 11985"/>
              <a:gd name="T44" fmla="*/ 33992 w 47033"/>
              <a:gd name="T45" fmla="*/ 5141 h 11985"/>
              <a:gd name="T46" fmla="*/ 28986 w 47033"/>
              <a:gd name="T47" fmla="*/ 0 h 11985"/>
              <a:gd name="T48" fmla="*/ 32855 w 47033"/>
              <a:gd name="T49" fmla="*/ 4077 h 11985"/>
              <a:gd name="T50" fmla="*/ 26686 w 47033"/>
              <a:gd name="T51" fmla="*/ 7111 h 11985"/>
              <a:gd name="T52" fmla="*/ 16988 w 47033"/>
              <a:gd name="T53" fmla="*/ 6676 h 11985"/>
              <a:gd name="T54" fmla="*/ 16144 w 47033"/>
              <a:gd name="T55" fmla="*/ 11982 h 11985"/>
              <a:gd name="T56" fmla="*/ 24345 w 47033"/>
              <a:gd name="T57" fmla="*/ 9342 h 11985"/>
              <a:gd name="T58" fmla="*/ 26686 w 47033"/>
              <a:gd name="T59" fmla="*/ 11814 h 11985"/>
              <a:gd name="T60" fmla="*/ 12607 w 47033"/>
              <a:gd name="T61" fmla="*/ 157 h 11985"/>
              <a:gd name="T62" fmla="*/ 14174 w 47033"/>
              <a:gd name="T63" fmla="*/ 2897 h 11985"/>
              <a:gd name="T64" fmla="*/ 12842 w 47033"/>
              <a:gd name="T65" fmla="*/ 5477 h 11985"/>
              <a:gd name="T66" fmla="*/ 17175 w 47033"/>
              <a:gd name="T67" fmla="*/ 4265 h 11985"/>
              <a:gd name="T68" fmla="*/ 15440 w 47033"/>
              <a:gd name="T69" fmla="*/ 0 h 11985"/>
              <a:gd name="T70" fmla="*/ 17175 w 47033"/>
              <a:gd name="T71" fmla="*/ 5766 h 11985"/>
              <a:gd name="T72" fmla="*/ 24357 w 47033"/>
              <a:gd name="T73" fmla="*/ 2588 h 11985"/>
              <a:gd name="T74" fmla="*/ 26793 w 47033"/>
              <a:gd name="T75" fmla="*/ 2823 h 11985"/>
              <a:gd name="T76" fmla="*/ 22772 w 47033"/>
              <a:gd name="T77" fmla="*/ 1 h 11985"/>
              <a:gd name="T78" fmla="*/ 24206 w 47033"/>
              <a:gd name="T79" fmla="*/ 4279 h 11985"/>
              <a:gd name="T80" fmla="*/ 27395 w 47033"/>
              <a:gd name="T81" fmla="*/ 10806 h 11985"/>
              <a:gd name="T82" fmla="*/ 32640 w 47033"/>
              <a:gd name="T83" fmla="*/ 8287 h 11985"/>
              <a:gd name="T84" fmla="*/ 27502 w 47033"/>
              <a:gd name="T85" fmla="*/ 7515 h 11985"/>
              <a:gd name="T86" fmla="*/ 27098 w 47033"/>
              <a:gd name="T87" fmla="*/ 9798 h 11985"/>
              <a:gd name="T88" fmla="*/ 29175 w 47033"/>
              <a:gd name="T89" fmla="*/ 10517 h 11985"/>
              <a:gd name="T90" fmla="*/ 10571 w 47033"/>
              <a:gd name="T91" fmla="*/ 8701 h 11985"/>
              <a:gd name="T92" fmla="*/ 11747 w 47033"/>
              <a:gd name="T93" fmla="*/ 10504 h 11985"/>
              <a:gd name="T94" fmla="*/ 13930 w 47033"/>
              <a:gd name="T95" fmla="*/ 7750 h 11985"/>
              <a:gd name="T96" fmla="*/ 9092 w 47033"/>
              <a:gd name="T97" fmla="*/ 6932 h 11985"/>
              <a:gd name="T98" fmla="*/ 14042 w 47033"/>
              <a:gd name="T99" fmla="*/ 11983 h 11985"/>
              <a:gd name="T100" fmla="*/ 19265 w 47033"/>
              <a:gd name="T101" fmla="*/ 3897 h 11985"/>
              <a:gd name="T102" fmla="*/ 17435 w 47033"/>
              <a:gd name="T103" fmla="*/ 135 h 11985"/>
              <a:gd name="T104" fmla="*/ 22053 w 47033"/>
              <a:gd name="T105" fmla="*/ 1321 h 11985"/>
              <a:gd name="T106" fmla="*/ 20620 w 47033"/>
              <a:gd name="T107" fmla="*/ 1477 h 11985"/>
              <a:gd name="T108" fmla="*/ 21169 w 47033"/>
              <a:gd name="T109" fmla="*/ 2024 h 11985"/>
              <a:gd name="T110" fmla="*/ 21896 w 47033"/>
              <a:gd name="T111" fmla="*/ 5712 h 11985"/>
              <a:gd name="T112" fmla="*/ 6283 w 47033"/>
              <a:gd name="T113" fmla="*/ 6427 h 11985"/>
              <a:gd name="T114" fmla="*/ 7850 w 47033"/>
              <a:gd name="T115" fmla="*/ 9168 h 11985"/>
              <a:gd name="T116" fmla="*/ 6518 w 47033"/>
              <a:gd name="T117" fmla="*/ 11748 h 11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033" h="11985">
                <a:moveTo>
                  <a:pt x="3646" y="7701"/>
                </a:moveTo>
                <a:cubicBezTo>
                  <a:pt x="3911" y="7772"/>
                  <a:pt x="4140" y="7863"/>
                  <a:pt x="4335" y="7976"/>
                </a:cubicBezTo>
                <a:cubicBezTo>
                  <a:pt x="4432" y="8036"/>
                  <a:pt x="4505" y="8073"/>
                  <a:pt x="4553" y="8088"/>
                </a:cubicBezTo>
                <a:cubicBezTo>
                  <a:pt x="4602" y="8103"/>
                  <a:pt x="4656" y="8110"/>
                  <a:pt x="4716" y="8110"/>
                </a:cubicBezTo>
                <a:cubicBezTo>
                  <a:pt x="4850" y="8110"/>
                  <a:pt x="4992" y="8036"/>
                  <a:pt x="5141" y="7886"/>
                </a:cubicBezTo>
                <a:cubicBezTo>
                  <a:pt x="5712" y="7292"/>
                  <a:pt x="5712" y="7292"/>
                  <a:pt x="5712" y="7292"/>
                </a:cubicBezTo>
                <a:cubicBezTo>
                  <a:pt x="5735" y="7270"/>
                  <a:pt x="5746" y="7244"/>
                  <a:pt x="5746" y="7214"/>
                </a:cubicBezTo>
                <a:cubicBezTo>
                  <a:pt x="5746" y="7177"/>
                  <a:pt x="5723" y="7136"/>
                  <a:pt x="5679" y="7091"/>
                </a:cubicBezTo>
                <a:cubicBezTo>
                  <a:pt x="5358" y="6800"/>
                  <a:pt x="4942" y="6572"/>
                  <a:pt x="4430" y="6408"/>
                </a:cubicBezTo>
                <a:cubicBezTo>
                  <a:pt x="3919" y="6244"/>
                  <a:pt x="3379" y="6162"/>
                  <a:pt x="2812" y="6162"/>
                </a:cubicBezTo>
                <a:cubicBezTo>
                  <a:pt x="2460" y="6162"/>
                  <a:pt x="2127" y="6194"/>
                  <a:pt x="1809" y="6262"/>
                </a:cubicBezTo>
                <a:cubicBezTo>
                  <a:pt x="1492" y="6329"/>
                  <a:pt x="1210" y="6434"/>
                  <a:pt x="964" y="6576"/>
                </a:cubicBezTo>
                <a:cubicBezTo>
                  <a:pt x="717" y="6718"/>
                  <a:pt x="521" y="6903"/>
                  <a:pt x="376" y="7130"/>
                </a:cubicBezTo>
                <a:cubicBezTo>
                  <a:pt x="230" y="7358"/>
                  <a:pt x="157" y="7632"/>
                  <a:pt x="157" y="7953"/>
                </a:cubicBezTo>
                <a:cubicBezTo>
                  <a:pt x="157" y="8237"/>
                  <a:pt x="220" y="8479"/>
                  <a:pt x="348" y="8682"/>
                </a:cubicBezTo>
                <a:cubicBezTo>
                  <a:pt x="475" y="8883"/>
                  <a:pt x="650" y="9054"/>
                  <a:pt x="873" y="9196"/>
                </a:cubicBezTo>
                <a:cubicBezTo>
                  <a:pt x="1098" y="9338"/>
                  <a:pt x="1363" y="9452"/>
                  <a:pt x="1669" y="9538"/>
                </a:cubicBezTo>
                <a:cubicBezTo>
                  <a:pt x="1975" y="9624"/>
                  <a:pt x="2307" y="9693"/>
                  <a:pt x="2666" y="9745"/>
                </a:cubicBezTo>
                <a:cubicBezTo>
                  <a:pt x="2927" y="9783"/>
                  <a:pt x="3140" y="9818"/>
                  <a:pt x="3304" y="9852"/>
                </a:cubicBezTo>
                <a:cubicBezTo>
                  <a:pt x="3469" y="9885"/>
                  <a:pt x="3599" y="9919"/>
                  <a:pt x="3696" y="9952"/>
                </a:cubicBezTo>
                <a:cubicBezTo>
                  <a:pt x="3793" y="9986"/>
                  <a:pt x="3859" y="10023"/>
                  <a:pt x="3892" y="10065"/>
                </a:cubicBezTo>
                <a:cubicBezTo>
                  <a:pt x="3926" y="10105"/>
                  <a:pt x="3943" y="10156"/>
                  <a:pt x="3943" y="10216"/>
                </a:cubicBezTo>
                <a:cubicBezTo>
                  <a:pt x="3943" y="10335"/>
                  <a:pt x="3870" y="10419"/>
                  <a:pt x="3724" y="10468"/>
                </a:cubicBezTo>
                <a:cubicBezTo>
                  <a:pt x="3579" y="10516"/>
                  <a:pt x="3386" y="10541"/>
                  <a:pt x="3148" y="10541"/>
                </a:cubicBezTo>
                <a:cubicBezTo>
                  <a:pt x="2752" y="10541"/>
                  <a:pt x="2416" y="10507"/>
                  <a:pt x="2139" y="10440"/>
                </a:cubicBezTo>
                <a:cubicBezTo>
                  <a:pt x="1863" y="10372"/>
                  <a:pt x="1624" y="10279"/>
                  <a:pt x="1422" y="10160"/>
                </a:cubicBezTo>
                <a:cubicBezTo>
                  <a:pt x="1326" y="10100"/>
                  <a:pt x="1253" y="10063"/>
                  <a:pt x="1205" y="10048"/>
                </a:cubicBezTo>
                <a:cubicBezTo>
                  <a:pt x="1156" y="10033"/>
                  <a:pt x="1102" y="10025"/>
                  <a:pt x="1042" y="10025"/>
                </a:cubicBezTo>
                <a:cubicBezTo>
                  <a:pt x="907" y="10025"/>
                  <a:pt x="766" y="10100"/>
                  <a:pt x="616" y="10249"/>
                </a:cubicBezTo>
                <a:cubicBezTo>
                  <a:pt x="34" y="10854"/>
                  <a:pt x="34" y="10854"/>
                  <a:pt x="34" y="10854"/>
                </a:cubicBezTo>
                <a:cubicBezTo>
                  <a:pt x="11" y="10877"/>
                  <a:pt x="0" y="10903"/>
                  <a:pt x="0" y="10932"/>
                </a:cubicBezTo>
                <a:cubicBezTo>
                  <a:pt x="0" y="10970"/>
                  <a:pt x="23" y="11011"/>
                  <a:pt x="68" y="11056"/>
                </a:cubicBezTo>
                <a:cubicBezTo>
                  <a:pt x="210" y="11198"/>
                  <a:pt x="390" y="11327"/>
                  <a:pt x="611" y="11442"/>
                </a:cubicBezTo>
                <a:cubicBezTo>
                  <a:pt x="831" y="11558"/>
                  <a:pt x="1081" y="11655"/>
                  <a:pt x="1361" y="11733"/>
                </a:cubicBezTo>
                <a:cubicBezTo>
                  <a:pt x="1641" y="11812"/>
                  <a:pt x="1945" y="11873"/>
                  <a:pt x="2274" y="11918"/>
                </a:cubicBezTo>
                <a:cubicBezTo>
                  <a:pt x="2602" y="11963"/>
                  <a:pt x="2946" y="11985"/>
                  <a:pt x="3304" y="11985"/>
                </a:cubicBezTo>
                <a:cubicBezTo>
                  <a:pt x="5668" y="11985"/>
                  <a:pt x="5668" y="11985"/>
                  <a:pt x="5668" y="11985"/>
                </a:cubicBezTo>
                <a:cubicBezTo>
                  <a:pt x="5705" y="11985"/>
                  <a:pt x="5731" y="11970"/>
                  <a:pt x="5746" y="11941"/>
                </a:cubicBezTo>
                <a:cubicBezTo>
                  <a:pt x="5753" y="11926"/>
                  <a:pt x="5757" y="11907"/>
                  <a:pt x="5757" y="11884"/>
                </a:cubicBezTo>
                <a:cubicBezTo>
                  <a:pt x="5757" y="10574"/>
                  <a:pt x="5757" y="10574"/>
                  <a:pt x="5757" y="10574"/>
                </a:cubicBezTo>
                <a:cubicBezTo>
                  <a:pt x="5757" y="10193"/>
                  <a:pt x="5712" y="9878"/>
                  <a:pt x="5623" y="9628"/>
                </a:cubicBezTo>
                <a:cubicBezTo>
                  <a:pt x="5534" y="9378"/>
                  <a:pt x="5406" y="9174"/>
                  <a:pt x="5242" y="9018"/>
                </a:cubicBezTo>
                <a:cubicBezTo>
                  <a:pt x="5078" y="8860"/>
                  <a:pt x="4878" y="8741"/>
                  <a:pt x="4643" y="8659"/>
                </a:cubicBezTo>
                <a:cubicBezTo>
                  <a:pt x="4408" y="8577"/>
                  <a:pt x="4144" y="8513"/>
                  <a:pt x="3853" y="8469"/>
                </a:cubicBezTo>
                <a:cubicBezTo>
                  <a:pt x="3248" y="8379"/>
                  <a:pt x="2770" y="8297"/>
                  <a:pt x="2419" y="8222"/>
                </a:cubicBezTo>
                <a:cubicBezTo>
                  <a:pt x="2069" y="8147"/>
                  <a:pt x="1893" y="8039"/>
                  <a:pt x="1893" y="7897"/>
                </a:cubicBezTo>
                <a:cubicBezTo>
                  <a:pt x="1893" y="7696"/>
                  <a:pt x="2177" y="7595"/>
                  <a:pt x="2745" y="7595"/>
                </a:cubicBezTo>
                <a:cubicBezTo>
                  <a:pt x="3081" y="7595"/>
                  <a:pt x="3381" y="7630"/>
                  <a:pt x="3646" y="7701"/>
                </a:cubicBezTo>
                <a:close/>
                <a:moveTo>
                  <a:pt x="12027" y="840"/>
                </a:moveTo>
                <a:cubicBezTo>
                  <a:pt x="12027" y="376"/>
                  <a:pt x="11651" y="0"/>
                  <a:pt x="11187" y="0"/>
                </a:cubicBezTo>
                <a:cubicBezTo>
                  <a:pt x="10297" y="0"/>
                  <a:pt x="10297" y="0"/>
                  <a:pt x="10297" y="0"/>
                </a:cubicBezTo>
                <a:cubicBezTo>
                  <a:pt x="10253" y="1"/>
                  <a:pt x="10213" y="18"/>
                  <a:pt x="10183" y="46"/>
                </a:cubicBezTo>
                <a:cubicBezTo>
                  <a:pt x="8399" y="1721"/>
                  <a:pt x="8399" y="1721"/>
                  <a:pt x="8399" y="1721"/>
                </a:cubicBezTo>
                <a:cubicBezTo>
                  <a:pt x="7789" y="2294"/>
                  <a:pt x="6967" y="2617"/>
                  <a:pt x="6063" y="2617"/>
                </a:cubicBezTo>
                <a:cubicBezTo>
                  <a:pt x="5121" y="2617"/>
                  <a:pt x="4269" y="2265"/>
                  <a:pt x="3651" y="1648"/>
                </a:cubicBezTo>
                <a:cubicBezTo>
                  <a:pt x="3651" y="1648"/>
                  <a:pt x="2340" y="416"/>
                  <a:pt x="2328" y="405"/>
                </a:cubicBezTo>
                <a:cubicBezTo>
                  <a:pt x="2077" y="171"/>
                  <a:pt x="1730" y="9"/>
                  <a:pt x="1332" y="0"/>
                </a:cubicBezTo>
                <a:cubicBezTo>
                  <a:pt x="267" y="0"/>
                  <a:pt x="267" y="0"/>
                  <a:pt x="267" y="0"/>
                </a:cubicBezTo>
                <a:cubicBezTo>
                  <a:pt x="175" y="0"/>
                  <a:pt x="99" y="76"/>
                  <a:pt x="99" y="168"/>
                </a:cubicBezTo>
                <a:cubicBezTo>
                  <a:pt x="99" y="4872"/>
                  <a:pt x="99" y="4872"/>
                  <a:pt x="99" y="4872"/>
                </a:cubicBezTo>
                <a:cubicBezTo>
                  <a:pt x="99" y="5336"/>
                  <a:pt x="475" y="5712"/>
                  <a:pt x="939" y="5712"/>
                </a:cubicBezTo>
                <a:cubicBezTo>
                  <a:pt x="1264" y="5712"/>
                  <a:pt x="1264" y="5712"/>
                  <a:pt x="1264" y="5712"/>
                </a:cubicBezTo>
                <a:cubicBezTo>
                  <a:pt x="1484" y="5712"/>
                  <a:pt x="1484" y="5712"/>
                  <a:pt x="1484" y="5712"/>
                </a:cubicBezTo>
                <a:cubicBezTo>
                  <a:pt x="1577" y="5712"/>
                  <a:pt x="1653" y="5636"/>
                  <a:pt x="1653" y="5543"/>
                </a:cubicBezTo>
                <a:cubicBezTo>
                  <a:pt x="1653" y="3869"/>
                  <a:pt x="1653" y="3869"/>
                  <a:pt x="1653" y="3869"/>
                </a:cubicBezTo>
                <a:cubicBezTo>
                  <a:pt x="1653" y="3432"/>
                  <a:pt x="2010" y="3071"/>
                  <a:pt x="2441" y="3071"/>
                </a:cubicBezTo>
                <a:cubicBezTo>
                  <a:pt x="3242" y="3071"/>
                  <a:pt x="3816" y="3757"/>
                  <a:pt x="4335" y="4216"/>
                </a:cubicBezTo>
                <a:cubicBezTo>
                  <a:pt x="4971" y="4777"/>
                  <a:pt x="5461" y="5318"/>
                  <a:pt x="6063" y="5318"/>
                </a:cubicBezTo>
                <a:cubicBezTo>
                  <a:pt x="6665" y="5318"/>
                  <a:pt x="7155" y="4777"/>
                  <a:pt x="7791" y="4216"/>
                </a:cubicBezTo>
                <a:cubicBezTo>
                  <a:pt x="8310" y="3757"/>
                  <a:pt x="8884" y="3071"/>
                  <a:pt x="9685" y="3071"/>
                </a:cubicBezTo>
                <a:cubicBezTo>
                  <a:pt x="10113" y="3071"/>
                  <a:pt x="10469" y="3428"/>
                  <a:pt x="10473" y="3862"/>
                </a:cubicBezTo>
                <a:cubicBezTo>
                  <a:pt x="10473" y="3862"/>
                  <a:pt x="10473" y="4865"/>
                  <a:pt x="10473" y="4872"/>
                </a:cubicBezTo>
                <a:cubicBezTo>
                  <a:pt x="10473" y="5336"/>
                  <a:pt x="10849" y="5711"/>
                  <a:pt x="11313" y="5711"/>
                </a:cubicBezTo>
                <a:cubicBezTo>
                  <a:pt x="11313" y="5711"/>
                  <a:pt x="11662" y="5711"/>
                  <a:pt x="11676" y="5711"/>
                </a:cubicBezTo>
                <a:cubicBezTo>
                  <a:pt x="11770" y="5711"/>
                  <a:pt x="11858" y="5712"/>
                  <a:pt x="11858" y="5712"/>
                </a:cubicBezTo>
                <a:cubicBezTo>
                  <a:pt x="11858" y="5712"/>
                  <a:pt x="11858" y="5712"/>
                  <a:pt x="11858" y="5712"/>
                </a:cubicBezTo>
                <a:cubicBezTo>
                  <a:pt x="11951" y="5712"/>
                  <a:pt x="12027" y="5636"/>
                  <a:pt x="12027" y="5543"/>
                </a:cubicBezTo>
                <a:cubicBezTo>
                  <a:pt x="12027" y="5541"/>
                  <a:pt x="12027" y="880"/>
                  <a:pt x="12027" y="840"/>
                </a:cubicBezTo>
                <a:close/>
                <a:moveTo>
                  <a:pt x="41328" y="5154"/>
                </a:moveTo>
                <a:cubicBezTo>
                  <a:pt x="41328" y="5550"/>
                  <a:pt x="41328" y="5550"/>
                  <a:pt x="41328" y="5550"/>
                </a:cubicBezTo>
                <a:cubicBezTo>
                  <a:pt x="41328" y="5655"/>
                  <a:pt x="41284" y="5713"/>
                  <a:pt x="41196" y="5713"/>
                </a:cubicBezTo>
                <a:cubicBezTo>
                  <a:pt x="39953" y="5711"/>
                  <a:pt x="39953" y="5711"/>
                  <a:pt x="39953" y="5711"/>
                </a:cubicBezTo>
                <a:cubicBezTo>
                  <a:pt x="39741" y="5711"/>
                  <a:pt x="39544" y="5637"/>
                  <a:pt x="39361" y="5504"/>
                </a:cubicBezTo>
                <a:cubicBezTo>
                  <a:pt x="39361" y="5504"/>
                  <a:pt x="37482" y="4022"/>
                  <a:pt x="37476" y="4017"/>
                </a:cubicBezTo>
                <a:cubicBezTo>
                  <a:pt x="37350" y="3905"/>
                  <a:pt x="37266" y="3719"/>
                  <a:pt x="37266" y="3508"/>
                </a:cubicBezTo>
                <a:cubicBezTo>
                  <a:pt x="37266" y="3508"/>
                  <a:pt x="37266" y="2897"/>
                  <a:pt x="37266" y="2897"/>
                </a:cubicBezTo>
                <a:cubicBezTo>
                  <a:pt x="37266" y="2793"/>
                  <a:pt x="37298" y="2741"/>
                  <a:pt x="37364" y="2741"/>
                </a:cubicBezTo>
                <a:cubicBezTo>
                  <a:pt x="37430" y="2741"/>
                  <a:pt x="37520" y="2784"/>
                  <a:pt x="37565" y="2798"/>
                </a:cubicBezTo>
                <a:cubicBezTo>
                  <a:pt x="37662" y="2833"/>
                  <a:pt x="37784" y="2866"/>
                  <a:pt x="37791" y="2868"/>
                </a:cubicBezTo>
                <a:cubicBezTo>
                  <a:pt x="37986" y="2930"/>
                  <a:pt x="38177" y="2963"/>
                  <a:pt x="38363" y="2963"/>
                </a:cubicBezTo>
                <a:cubicBezTo>
                  <a:pt x="38752" y="2963"/>
                  <a:pt x="39062" y="2790"/>
                  <a:pt x="39160" y="2513"/>
                </a:cubicBezTo>
                <a:cubicBezTo>
                  <a:pt x="39251" y="2257"/>
                  <a:pt x="38997" y="1663"/>
                  <a:pt x="38135" y="1445"/>
                </a:cubicBezTo>
                <a:cubicBezTo>
                  <a:pt x="37489" y="1282"/>
                  <a:pt x="36888" y="1408"/>
                  <a:pt x="36713" y="1731"/>
                </a:cubicBezTo>
                <a:cubicBezTo>
                  <a:pt x="36713" y="1731"/>
                  <a:pt x="36686" y="1781"/>
                  <a:pt x="36670" y="1833"/>
                </a:cubicBezTo>
                <a:cubicBezTo>
                  <a:pt x="36655" y="1883"/>
                  <a:pt x="36651" y="1958"/>
                  <a:pt x="36651" y="1989"/>
                </a:cubicBezTo>
                <a:cubicBezTo>
                  <a:pt x="36651" y="1989"/>
                  <a:pt x="36651" y="4294"/>
                  <a:pt x="36651" y="4327"/>
                </a:cubicBezTo>
                <a:cubicBezTo>
                  <a:pt x="36651" y="4678"/>
                  <a:pt x="36597" y="5004"/>
                  <a:pt x="36379" y="5291"/>
                </a:cubicBezTo>
                <a:cubicBezTo>
                  <a:pt x="36254" y="5457"/>
                  <a:pt x="36086" y="5593"/>
                  <a:pt x="35890" y="5657"/>
                </a:cubicBezTo>
                <a:cubicBezTo>
                  <a:pt x="35762" y="5697"/>
                  <a:pt x="35622" y="5712"/>
                  <a:pt x="35492" y="5712"/>
                </a:cubicBezTo>
                <a:cubicBezTo>
                  <a:pt x="35401" y="5712"/>
                  <a:pt x="35241" y="5707"/>
                  <a:pt x="35169" y="5669"/>
                </a:cubicBezTo>
                <a:cubicBezTo>
                  <a:pt x="35115" y="5639"/>
                  <a:pt x="35115" y="5581"/>
                  <a:pt x="35115" y="5527"/>
                </a:cubicBezTo>
                <a:cubicBezTo>
                  <a:pt x="35115" y="5143"/>
                  <a:pt x="35115" y="5143"/>
                  <a:pt x="35115" y="5143"/>
                </a:cubicBezTo>
                <a:cubicBezTo>
                  <a:pt x="35115" y="4848"/>
                  <a:pt x="35115" y="4848"/>
                  <a:pt x="35115" y="4848"/>
                </a:cubicBezTo>
                <a:cubicBezTo>
                  <a:pt x="35115" y="3990"/>
                  <a:pt x="35115" y="3990"/>
                  <a:pt x="35115" y="3990"/>
                </a:cubicBezTo>
                <a:cubicBezTo>
                  <a:pt x="35115" y="3990"/>
                  <a:pt x="35115" y="134"/>
                  <a:pt x="35115" y="124"/>
                </a:cubicBezTo>
                <a:cubicBezTo>
                  <a:pt x="35115" y="56"/>
                  <a:pt x="35171" y="0"/>
                  <a:pt x="35239" y="0"/>
                </a:cubicBezTo>
                <a:cubicBezTo>
                  <a:pt x="35243" y="0"/>
                  <a:pt x="37546" y="0"/>
                  <a:pt x="37546" y="0"/>
                </a:cubicBezTo>
                <a:cubicBezTo>
                  <a:pt x="37926" y="0"/>
                  <a:pt x="38306" y="64"/>
                  <a:pt x="38697" y="195"/>
                </a:cubicBezTo>
                <a:cubicBezTo>
                  <a:pt x="39088" y="326"/>
                  <a:pt x="39442" y="502"/>
                  <a:pt x="39756" y="726"/>
                </a:cubicBezTo>
                <a:cubicBezTo>
                  <a:pt x="40071" y="950"/>
                  <a:pt x="40327" y="1213"/>
                  <a:pt x="40524" y="1515"/>
                </a:cubicBezTo>
                <a:cubicBezTo>
                  <a:pt x="40722" y="1817"/>
                  <a:pt x="40820" y="2140"/>
                  <a:pt x="40820" y="2483"/>
                </a:cubicBezTo>
                <a:cubicBezTo>
                  <a:pt x="40820" y="2848"/>
                  <a:pt x="40711" y="3140"/>
                  <a:pt x="40508" y="3372"/>
                </a:cubicBezTo>
                <a:cubicBezTo>
                  <a:pt x="40181" y="3746"/>
                  <a:pt x="39821" y="3890"/>
                  <a:pt x="39711" y="3960"/>
                </a:cubicBezTo>
                <a:cubicBezTo>
                  <a:pt x="39809" y="4037"/>
                  <a:pt x="40036" y="4217"/>
                  <a:pt x="40343" y="4460"/>
                </a:cubicBezTo>
                <a:cubicBezTo>
                  <a:pt x="40937" y="4930"/>
                  <a:pt x="41237" y="5013"/>
                  <a:pt x="41238" y="5013"/>
                </a:cubicBezTo>
                <a:cubicBezTo>
                  <a:pt x="41280" y="5030"/>
                  <a:pt x="41328" y="5093"/>
                  <a:pt x="41328" y="5154"/>
                </a:cubicBezTo>
                <a:close/>
                <a:moveTo>
                  <a:pt x="46158" y="4229"/>
                </a:moveTo>
                <a:cubicBezTo>
                  <a:pt x="44501" y="4229"/>
                  <a:pt x="44501" y="4229"/>
                  <a:pt x="44501" y="4229"/>
                </a:cubicBezTo>
                <a:cubicBezTo>
                  <a:pt x="44265" y="4229"/>
                  <a:pt x="44051" y="4167"/>
                  <a:pt x="43843" y="4078"/>
                </a:cubicBezTo>
                <a:cubicBezTo>
                  <a:pt x="43665" y="4002"/>
                  <a:pt x="43392" y="3765"/>
                  <a:pt x="43311" y="3675"/>
                </a:cubicBezTo>
                <a:cubicBezTo>
                  <a:pt x="43159" y="3507"/>
                  <a:pt x="43041" y="3313"/>
                  <a:pt x="42956" y="3093"/>
                </a:cubicBezTo>
                <a:cubicBezTo>
                  <a:pt x="42871" y="2874"/>
                  <a:pt x="42829" y="2648"/>
                  <a:pt x="42829" y="2417"/>
                </a:cubicBezTo>
                <a:cubicBezTo>
                  <a:pt x="42829" y="2119"/>
                  <a:pt x="42913" y="1887"/>
                  <a:pt x="43083" y="1723"/>
                </a:cubicBezTo>
                <a:cubicBezTo>
                  <a:pt x="43104" y="1703"/>
                  <a:pt x="43177" y="1643"/>
                  <a:pt x="43262" y="1593"/>
                </a:cubicBezTo>
                <a:cubicBezTo>
                  <a:pt x="43347" y="1543"/>
                  <a:pt x="43440" y="1518"/>
                  <a:pt x="43501" y="1505"/>
                </a:cubicBezTo>
                <a:cubicBezTo>
                  <a:pt x="43599" y="1481"/>
                  <a:pt x="43708" y="1468"/>
                  <a:pt x="43824" y="1468"/>
                </a:cubicBezTo>
                <a:cubicBezTo>
                  <a:pt x="43939" y="1468"/>
                  <a:pt x="44047" y="1481"/>
                  <a:pt x="44146" y="1504"/>
                </a:cubicBezTo>
                <a:cubicBezTo>
                  <a:pt x="44332" y="1541"/>
                  <a:pt x="44515" y="1615"/>
                  <a:pt x="44695" y="1729"/>
                </a:cubicBezTo>
                <a:cubicBezTo>
                  <a:pt x="44953" y="1892"/>
                  <a:pt x="45227" y="2141"/>
                  <a:pt x="45410" y="2381"/>
                </a:cubicBezTo>
                <a:cubicBezTo>
                  <a:pt x="43687" y="2380"/>
                  <a:pt x="43687" y="2380"/>
                  <a:pt x="43687" y="2380"/>
                </a:cubicBezTo>
                <a:cubicBezTo>
                  <a:pt x="43583" y="2380"/>
                  <a:pt x="43532" y="2426"/>
                  <a:pt x="43532" y="2515"/>
                </a:cubicBezTo>
                <a:cubicBezTo>
                  <a:pt x="43532" y="2694"/>
                  <a:pt x="43559" y="2809"/>
                  <a:pt x="43629" y="2954"/>
                </a:cubicBezTo>
                <a:cubicBezTo>
                  <a:pt x="43699" y="3099"/>
                  <a:pt x="44031" y="3605"/>
                  <a:pt x="44709" y="3605"/>
                </a:cubicBezTo>
                <a:cubicBezTo>
                  <a:pt x="46313" y="3606"/>
                  <a:pt x="46313" y="3606"/>
                  <a:pt x="46313" y="3606"/>
                </a:cubicBezTo>
                <a:cubicBezTo>
                  <a:pt x="46594" y="3606"/>
                  <a:pt x="46788" y="3532"/>
                  <a:pt x="46895" y="3382"/>
                </a:cubicBezTo>
                <a:cubicBezTo>
                  <a:pt x="47002" y="3234"/>
                  <a:pt x="47033" y="3105"/>
                  <a:pt x="47033" y="2904"/>
                </a:cubicBezTo>
                <a:cubicBezTo>
                  <a:pt x="47033" y="2576"/>
                  <a:pt x="46946" y="2254"/>
                  <a:pt x="46773" y="1908"/>
                </a:cubicBezTo>
                <a:cubicBezTo>
                  <a:pt x="46599" y="1561"/>
                  <a:pt x="46364" y="1246"/>
                  <a:pt x="46069" y="962"/>
                </a:cubicBezTo>
                <a:cubicBezTo>
                  <a:pt x="45774" y="679"/>
                  <a:pt x="45430" y="448"/>
                  <a:pt x="45039" y="269"/>
                </a:cubicBezTo>
                <a:cubicBezTo>
                  <a:pt x="44647" y="90"/>
                  <a:pt x="44237" y="0"/>
                  <a:pt x="43809" y="0"/>
                </a:cubicBezTo>
                <a:cubicBezTo>
                  <a:pt x="43809" y="0"/>
                  <a:pt x="41455" y="0"/>
                  <a:pt x="41452" y="0"/>
                </a:cubicBezTo>
                <a:cubicBezTo>
                  <a:pt x="41383" y="0"/>
                  <a:pt x="41328" y="56"/>
                  <a:pt x="41328" y="124"/>
                </a:cubicBezTo>
                <a:cubicBezTo>
                  <a:pt x="41328" y="134"/>
                  <a:pt x="41328" y="2473"/>
                  <a:pt x="41328" y="2473"/>
                </a:cubicBezTo>
                <a:cubicBezTo>
                  <a:pt x="41328" y="2913"/>
                  <a:pt x="41412" y="3328"/>
                  <a:pt x="41582" y="3720"/>
                </a:cubicBezTo>
                <a:cubicBezTo>
                  <a:pt x="41752" y="4112"/>
                  <a:pt x="41983" y="4455"/>
                  <a:pt x="42275" y="4749"/>
                </a:cubicBezTo>
                <a:cubicBezTo>
                  <a:pt x="42566" y="5044"/>
                  <a:pt x="42906" y="5277"/>
                  <a:pt x="43294" y="5448"/>
                </a:cubicBezTo>
                <a:cubicBezTo>
                  <a:pt x="43682" y="5620"/>
                  <a:pt x="44099" y="5712"/>
                  <a:pt x="44542" y="5712"/>
                </a:cubicBezTo>
                <a:cubicBezTo>
                  <a:pt x="46909" y="5712"/>
                  <a:pt x="46909" y="5712"/>
                  <a:pt x="46909" y="5712"/>
                </a:cubicBezTo>
                <a:cubicBezTo>
                  <a:pt x="46978" y="5712"/>
                  <a:pt x="47033" y="5657"/>
                  <a:pt x="47033" y="5588"/>
                </a:cubicBezTo>
                <a:cubicBezTo>
                  <a:pt x="47033" y="5113"/>
                  <a:pt x="47033" y="5113"/>
                  <a:pt x="47033" y="5113"/>
                </a:cubicBezTo>
                <a:cubicBezTo>
                  <a:pt x="47033" y="4837"/>
                  <a:pt x="46955" y="4621"/>
                  <a:pt x="46800" y="4464"/>
                </a:cubicBezTo>
                <a:cubicBezTo>
                  <a:pt x="46645" y="4307"/>
                  <a:pt x="46431" y="4229"/>
                  <a:pt x="46158" y="4229"/>
                </a:cubicBezTo>
                <a:close/>
                <a:moveTo>
                  <a:pt x="28986" y="0"/>
                </a:moveTo>
                <a:cubicBezTo>
                  <a:pt x="28896" y="0"/>
                  <a:pt x="28851" y="52"/>
                  <a:pt x="28851" y="157"/>
                </a:cubicBezTo>
                <a:cubicBezTo>
                  <a:pt x="28851" y="2476"/>
                  <a:pt x="28851" y="2476"/>
                  <a:pt x="28851" y="2476"/>
                </a:cubicBezTo>
                <a:cubicBezTo>
                  <a:pt x="28851" y="2923"/>
                  <a:pt x="28944" y="3349"/>
                  <a:pt x="29132" y="3752"/>
                </a:cubicBezTo>
                <a:cubicBezTo>
                  <a:pt x="29318" y="4155"/>
                  <a:pt x="29566" y="4512"/>
                  <a:pt x="29876" y="4822"/>
                </a:cubicBezTo>
                <a:cubicBezTo>
                  <a:pt x="30186" y="5131"/>
                  <a:pt x="30543" y="5376"/>
                  <a:pt x="30945" y="5555"/>
                </a:cubicBezTo>
                <a:cubicBezTo>
                  <a:pt x="31349" y="5735"/>
                  <a:pt x="31767" y="5824"/>
                  <a:pt x="32200" y="5824"/>
                </a:cubicBezTo>
                <a:cubicBezTo>
                  <a:pt x="32574" y="5824"/>
                  <a:pt x="32911" y="5765"/>
                  <a:pt x="33213" y="5644"/>
                </a:cubicBezTo>
                <a:cubicBezTo>
                  <a:pt x="33516" y="5525"/>
                  <a:pt x="33775" y="5358"/>
                  <a:pt x="33992" y="5141"/>
                </a:cubicBezTo>
                <a:cubicBezTo>
                  <a:pt x="34208" y="4924"/>
                  <a:pt x="34376" y="4665"/>
                  <a:pt x="34496" y="4363"/>
                </a:cubicBezTo>
                <a:cubicBezTo>
                  <a:pt x="34616" y="4060"/>
                  <a:pt x="34676" y="3722"/>
                  <a:pt x="34676" y="3349"/>
                </a:cubicBezTo>
                <a:cubicBezTo>
                  <a:pt x="34676" y="2901"/>
                  <a:pt x="34582" y="2476"/>
                  <a:pt x="34395" y="2072"/>
                </a:cubicBezTo>
                <a:cubicBezTo>
                  <a:pt x="34208" y="1669"/>
                  <a:pt x="33960" y="1312"/>
                  <a:pt x="33651" y="1003"/>
                </a:cubicBezTo>
                <a:cubicBezTo>
                  <a:pt x="33341" y="693"/>
                  <a:pt x="32984" y="448"/>
                  <a:pt x="32581" y="269"/>
                </a:cubicBezTo>
                <a:cubicBezTo>
                  <a:pt x="32178" y="90"/>
                  <a:pt x="31760" y="0"/>
                  <a:pt x="31327" y="0"/>
                </a:cubicBezTo>
                <a:lnTo>
                  <a:pt x="28986" y="0"/>
                </a:lnTo>
                <a:close/>
                <a:moveTo>
                  <a:pt x="30677" y="1748"/>
                </a:moveTo>
                <a:cubicBezTo>
                  <a:pt x="30849" y="1568"/>
                  <a:pt x="31069" y="1478"/>
                  <a:pt x="31338" y="1478"/>
                </a:cubicBezTo>
                <a:cubicBezTo>
                  <a:pt x="31547" y="1478"/>
                  <a:pt x="31756" y="1536"/>
                  <a:pt x="31965" y="1652"/>
                </a:cubicBezTo>
                <a:cubicBezTo>
                  <a:pt x="32174" y="1768"/>
                  <a:pt x="32363" y="1918"/>
                  <a:pt x="32531" y="2100"/>
                </a:cubicBezTo>
                <a:cubicBezTo>
                  <a:pt x="32698" y="2283"/>
                  <a:pt x="32836" y="2487"/>
                  <a:pt x="32945" y="2711"/>
                </a:cubicBezTo>
                <a:cubicBezTo>
                  <a:pt x="33053" y="2934"/>
                  <a:pt x="33107" y="3159"/>
                  <a:pt x="33107" y="3383"/>
                </a:cubicBezTo>
                <a:cubicBezTo>
                  <a:pt x="33107" y="3666"/>
                  <a:pt x="33023" y="3898"/>
                  <a:pt x="32855" y="4077"/>
                </a:cubicBezTo>
                <a:cubicBezTo>
                  <a:pt x="32687" y="4256"/>
                  <a:pt x="32465" y="4346"/>
                  <a:pt x="32189" y="4346"/>
                </a:cubicBezTo>
                <a:cubicBezTo>
                  <a:pt x="31980" y="4346"/>
                  <a:pt x="31771" y="4288"/>
                  <a:pt x="31562" y="4172"/>
                </a:cubicBezTo>
                <a:cubicBezTo>
                  <a:pt x="31352" y="4056"/>
                  <a:pt x="31165" y="3907"/>
                  <a:pt x="30997" y="3724"/>
                </a:cubicBezTo>
                <a:cubicBezTo>
                  <a:pt x="30829" y="3541"/>
                  <a:pt x="30690" y="3337"/>
                  <a:pt x="30582" y="3114"/>
                </a:cubicBezTo>
                <a:cubicBezTo>
                  <a:pt x="30473" y="2890"/>
                  <a:pt x="30420" y="2666"/>
                  <a:pt x="30420" y="2442"/>
                </a:cubicBezTo>
                <a:cubicBezTo>
                  <a:pt x="30420" y="2158"/>
                  <a:pt x="30505" y="1927"/>
                  <a:pt x="30677" y="1748"/>
                </a:cubicBezTo>
                <a:close/>
                <a:moveTo>
                  <a:pt x="26686" y="7111"/>
                </a:moveTo>
                <a:cubicBezTo>
                  <a:pt x="26686" y="6647"/>
                  <a:pt x="26310" y="6271"/>
                  <a:pt x="25846" y="6271"/>
                </a:cubicBezTo>
                <a:cubicBezTo>
                  <a:pt x="24957" y="6271"/>
                  <a:pt x="24957" y="6271"/>
                  <a:pt x="24957" y="6271"/>
                </a:cubicBezTo>
                <a:cubicBezTo>
                  <a:pt x="24912" y="6271"/>
                  <a:pt x="24872" y="6289"/>
                  <a:pt x="24842" y="6317"/>
                </a:cubicBezTo>
                <a:cubicBezTo>
                  <a:pt x="23059" y="7991"/>
                  <a:pt x="23059" y="7991"/>
                  <a:pt x="23059" y="7991"/>
                </a:cubicBezTo>
                <a:cubicBezTo>
                  <a:pt x="22448" y="8565"/>
                  <a:pt x="21626" y="8887"/>
                  <a:pt x="20722" y="8887"/>
                </a:cubicBezTo>
                <a:cubicBezTo>
                  <a:pt x="19781" y="8887"/>
                  <a:pt x="18928" y="8535"/>
                  <a:pt x="18311" y="7918"/>
                </a:cubicBezTo>
                <a:cubicBezTo>
                  <a:pt x="18311" y="7918"/>
                  <a:pt x="17000" y="6687"/>
                  <a:pt x="16988" y="6676"/>
                </a:cubicBezTo>
                <a:cubicBezTo>
                  <a:pt x="16736" y="6441"/>
                  <a:pt x="16390" y="6280"/>
                  <a:pt x="15991" y="6271"/>
                </a:cubicBezTo>
                <a:cubicBezTo>
                  <a:pt x="14927" y="6271"/>
                  <a:pt x="14927" y="6271"/>
                  <a:pt x="14927" y="6271"/>
                </a:cubicBezTo>
                <a:cubicBezTo>
                  <a:pt x="14834" y="6271"/>
                  <a:pt x="14759" y="6346"/>
                  <a:pt x="14759" y="6439"/>
                </a:cubicBezTo>
                <a:cubicBezTo>
                  <a:pt x="14759" y="11142"/>
                  <a:pt x="14759" y="11142"/>
                  <a:pt x="14759" y="11142"/>
                </a:cubicBezTo>
                <a:cubicBezTo>
                  <a:pt x="14759" y="11606"/>
                  <a:pt x="15135" y="11983"/>
                  <a:pt x="15599" y="11983"/>
                </a:cubicBezTo>
                <a:cubicBezTo>
                  <a:pt x="15924" y="11983"/>
                  <a:pt x="15924" y="11983"/>
                  <a:pt x="15924" y="11983"/>
                </a:cubicBezTo>
                <a:cubicBezTo>
                  <a:pt x="16144" y="11982"/>
                  <a:pt x="16144" y="11982"/>
                  <a:pt x="16144" y="11982"/>
                </a:cubicBezTo>
                <a:cubicBezTo>
                  <a:pt x="16236" y="11982"/>
                  <a:pt x="16312" y="11907"/>
                  <a:pt x="16312" y="11813"/>
                </a:cubicBezTo>
                <a:cubicBezTo>
                  <a:pt x="16313" y="10140"/>
                  <a:pt x="16313" y="10140"/>
                  <a:pt x="16313" y="10140"/>
                </a:cubicBezTo>
                <a:cubicBezTo>
                  <a:pt x="16313" y="9702"/>
                  <a:pt x="16670" y="9342"/>
                  <a:pt x="17100" y="9342"/>
                </a:cubicBezTo>
                <a:cubicBezTo>
                  <a:pt x="17901" y="9342"/>
                  <a:pt x="18476" y="10028"/>
                  <a:pt x="18995" y="10486"/>
                </a:cubicBezTo>
                <a:cubicBezTo>
                  <a:pt x="19630" y="11048"/>
                  <a:pt x="20120" y="11589"/>
                  <a:pt x="20722" y="11589"/>
                </a:cubicBezTo>
                <a:cubicBezTo>
                  <a:pt x="21325" y="11589"/>
                  <a:pt x="21814" y="11048"/>
                  <a:pt x="22450" y="10486"/>
                </a:cubicBezTo>
                <a:cubicBezTo>
                  <a:pt x="22969" y="10028"/>
                  <a:pt x="23544" y="9342"/>
                  <a:pt x="24345" y="9342"/>
                </a:cubicBezTo>
                <a:cubicBezTo>
                  <a:pt x="24773" y="9342"/>
                  <a:pt x="25128" y="9698"/>
                  <a:pt x="25132" y="10133"/>
                </a:cubicBezTo>
                <a:cubicBezTo>
                  <a:pt x="25132" y="10133"/>
                  <a:pt x="25132" y="11136"/>
                  <a:pt x="25132" y="11142"/>
                </a:cubicBezTo>
                <a:cubicBezTo>
                  <a:pt x="25132" y="11606"/>
                  <a:pt x="25508" y="11981"/>
                  <a:pt x="25972" y="11981"/>
                </a:cubicBezTo>
                <a:cubicBezTo>
                  <a:pt x="25972" y="11981"/>
                  <a:pt x="26321" y="11981"/>
                  <a:pt x="26335" y="11981"/>
                </a:cubicBezTo>
                <a:cubicBezTo>
                  <a:pt x="26430" y="11981"/>
                  <a:pt x="26517" y="11983"/>
                  <a:pt x="26517" y="11983"/>
                </a:cubicBezTo>
                <a:cubicBezTo>
                  <a:pt x="26517" y="11982"/>
                  <a:pt x="26517" y="11982"/>
                  <a:pt x="26517" y="11982"/>
                </a:cubicBezTo>
                <a:cubicBezTo>
                  <a:pt x="26611" y="11982"/>
                  <a:pt x="26686" y="11907"/>
                  <a:pt x="26686" y="11814"/>
                </a:cubicBezTo>
                <a:cubicBezTo>
                  <a:pt x="26686" y="11811"/>
                  <a:pt x="26686" y="7150"/>
                  <a:pt x="26686" y="7111"/>
                </a:cubicBezTo>
                <a:close/>
                <a:moveTo>
                  <a:pt x="14175" y="1321"/>
                </a:moveTo>
                <a:cubicBezTo>
                  <a:pt x="14175" y="884"/>
                  <a:pt x="14175" y="884"/>
                  <a:pt x="14175" y="884"/>
                </a:cubicBezTo>
                <a:cubicBezTo>
                  <a:pt x="14175" y="608"/>
                  <a:pt x="14097" y="392"/>
                  <a:pt x="13940" y="235"/>
                </a:cubicBezTo>
                <a:cubicBezTo>
                  <a:pt x="13783" y="78"/>
                  <a:pt x="13567" y="0"/>
                  <a:pt x="13290" y="0"/>
                </a:cubicBezTo>
                <a:cubicBezTo>
                  <a:pt x="12741" y="0"/>
                  <a:pt x="12741" y="0"/>
                  <a:pt x="12741" y="0"/>
                </a:cubicBezTo>
                <a:cubicBezTo>
                  <a:pt x="12652" y="0"/>
                  <a:pt x="12607" y="52"/>
                  <a:pt x="12607" y="157"/>
                </a:cubicBezTo>
                <a:cubicBezTo>
                  <a:pt x="12607" y="1321"/>
                  <a:pt x="12607" y="1321"/>
                  <a:pt x="12607" y="1321"/>
                </a:cubicBezTo>
                <a:cubicBezTo>
                  <a:pt x="12607" y="1425"/>
                  <a:pt x="12652" y="1477"/>
                  <a:pt x="12741" y="1477"/>
                </a:cubicBezTo>
                <a:cubicBezTo>
                  <a:pt x="14041" y="1477"/>
                  <a:pt x="14041" y="1477"/>
                  <a:pt x="14041" y="1477"/>
                </a:cubicBezTo>
                <a:cubicBezTo>
                  <a:pt x="14131" y="1477"/>
                  <a:pt x="14175" y="1425"/>
                  <a:pt x="14175" y="1321"/>
                </a:cubicBezTo>
                <a:moveTo>
                  <a:pt x="14175" y="5578"/>
                </a:moveTo>
                <a:cubicBezTo>
                  <a:pt x="14175" y="2897"/>
                  <a:pt x="14175" y="2897"/>
                  <a:pt x="14175" y="2897"/>
                </a:cubicBezTo>
                <a:cubicBezTo>
                  <a:pt x="14174" y="2897"/>
                  <a:pt x="14174" y="2897"/>
                  <a:pt x="14174" y="2897"/>
                </a:cubicBezTo>
                <a:cubicBezTo>
                  <a:pt x="14172" y="2626"/>
                  <a:pt x="14094" y="2414"/>
                  <a:pt x="13940" y="2259"/>
                </a:cubicBezTo>
                <a:cubicBezTo>
                  <a:pt x="13783" y="2102"/>
                  <a:pt x="13567" y="2024"/>
                  <a:pt x="13290" y="2024"/>
                </a:cubicBezTo>
                <a:cubicBezTo>
                  <a:pt x="12764" y="2024"/>
                  <a:pt x="12764" y="2024"/>
                  <a:pt x="12764" y="2024"/>
                </a:cubicBezTo>
                <a:cubicBezTo>
                  <a:pt x="12660" y="2024"/>
                  <a:pt x="12607" y="2068"/>
                  <a:pt x="12607" y="2158"/>
                </a:cubicBezTo>
                <a:cubicBezTo>
                  <a:pt x="12607" y="2897"/>
                  <a:pt x="12607" y="2897"/>
                  <a:pt x="12607" y="2897"/>
                </a:cubicBezTo>
                <a:cubicBezTo>
                  <a:pt x="12607" y="4827"/>
                  <a:pt x="12607" y="4827"/>
                  <a:pt x="12607" y="4827"/>
                </a:cubicBezTo>
                <a:cubicBezTo>
                  <a:pt x="12607" y="5104"/>
                  <a:pt x="12686" y="5321"/>
                  <a:pt x="12842" y="5477"/>
                </a:cubicBezTo>
                <a:cubicBezTo>
                  <a:pt x="12999" y="5634"/>
                  <a:pt x="13216" y="5712"/>
                  <a:pt x="13492" y="5712"/>
                </a:cubicBezTo>
                <a:cubicBezTo>
                  <a:pt x="14018" y="5712"/>
                  <a:pt x="14018" y="5712"/>
                  <a:pt x="14018" y="5712"/>
                </a:cubicBezTo>
                <a:cubicBezTo>
                  <a:pt x="14123" y="5712"/>
                  <a:pt x="14175" y="5668"/>
                  <a:pt x="14175" y="5578"/>
                </a:cubicBezTo>
                <a:moveTo>
                  <a:pt x="17332" y="5621"/>
                </a:moveTo>
                <a:cubicBezTo>
                  <a:pt x="17332" y="4412"/>
                  <a:pt x="17332" y="4412"/>
                  <a:pt x="17332" y="4412"/>
                </a:cubicBezTo>
                <a:cubicBezTo>
                  <a:pt x="17332" y="4359"/>
                  <a:pt x="17321" y="4326"/>
                  <a:pt x="17298" y="4311"/>
                </a:cubicBezTo>
                <a:cubicBezTo>
                  <a:pt x="17276" y="4296"/>
                  <a:pt x="17235" y="4281"/>
                  <a:pt x="17175" y="4265"/>
                </a:cubicBezTo>
                <a:cubicBezTo>
                  <a:pt x="17063" y="4244"/>
                  <a:pt x="16957" y="4199"/>
                  <a:pt x="16856" y="4131"/>
                </a:cubicBezTo>
                <a:cubicBezTo>
                  <a:pt x="16755" y="4065"/>
                  <a:pt x="16666" y="3986"/>
                  <a:pt x="16587" y="3897"/>
                </a:cubicBezTo>
                <a:cubicBezTo>
                  <a:pt x="16509" y="3807"/>
                  <a:pt x="16445" y="3708"/>
                  <a:pt x="16397" y="3600"/>
                </a:cubicBezTo>
                <a:cubicBezTo>
                  <a:pt x="16348" y="3492"/>
                  <a:pt x="16324" y="3382"/>
                  <a:pt x="16324" y="3269"/>
                </a:cubicBezTo>
                <a:cubicBezTo>
                  <a:pt x="16324" y="885"/>
                  <a:pt x="16324" y="885"/>
                  <a:pt x="16324" y="885"/>
                </a:cubicBezTo>
                <a:cubicBezTo>
                  <a:pt x="16324" y="609"/>
                  <a:pt x="16246" y="392"/>
                  <a:pt x="16089" y="236"/>
                </a:cubicBezTo>
                <a:cubicBezTo>
                  <a:pt x="15932" y="78"/>
                  <a:pt x="15715" y="0"/>
                  <a:pt x="15440" y="0"/>
                </a:cubicBezTo>
                <a:cubicBezTo>
                  <a:pt x="14913" y="0"/>
                  <a:pt x="14913" y="0"/>
                  <a:pt x="14913" y="0"/>
                </a:cubicBezTo>
                <a:cubicBezTo>
                  <a:pt x="14808" y="0"/>
                  <a:pt x="14757" y="45"/>
                  <a:pt x="14757" y="135"/>
                </a:cubicBezTo>
                <a:cubicBezTo>
                  <a:pt x="14757" y="3314"/>
                  <a:pt x="14757" y="3314"/>
                  <a:pt x="14757" y="3314"/>
                </a:cubicBezTo>
                <a:cubicBezTo>
                  <a:pt x="14757" y="3642"/>
                  <a:pt x="14822" y="3949"/>
                  <a:pt x="14952" y="4233"/>
                </a:cubicBezTo>
                <a:cubicBezTo>
                  <a:pt x="15083" y="4516"/>
                  <a:pt x="15258" y="4768"/>
                  <a:pt x="15479" y="4989"/>
                </a:cubicBezTo>
                <a:cubicBezTo>
                  <a:pt x="15698" y="5208"/>
                  <a:pt x="15955" y="5386"/>
                  <a:pt x="16246" y="5520"/>
                </a:cubicBezTo>
                <a:cubicBezTo>
                  <a:pt x="16537" y="5655"/>
                  <a:pt x="16847" y="5737"/>
                  <a:pt x="17175" y="5766"/>
                </a:cubicBezTo>
                <a:cubicBezTo>
                  <a:pt x="17280" y="5774"/>
                  <a:pt x="17332" y="5726"/>
                  <a:pt x="17332" y="5621"/>
                </a:cubicBezTo>
                <a:moveTo>
                  <a:pt x="26793" y="2823"/>
                </a:moveTo>
                <a:cubicBezTo>
                  <a:pt x="26793" y="3018"/>
                  <a:pt x="26716" y="3172"/>
                  <a:pt x="26563" y="3287"/>
                </a:cubicBezTo>
                <a:cubicBezTo>
                  <a:pt x="26410" y="3404"/>
                  <a:pt x="26206" y="3462"/>
                  <a:pt x="25953" y="3462"/>
                </a:cubicBezTo>
                <a:cubicBezTo>
                  <a:pt x="25736" y="3462"/>
                  <a:pt x="25525" y="3420"/>
                  <a:pt x="25320" y="3338"/>
                </a:cubicBezTo>
                <a:cubicBezTo>
                  <a:pt x="25114" y="3256"/>
                  <a:pt x="24928" y="3152"/>
                  <a:pt x="24760" y="3025"/>
                </a:cubicBezTo>
                <a:cubicBezTo>
                  <a:pt x="24592" y="2898"/>
                  <a:pt x="24458" y="2752"/>
                  <a:pt x="24357" y="2588"/>
                </a:cubicBezTo>
                <a:cubicBezTo>
                  <a:pt x="24256" y="2423"/>
                  <a:pt x="24206" y="2264"/>
                  <a:pt x="24206" y="2106"/>
                </a:cubicBezTo>
                <a:cubicBezTo>
                  <a:pt x="24206" y="1890"/>
                  <a:pt x="24292" y="1730"/>
                  <a:pt x="24463" y="1625"/>
                </a:cubicBezTo>
                <a:cubicBezTo>
                  <a:pt x="24635" y="1520"/>
                  <a:pt x="24829" y="1468"/>
                  <a:pt x="25046" y="1468"/>
                </a:cubicBezTo>
                <a:cubicBezTo>
                  <a:pt x="25262" y="1468"/>
                  <a:pt x="25475" y="1510"/>
                  <a:pt x="25684" y="1591"/>
                </a:cubicBezTo>
                <a:cubicBezTo>
                  <a:pt x="25893" y="1674"/>
                  <a:pt x="26079" y="1780"/>
                  <a:pt x="26244" y="1910"/>
                </a:cubicBezTo>
                <a:cubicBezTo>
                  <a:pt x="26408" y="2041"/>
                  <a:pt x="26541" y="2187"/>
                  <a:pt x="26642" y="2347"/>
                </a:cubicBezTo>
                <a:cubicBezTo>
                  <a:pt x="26742" y="2508"/>
                  <a:pt x="26793" y="2666"/>
                  <a:pt x="26793" y="2823"/>
                </a:cubicBezTo>
                <a:moveTo>
                  <a:pt x="28231" y="3691"/>
                </a:moveTo>
                <a:cubicBezTo>
                  <a:pt x="28347" y="3434"/>
                  <a:pt x="28405" y="3148"/>
                  <a:pt x="28405" y="2834"/>
                </a:cubicBezTo>
                <a:cubicBezTo>
                  <a:pt x="28405" y="2453"/>
                  <a:pt x="28313" y="2094"/>
                  <a:pt x="28131" y="1754"/>
                </a:cubicBezTo>
                <a:cubicBezTo>
                  <a:pt x="27948" y="1414"/>
                  <a:pt x="27701" y="1113"/>
                  <a:pt x="27391" y="853"/>
                </a:cubicBezTo>
                <a:cubicBezTo>
                  <a:pt x="27081" y="591"/>
                  <a:pt x="26727" y="384"/>
                  <a:pt x="26328" y="231"/>
                </a:cubicBezTo>
                <a:cubicBezTo>
                  <a:pt x="25929" y="78"/>
                  <a:pt x="25516" y="1"/>
                  <a:pt x="25090" y="1"/>
                </a:cubicBezTo>
                <a:cubicBezTo>
                  <a:pt x="22772" y="1"/>
                  <a:pt x="22772" y="1"/>
                  <a:pt x="22772" y="1"/>
                </a:cubicBezTo>
                <a:cubicBezTo>
                  <a:pt x="22683" y="1"/>
                  <a:pt x="22638" y="46"/>
                  <a:pt x="22638" y="136"/>
                </a:cubicBezTo>
                <a:cubicBezTo>
                  <a:pt x="22638" y="4827"/>
                  <a:pt x="22638" y="4827"/>
                  <a:pt x="22638" y="4827"/>
                </a:cubicBezTo>
                <a:cubicBezTo>
                  <a:pt x="22638" y="5104"/>
                  <a:pt x="22717" y="5321"/>
                  <a:pt x="22873" y="5477"/>
                </a:cubicBezTo>
                <a:cubicBezTo>
                  <a:pt x="23030" y="5634"/>
                  <a:pt x="23247" y="5712"/>
                  <a:pt x="23523" y="5712"/>
                </a:cubicBezTo>
                <a:cubicBezTo>
                  <a:pt x="24072" y="5712"/>
                  <a:pt x="24072" y="5712"/>
                  <a:pt x="24072" y="5712"/>
                </a:cubicBezTo>
                <a:cubicBezTo>
                  <a:pt x="24161" y="5712"/>
                  <a:pt x="24206" y="5660"/>
                  <a:pt x="24206" y="5555"/>
                </a:cubicBezTo>
                <a:cubicBezTo>
                  <a:pt x="24206" y="4279"/>
                  <a:pt x="24206" y="4279"/>
                  <a:pt x="24206" y="4279"/>
                </a:cubicBezTo>
                <a:cubicBezTo>
                  <a:pt x="24467" y="4488"/>
                  <a:pt x="24749" y="4648"/>
                  <a:pt x="25051" y="4760"/>
                </a:cubicBezTo>
                <a:cubicBezTo>
                  <a:pt x="25353" y="4873"/>
                  <a:pt x="25673" y="4928"/>
                  <a:pt x="26009" y="4928"/>
                </a:cubicBezTo>
                <a:cubicBezTo>
                  <a:pt x="26368" y="4928"/>
                  <a:pt x="26693" y="4878"/>
                  <a:pt x="26989" y="4777"/>
                </a:cubicBezTo>
                <a:cubicBezTo>
                  <a:pt x="27283" y="4677"/>
                  <a:pt x="27535" y="4535"/>
                  <a:pt x="27745" y="4351"/>
                </a:cubicBezTo>
                <a:cubicBezTo>
                  <a:pt x="27953" y="4168"/>
                  <a:pt x="28115" y="3949"/>
                  <a:pt x="28231" y="3691"/>
                </a:cubicBezTo>
                <a:moveTo>
                  <a:pt x="27098" y="9798"/>
                </a:moveTo>
                <a:cubicBezTo>
                  <a:pt x="27098" y="10195"/>
                  <a:pt x="27197" y="10530"/>
                  <a:pt x="27395" y="10806"/>
                </a:cubicBezTo>
                <a:cubicBezTo>
                  <a:pt x="27592" y="11083"/>
                  <a:pt x="27849" y="11309"/>
                  <a:pt x="28162" y="11484"/>
                </a:cubicBezTo>
                <a:cubicBezTo>
                  <a:pt x="28475" y="11659"/>
                  <a:pt x="28821" y="11786"/>
                  <a:pt x="29198" y="11865"/>
                </a:cubicBezTo>
                <a:cubicBezTo>
                  <a:pt x="29575" y="11943"/>
                  <a:pt x="29943" y="11983"/>
                  <a:pt x="30300" y="11983"/>
                </a:cubicBezTo>
                <a:cubicBezTo>
                  <a:pt x="32731" y="11983"/>
                  <a:pt x="32731" y="11983"/>
                  <a:pt x="32731" y="11983"/>
                </a:cubicBezTo>
                <a:cubicBezTo>
                  <a:pt x="32819" y="11983"/>
                  <a:pt x="32865" y="11930"/>
                  <a:pt x="32865" y="11825"/>
                </a:cubicBezTo>
                <a:cubicBezTo>
                  <a:pt x="32865" y="9575"/>
                  <a:pt x="32865" y="9575"/>
                  <a:pt x="32865" y="9575"/>
                </a:cubicBezTo>
                <a:cubicBezTo>
                  <a:pt x="32865" y="9119"/>
                  <a:pt x="32790" y="8690"/>
                  <a:pt x="32640" y="8287"/>
                </a:cubicBezTo>
                <a:cubicBezTo>
                  <a:pt x="32491" y="7884"/>
                  <a:pt x="32277" y="7534"/>
                  <a:pt x="31997" y="7234"/>
                </a:cubicBezTo>
                <a:cubicBezTo>
                  <a:pt x="31717" y="6936"/>
                  <a:pt x="31377" y="6701"/>
                  <a:pt x="30978" y="6529"/>
                </a:cubicBezTo>
                <a:cubicBezTo>
                  <a:pt x="30578" y="6357"/>
                  <a:pt x="30125" y="6271"/>
                  <a:pt x="29617" y="6271"/>
                </a:cubicBezTo>
                <a:cubicBezTo>
                  <a:pt x="27423" y="6271"/>
                  <a:pt x="27423" y="6271"/>
                  <a:pt x="27423" y="6271"/>
                </a:cubicBezTo>
                <a:cubicBezTo>
                  <a:pt x="27318" y="6271"/>
                  <a:pt x="27266" y="6316"/>
                  <a:pt x="27266" y="6405"/>
                </a:cubicBezTo>
                <a:cubicBezTo>
                  <a:pt x="27266" y="6865"/>
                  <a:pt x="27266" y="6865"/>
                  <a:pt x="27266" y="6865"/>
                </a:cubicBezTo>
                <a:cubicBezTo>
                  <a:pt x="27266" y="7141"/>
                  <a:pt x="27344" y="7358"/>
                  <a:pt x="27502" y="7515"/>
                </a:cubicBezTo>
                <a:cubicBezTo>
                  <a:pt x="27658" y="7671"/>
                  <a:pt x="27874" y="7750"/>
                  <a:pt x="28150" y="7750"/>
                </a:cubicBezTo>
                <a:cubicBezTo>
                  <a:pt x="29673" y="7750"/>
                  <a:pt x="29673" y="7750"/>
                  <a:pt x="29673" y="7750"/>
                </a:cubicBezTo>
                <a:cubicBezTo>
                  <a:pt x="29934" y="7750"/>
                  <a:pt x="30171" y="7805"/>
                  <a:pt x="30384" y="7917"/>
                </a:cubicBezTo>
                <a:cubicBezTo>
                  <a:pt x="30597" y="8030"/>
                  <a:pt x="30767" y="8175"/>
                  <a:pt x="30893" y="8354"/>
                </a:cubicBezTo>
                <a:cubicBezTo>
                  <a:pt x="29438" y="8354"/>
                  <a:pt x="29438" y="8354"/>
                  <a:pt x="29438" y="8354"/>
                </a:cubicBezTo>
                <a:cubicBezTo>
                  <a:pt x="28684" y="8354"/>
                  <a:pt x="28106" y="8478"/>
                  <a:pt x="27702" y="8724"/>
                </a:cubicBezTo>
                <a:cubicBezTo>
                  <a:pt x="27299" y="8970"/>
                  <a:pt x="27098" y="9328"/>
                  <a:pt x="27098" y="9798"/>
                </a:cubicBezTo>
                <a:moveTo>
                  <a:pt x="28822" y="10142"/>
                </a:moveTo>
                <a:cubicBezTo>
                  <a:pt x="28822" y="10031"/>
                  <a:pt x="28882" y="9953"/>
                  <a:pt x="29001" y="9908"/>
                </a:cubicBezTo>
                <a:cubicBezTo>
                  <a:pt x="29121" y="9863"/>
                  <a:pt x="29307" y="9840"/>
                  <a:pt x="29561" y="9840"/>
                </a:cubicBezTo>
                <a:cubicBezTo>
                  <a:pt x="31297" y="9840"/>
                  <a:pt x="31297" y="9840"/>
                  <a:pt x="31297" y="9840"/>
                </a:cubicBezTo>
                <a:cubicBezTo>
                  <a:pt x="31281" y="10131"/>
                  <a:pt x="31157" y="10342"/>
                  <a:pt x="30922" y="10473"/>
                </a:cubicBezTo>
                <a:cubicBezTo>
                  <a:pt x="30686" y="10604"/>
                  <a:pt x="30413" y="10669"/>
                  <a:pt x="30099" y="10669"/>
                </a:cubicBezTo>
                <a:cubicBezTo>
                  <a:pt x="29718" y="10669"/>
                  <a:pt x="29410" y="10619"/>
                  <a:pt x="29175" y="10517"/>
                </a:cubicBezTo>
                <a:cubicBezTo>
                  <a:pt x="28940" y="10417"/>
                  <a:pt x="28822" y="10292"/>
                  <a:pt x="28822" y="10142"/>
                </a:cubicBezTo>
                <a:moveTo>
                  <a:pt x="14199" y="11848"/>
                </a:moveTo>
                <a:cubicBezTo>
                  <a:pt x="14199" y="9451"/>
                  <a:pt x="14199" y="9451"/>
                  <a:pt x="14199" y="9451"/>
                </a:cubicBezTo>
                <a:cubicBezTo>
                  <a:pt x="14199" y="9175"/>
                  <a:pt x="14120" y="8959"/>
                  <a:pt x="13964" y="8802"/>
                </a:cubicBezTo>
                <a:cubicBezTo>
                  <a:pt x="13806" y="8646"/>
                  <a:pt x="13590" y="8567"/>
                  <a:pt x="13314" y="8567"/>
                </a:cubicBezTo>
                <a:cubicBezTo>
                  <a:pt x="10728" y="8567"/>
                  <a:pt x="10728" y="8567"/>
                  <a:pt x="10728" y="8567"/>
                </a:cubicBezTo>
                <a:cubicBezTo>
                  <a:pt x="10623" y="8567"/>
                  <a:pt x="10571" y="8612"/>
                  <a:pt x="10571" y="8701"/>
                </a:cubicBezTo>
                <a:cubicBezTo>
                  <a:pt x="10571" y="8880"/>
                  <a:pt x="10606" y="9043"/>
                  <a:pt x="10677" y="9188"/>
                </a:cubicBezTo>
                <a:cubicBezTo>
                  <a:pt x="10748" y="9333"/>
                  <a:pt x="10841" y="9459"/>
                  <a:pt x="10957" y="9563"/>
                </a:cubicBezTo>
                <a:cubicBezTo>
                  <a:pt x="11073" y="9669"/>
                  <a:pt x="11203" y="9748"/>
                  <a:pt x="11349" y="9804"/>
                </a:cubicBezTo>
                <a:cubicBezTo>
                  <a:pt x="11494" y="9860"/>
                  <a:pt x="11642" y="9889"/>
                  <a:pt x="11791" y="9889"/>
                </a:cubicBezTo>
                <a:cubicBezTo>
                  <a:pt x="12687" y="9889"/>
                  <a:pt x="12687" y="9889"/>
                  <a:pt x="12687" y="9889"/>
                </a:cubicBezTo>
                <a:cubicBezTo>
                  <a:pt x="12687" y="10504"/>
                  <a:pt x="12687" y="10504"/>
                  <a:pt x="12687" y="10504"/>
                </a:cubicBezTo>
                <a:cubicBezTo>
                  <a:pt x="11747" y="10504"/>
                  <a:pt x="11747" y="10504"/>
                  <a:pt x="11747" y="10504"/>
                </a:cubicBezTo>
                <a:cubicBezTo>
                  <a:pt x="11508" y="10504"/>
                  <a:pt x="11279" y="10450"/>
                  <a:pt x="11063" y="10342"/>
                </a:cubicBezTo>
                <a:cubicBezTo>
                  <a:pt x="10847" y="10234"/>
                  <a:pt x="10654" y="10089"/>
                  <a:pt x="10486" y="9910"/>
                </a:cubicBezTo>
                <a:cubicBezTo>
                  <a:pt x="10319" y="9731"/>
                  <a:pt x="10186" y="9530"/>
                  <a:pt x="10089" y="9306"/>
                </a:cubicBezTo>
                <a:cubicBezTo>
                  <a:pt x="9992" y="9083"/>
                  <a:pt x="9944" y="8855"/>
                  <a:pt x="9944" y="8623"/>
                </a:cubicBezTo>
                <a:cubicBezTo>
                  <a:pt x="9944" y="8340"/>
                  <a:pt x="10033" y="8123"/>
                  <a:pt x="10212" y="7974"/>
                </a:cubicBezTo>
                <a:cubicBezTo>
                  <a:pt x="10392" y="7824"/>
                  <a:pt x="10616" y="7750"/>
                  <a:pt x="10884" y="7750"/>
                </a:cubicBezTo>
                <a:cubicBezTo>
                  <a:pt x="13930" y="7750"/>
                  <a:pt x="13930" y="7750"/>
                  <a:pt x="13930" y="7750"/>
                </a:cubicBezTo>
                <a:cubicBezTo>
                  <a:pt x="14034" y="7750"/>
                  <a:pt x="14087" y="7704"/>
                  <a:pt x="14087" y="7615"/>
                </a:cubicBezTo>
                <a:cubicBezTo>
                  <a:pt x="14087" y="7156"/>
                  <a:pt x="14087" y="7156"/>
                  <a:pt x="14087" y="7156"/>
                </a:cubicBezTo>
                <a:cubicBezTo>
                  <a:pt x="14087" y="6879"/>
                  <a:pt x="14008" y="6663"/>
                  <a:pt x="13852" y="6507"/>
                </a:cubicBezTo>
                <a:cubicBezTo>
                  <a:pt x="13695" y="6350"/>
                  <a:pt x="13479" y="6271"/>
                  <a:pt x="13202" y="6271"/>
                </a:cubicBezTo>
                <a:cubicBezTo>
                  <a:pt x="10896" y="6271"/>
                  <a:pt x="10896" y="6271"/>
                  <a:pt x="10896" y="6271"/>
                </a:cubicBezTo>
                <a:cubicBezTo>
                  <a:pt x="10530" y="6271"/>
                  <a:pt x="10194" y="6329"/>
                  <a:pt x="9887" y="6445"/>
                </a:cubicBezTo>
                <a:cubicBezTo>
                  <a:pt x="9581" y="6561"/>
                  <a:pt x="9317" y="6723"/>
                  <a:pt x="9092" y="6932"/>
                </a:cubicBezTo>
                <a:cubicBezTo>
                  <a:pt x="8869" y="7141"/>
                  <a:pt x="8693" y="7393"/>
                  <a:pt x="8566" y="7688"/>
                </a:cubicBezTo>
                <a:cubicBezTo>
                  <a:pt x="8439" y="7983"/>
                  <a:pt x="8376" y="8313"/>
                  <a:pt x="8376" y="8679"/>
                </a:cubicBezTo>
                <a:cubicBezTo>
                  <a:pt x="8376" y="9135"/>
                  <a:pt x="8466" y="9563"/>
                  <a:pt x="8645" y="9966"/>
                </a:cubicBezTo>
                <a:cubicBezTo>
                  <a:pt x="8824" y="10370"/>
                  <a:pt x="9068" y="10721"/>
                  <a:pt x="9378" y="11018"/>
                </a:cubicBezTo>
                <a:cubicBezTo>
                  <a:pt x="9688" y="11318"/>
                  <a:pt x="10046" y="11553"/>
                  <a:pt x="10453" y="11725"/>
                </a:cubicBezTo>
                <a:cubicBezTo>
                  <a:pt x="10860" y="11896"/>
                  <a:pt x="11287" y="11983"/>
                  <a:pt x="11735" y="11983"/>
                </a:cubicBezTo>
                <a:cubicBezTo>
                  <a:pt x="14042" y="11983"/>
                  <a:pt x="14042" y="11983"/>
                  <a:pt x="14042" y="11983"/>
                </a:cubicBezTo>
                <a:cubicBezTo>
                  <a:pt x="14147" y="11983"/>
                  <a:pt x="14199" y="11937"/>
                  <a:pt x="14199" y="11848"/>
                </a:cubicBezTo>
                <a:moveTo>
                  <a:pt x="20010" y="5621"/>
                </a:moveTo>
                <a:cubicBezTo>
                  <a:pt x="20010" y="4412"/>
                  <a:pt x="20010" y="4412"/>
                  <a:pt x="20010" y="4412"/>
                </a:cubicBezTo>
                <a:cubicBezTo>
                  <a:pt x="20010" y="4359"/>
                  <a:pt x="19999" y="4326"/>
                  <a:pt x="19976" y="4311"/>
                </a:cubicBezTo>
                <a:cubicBezTo>
                  <a:pt x="19954" y="4296"/>
                  <a:pt x="19913" y="4281"/>
                  <a:pt x="19853" y="4265"/>
                </a:cubicBezTo>
                <a:cubicBezTo>
                  <a:pt x="19741" y="4244"/>
                  <a:pt x="19635" y="4199"/>
                  <a:pt x="19534" y="4131"/>
                </a:cubicBezTo>
                <a:cubicBezTo>
                  <a:pt x="19433" y="4065"/>
                  <a:pt x="19344" y="3986"/>
                  <a:pt x="19265" y="3897"/>
                </a:cubicBezTo>
                <a:cubicBezTo>
                  <a:pt x="19187" y="3807"/>
                  <a:pt x="19123" y="3708"/>
                  <a:pt x="19075" y="3600"/>
                </a:cubicBezTo>
                <a:cubicBezTo>
                  <a:pt x="19026" y="3492"/>
                  <a:pt x="19002" y="3382"/>
                  <a:pt x="19002" y="3269"/>
                </a:cubicBezTo>
                <a:cubicBezTo>
                  <a:pt x="19002" y="885"/>
                  <a:pt x="19002" y="885"/>
                  <a:pt x="19002" y="885"/>
                </a:cubicBezTo>
                <a:cubicBezTo>
                  <a:pt x="19002" y="609"/>
                  <a:pt x="18923" y="392"/>
                  <a:pt x="18767" y="236"/>
                </a:cubicBezTo>
                <a:cubicBezTo>
                  <a:pt x="18610" y="78"/>
                  <a:pt x="18393" y="0"/>
                  <a:pt x="18117" y="0"/>
                </a:cubicBezTo>
                <a:cubicBezTo>
                  <a:pt x="17591" y="0"/>
                  <a:pt x="17591" y="0"/>
                  <a:pt x="17591" y="0"/>
                </a:cubicBezTo>
                <a:cubicBezTo>
                  <a:pt x="17486" y="0"/>
                  <a:pt x="17435" y="45"/>
                  <a:pt x="17435" y="135"/>
                </a:cubicBezTo>
                <a:cubicBezTo>
                  <a:pt x="17435" y="3314"/>
                  <a:pt x="17435" y="3314"/>
                  <a:pt x="17435" y="3314"/>
                </a:cubicBezTo>
                <a:cubicBezTo>
                  <a:pt x="17435" y="3642"/>
                  <a:pt x="17500" y="3949"/>
                  <a:pt x="17630" y="4233"/>
                </a:cubicBezTo>
                <a:cubicBezTo>
                  <a:pt x="17761" y="4516"/>
                  <a:pt x="17936" y="4768"/>
                  <a:pt x="18157" y="4989"/>
                </a:cubicBezTo>
                <a:cubicBezTo>
                  <a:pt x="18376" y="5208"/>
                  <a:pt x="18633" y="5386"/>
                  <a:pt x="18923" y="5520"/>
                </a:cubicBezTo>
                <a:cubicBezTo>
                  <a:pt x="19215" y="5655"/>
                  <a:pt x="19525" y="5737"/>
                  <a:pt x="19853" y="5766"/>
                </a:cubicBezTo>
                <a:cubicBezTo>
                  <a:pt x="19958" y="5774"/>
                  <a:pt x="20010" y="5726"/>
                  <a:pt x="20010" y="5621"/>
                </a:cubicBezTo>
                <a:moveTo>
                  <a:pt x="22053" y="1321"/>
                </a:moveTo>
                <a:cubicBezTo>
                  <a:pt x="22053" y="884"/>
                  <a:pt x="22053" y="884"/>
                  <a:pt x="22053" y="884"/>
                </a:cubicBezTo>
                <a:cubicBezTo>
                  <a:pt x="22053" y="608"/>
                  <a:pt x="21975" y="392"/>
                  <a:pt x="21818" y="235"/>
                </a:cubicBezTo>
                <a:cubicBezTo>
                  <a:pt x="21661" y="78"/>
                  <a:pt x="21445" y="0"/>
                  <a:pt x="21169" y="0"/>
                </a:cubicBezTo>
                <a:cubicBezTo>
                  <a:pt x="20620" y="0"/>
                  <a:pt x="20620" y="0"/>
                  <a:pt x="20620" y="0"/>
                </a:cubicBezTo>
                <a:cubicBezTo>
                  <a:pt x="20530" y="0"/>
                  <a:pt x="20485" y="52"/>
                  <a:pt x="20485" y="157"/>
                </a:cubicBezTo>
                <a:cubicBezTo>
                  <a:pt x="20485" y="1321"/>
                  <a:pt x="20485" y="1321"/>
                  <a:pt x="20485" y="1321"/>
                </a:cubicBezTo>
                <a:cubicBezTo>
                  <a:pt x="20485" y="1425"/>
                  <a:pt x="20530" y="1477"/>
                  <a:pt x="20620" y="1477"/>
                </a:cubicBezTo>
                <a:cubicBezTo>
                  <a:pt x="21919" y="1477"/>
                  <a:pt x="21919" y="1477"/>
                  <a:pt x="21919" y="1477"/>
                </a:cubicBezTo>
                <a:cubicBezTo>
                  <a:pt x="22009" y="1477"/>
                  <a:pt x="22053" y="1425"/>
                  <a:pt x="22053" y="1321"/>
                </a:cubicBezTo>
                <a:moveTo>
                  <a:pt x="22053" y="5578"/>
                </a:moveTo>
                <a:cubicBezTo>
                  <a:pt x="22053" y="2897"/>
                  <a:pt x="22053" y="2897"/>
                  <a:pt x="22053" y="2897"/>
                </a:cubicBezTo>
                <a:cubicBezTo>
                  <a:pt x="22053" y="2897"/>
                  <a:pt x="22053" y="2897"/>
                  <a:pt x="22053" y="2897"/>
                </a:cubicBezTo>
                <a:cubicBezTo>
                  <a:pt x="22051" y="2626"/>
                  <a:pt x="21973" y="2414"/>
                  <a:pt x="21818" y="2259"/>
                </a:cubicBezTo>
                <a:cubicBezTo>
                  <a:pt x="21661" y="2102"/>
                  <a:pt x="21445" y="2024"/>
                  <a:pt x="21169" y="2024"/>
                </a:cubicBezTo>
                <a:cubicBezTo>
                  <a:pt x="20643" y="2024"/>
                  <a:pt x="20643" y="2024"/>
                  <a:pt x="20643" y="2024"/>
                </a:cubicBezTo>
                <a:cubicBezTo>
                  <a:pt x="20538" y="2024"/>
                  <a:pt x="20485" y="2068"/>
                  <a:pt x="20485" y="2158"/>
                </a:cubicBezTo>
                <a:cubicBezTo>
                  <a:pt x="20485" y="2897"/>
                  <a:pt x="20485" y="2897"/>
                  <a:pt x="20485" y="2897"/>
                </a:cubicBezTo>
                <a:cubicBezTo>
                  <a:pt x="20485" y="4827"/>
                  <a:pt x="20485" y="4827"/>
                  <a:pt x="20485" y="4827"/>
                </a:cubicBezTo>
                <a:cubicBezTo>
                  <a:pt x="20485" y="5104"/>
                  <a:pt x="20564" y="5321"/>
                  <a:pt x="20721" y="5477"/>
                </a:cubicBezTo>
                <a:cubicBezTo>
                  <a:pt x="20877" y="5634"/>
                  <a:pt x="21094" y="5712"/>
                  <a:pt x="21370" y="5712"/>
                </a:cubicBezTo>
                <a:cubicBezTo>
                  <a:pt x="21896" y="5712"/>
                  <a:pt x="21896" y="5712"/>
                  <a:pt x="21896" y="5712"/>
                </a:cubicBezTo>
                <a:cubicBezTo>
                  <a:pt x="22001" y="5712"/>
                  <a:pt x="22053" y="5668"/>
                  <a:pt x="22053" y="5578"/>
                </a:cubicBezTo>
                <a:moveTo>
                  <a:pt x="7850" y="7592"/>
                </a:moveTo>
                <a:cubicBezTo>
                  <a:pt x="7850" y="7155"/>
                  <a:pt x="7850" y="7155"/>
                  <a:pt x="7850" y="7155"/>
                </a:cubicBezTo>
                <a:cubicBezTo>
                  <a:pt x="7850" y="6879"/>
                  <a:pt x="7772" y="6663"/>
                  <a:pt x="7615" y="6505"/>
                </a:cubicBezTo>
                <a:cubicBezTo>
                  <a:pt x="7458" y="6349"/>
                  <a:pt x="7242" y="6271"/>
                  <a:pt x="6966" y="6271"/>
                </a:cubicBezTo>
                <a:cubicBezTo>
                  <a:pt x="6417" y="6271"/>
                  <a:pt x="6417" y="6271"/>
                  <a:pt x="6417" y="6271"/>
                </a:cubicBezTo>
                <a:cubicBezTo>
                  <a:pt x="6328" y="6271"/>
                  <a:pt x="6283" y="6323"/>
                  <a:pt x="6283" y="6427"/>
                </a:cubicBezTo>
                <a:cubicBezTo>
                  <a:pt x="6283" y="7592"/>
                  <a:pt x="6283" y="7592"/>
                  <a:pt x="6283" y="7592"/>
                </a:cubicBezTo>
                <a:cubicBezTo>
                  <a:pt x="6283" y="7696"/>
                  <a:pt x="6328" y="7748"/>
                  <a:pt x="6417" y="7748"/>
                </a:cubicBezTo>
                <a:cubicBezTo>
                  <a:pt x="7716" y="7748"/>
                  <a:pt x="7716" y="7748"/>
                  <a:pt x="7716" y="7748"/>
                </a:cubicBezTo>
                <a:cubicBezTo>
                  <a:pt x="7806" y="7748"/>
                  <a:pt x="7850" y="7696"/>
                  <a:pt x="7850" y="7592"/>
                </a:cubicBezTo>
                <a:moveTo>
                  <a:pt x="7850" y="11848"/>
                </a:moveTo>
                <a:cubicBezTo>
                  <a:pt x="7850" y="9168"/>
                  <a:pt x="7850" y="9168"/>
                  <a:pt x="7850" y="9168"/>
                </a:cubicBezTo>
                <a:cubicBezTo>
                  <a:pt x="7850" y="9168"/>
                  <a:pt x="7850" y="9168"/>
                  <a:pt x="7850" y="9168"/>
                </a:cubicBezTo>
                <a:cubicBezTo>
                  <a:pt x="7848" y="8897"/>
                  <a:pt x="7770" y="8684"/>
                  <a:pt x="7615" y="8530"/>
                </a:cubicBezTo>
                <a:cubicBezTo>
                  <a:pt x="7458" y="8373"/>
                  <a:pt x="7242" y="8294"/>
                  <a:pt x="6966" y="8294"/>
                </a:cubicBezTo>
                <a:cubicBezTo>
                  <a:pt x="6440" y="8294"/>
                  <a:pt x="6440" y="8294"/>
                  <a:pt x="6440" y="8294"/>
                </a:cubicBezTo>
                <a:cubicBezTo>
                  <a:pt x="6335" y="8294"/>
                  <a:pt x="6283" y="8339"/>
                  <a:pt x="6283" y="8429"/>
                </a:cubicBezTo>
                <a:cubicBezTo>
                  <a:pt x="6283" y="9168"/>
                  <a:pt x="6283" y="9168"/>
                  <a:pt x="6283" y="9168"/>
                </a:cubicBezTo>
                <a:cubicBezTo>
                  <a:pt x="6283" y="11098"/>
                  <a:pt x="6283" y="11098"/>
                  <a:pt x="6283" y="11098"/>
                </a:cubicBezTo>
                <a:cubicBezTo>
                  <a:pt x="6283" y="11374"/>
                  <a:pt x="6361" y="11591"/>
                  <a:pt x="6518" y="11748"/>
                </a:cubicBezTo>
                <a:cubicBezTo>
                  <a:pt x="6674" y="11905"/>
                  <a:pt x="6891" y="11983"/>
                  <a:pt x="7167" y="11983"/>
                </a:cubicBezTo>
                <a:cubicBezTo>
                  <a:pt x="7693" y="11983"/>
                  <a:pt x="7693" y="11983"/>
                  <a:pt x="7693" y="11983"/>
                </a:cubicBezTo>
                <a:cubicBezTo>
                  <a:pt x="7798" y="11983"/>
                  <a:pt x="7850" y="11938"/>
                  <a:pt x="7850" y="11848"/>
                </a:cubicBezTo>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de-DE" sz="1350"/>
          </a:p>
        </p:txBody>
      </p:sp>
      <p:pic>
        <p:nvPicPr>
          <p:cNvPr id="6" name="Picture 5"/>
          <p:cNvPicPr>
            <a:picLocks noChangeAspect="1"/>
          </p:cNvPicPr>
          <p:nvPr userDrawn="1"/>
        </p:nvPicPr>
        <p:blipFill>
          <a:blip r:embed="rId6">
            <a:duotone>
              <a:schemeClr val="bg2">
                <a:shade val="45000"/>
                <a:satMod val="135000"/>
              </a:schemeClr>
              <a:prstClr val="white"/>
            </a:duotone>
          </a:blip>
          <a:stretch>
            <a:fillRect/>
          </a:stretch>
        </p:blipFill>
        <p:spPr>
          <a:xfrm>
            <a:off x="2855641" y="2298722"/>
            <a:ext cx="2339052" cy="1373426"/>
          </a:xfrm>
          <a:prstGeom prst="rect">
            <a:avLst/>
          </a:prstGeom>
        </p:spPr>
      </p:pic>
      <p:grpSp>
        <p:nvGrpSpPr>
          <p:cNvPr id="13" name="Group 12"/>
          <p:cNvGrpSpPr>
            <a:grpSpLocks noChangeAspect="1"/>
          </p:cNvGrpSpPr>
          <p:nvPr userDrawn="1"/>
        </p:nvGrpSpPr>
        <p:grpSpPr>
          <a:xfrm>
            <a:off x="983752" y="5070131"/>
            <a:ext cx="2880000" cy="1446140"/>
            <a:chOff x="-85296375" y="18191163"/>
            <a:chExt cx="195448238" cy="98140837"/>
          </a:xfrm>
        </p:grpSpPr>
        <p:sp>
          <p:nvSpPr>
            <p:cNvPr id="18" name="Freeform 33"/>
            <p:cNvSpPr>
              <a:spLocks/>
            </p:cNvSpPr>
            <p:nvPr userDrawn="1"/>
          </p:nvSpPr>
          <p:spPr bwMode="auto">
            <a:xfrm>
              <a:off x="-83958112" y="19589750"/>
              <a:ext cx="174477363" cy="95365887"/>
            </a:xfrm>
            <a:custGeom>
              <a:avLst/>
              <a:gdLst>
                <a:gd name="T0" fmla="*/ 45081 w 46525"/>
                <a:gd name="T1" fmla="*/ 22916 h 25428"/>
                <a:gd name="T2" fmla="*/ 44326 w 46525"/>
                <a:gd name="T3" fmla="*/ 21145 h 25428"/>
                <a:gd name="T4" fmla="*/ 44204 w 46525"/>
                <a:gd name="T5" fmla="*/ 16995 h 25428"/>
                <a:gd name="T6" fmla="*/ 43209 w 46525"/>
                <a:gd name="T7" fmla="*/ 14732 h 25428"/>
                <a:gd name="T8" fmla="*/ 40113 w 46525"/>
                <a:gd name="T9" fmla="*/ 14038 h 25428"/>
                <a:gd name="T10" fmla="*/ 33362 w 46525"/>
                <a:gd name="T11" fmla="*/ 18866 h 25428"/>
                <a:gd name="T12" fmla="*/ 27186 w 46525"/>
                <a:gd name="T13" fmla="*/ 23435 h 25428"/>
                <a:gd name="T14" fmla="*/ 21668 w 46525"/>
                <a:gd name="T15" fmla="*/ 21926 h 25428"/>
                <a:gd name="T16" fmla="*/ 17342 w 46525"/>
                <a:gd name="T17" fmla="*/ 18159 h 25428"/>
                <a:gd name="T18" fmla="*/ 10883 w 46525"/>
                <a:gd name="T19" fmla="*/ 14279 h 25428"/>
                <a:gd name="T20" fmla="*/ 8335 w 46525"/>
                <a:gd name="T21" fmla="*/ 15623 h 25428"/>
                <a:gd name="T22" fmla="*/ 7994 w 46525"/>
                <a:gd name="T23" fmla="*/ 17519 h 25428"/>
                <a:gd name="T24" fmla="*/ 8002 w 46525"/>
                <a:gd name="T25" fmla="*/ 23415 h 25428"/>
                <a:gd name="T26" fmla="*/ 7995 w 46525"/>
                <a:gd name="T27" fmla="*/ 23973 h 25428"/>
                <a:gd name="T28" fmla="*/ 6368 w 46525"/>
                <a:gd name="T29" fmla="*/ 25395 h 25428"/>
                <a:gd name="T30" fmla="*/ 5092 w 46525"/>
                <a:gd name="T31" fmla="*/ 25428 h 25428"/>
                <a:gd name="T32" fmla="*/ 2054 w 46525"/>
                <a:gd name="T33" fmla="*/ 24521 h 25428"/>
                <a:gd name="T34" fmla="*/ 2 w 46525"/>
                <a:gd name="T35" fmla="*/ 21261 h 25428"/>
                <a:gd name="T36" fmla="*/ 3 w 46525"/>
                <a:gd name="T37" fmla="*/ 19732 h 25428"/>
                <a:gd name="T38" fmla="*/ 1172 w 46525"/>
                <a:gd name="T39" fmla="*/ 0 h 25428"/>
                <a:gd name="T40" fmla="*/ 6138 w 46525"/>
                <a:gd name="T41" fmla="*/ 40 h 25428"/>
                <a:gd name="T42" fmla="*/ 10142 w 46525"/>
                <a:gd name="T43" fmla="*/ 1610 h 25428"/>
                <a:gd name="T44" fmla="*/ 11153 w 46525"/>
                <a:gd name="T45" fmla="*/ 2551 h 25428"/>
                <a:gd name="T46" fmla="*/ 15899 w 46525"/>
                <a:gd name="T47" fmla="*/ 7099 h 25428"/>
                <a:gd name="T48" fmla="*/ 17354 w 46525"/>
                <a:gd name="T49" fmla="*/ 8408 h 25428"/>
                <a:gd name="T50" fmla="*/ 31821 w 46525"/>
                <a:gd name="T51" fmla="*/ 10275 h 25428"/>
                <a:gd name="T52" fmla="*/ 31776 w 46525"/>
                <a:gd name="T53" fmla="*/ 10761 h 25428"/>
                <a:gd name="T54" fmla="*/ 20355 w 46525"/>
                <a:gd name="T55" fmla="*/ 11189 h 25428"/>
                <a:gd name="T56" fmla="*/ 15258 w 46525"/>
                <a:gd name="T57" fmla="*/ 7928 h 25428"/>
                <a:gd name="T58" fmla="*/ 11552 w 46525"/>
                <a:gd name="T59" fmla="*/ 4476 h 25428"/>
                <a:gd name="T60" fmla="*/ 9664 w 46525"/>
                <a:gd name="T61" fmla="*/ 2716 h 25428"/>
                <a:gd name="T62" fmla="*/ 5849 w 46525"/>
                <a:gd name="T63" fmla="*/ 1231 h 25428"/>
                <a:gd name="T64" fmla="*/ 1480 w 46525"/>
                <a:gd name="T65" fmla="*/ 1296 h 25428"/>
                <a:gd name="T66" fmla="*/ 1347 w 46525"/>
                <a:gd name="T67" fmla="*/ 1590 h 25428"/>
                <a:gd name="T68" fmla="*/ 1408 w 46525"/>
                <a:gd name="T69" fmla="*/ 21014 h 25428"/>
                <a:gd name="T70" fmla="*/ 3727 w 46525"/>
                <a:gd name="T71" fmla="*/ 23767 h 25428"/>
                <a:gd name="T72" fmla="*/ 5103 w 46525"/>
                <a:gd name="T73" fmla="*/ 23987 h 25428"/>
                <a:gd name="T74" fmla="*/ 6271 w 46525"/>
                <a:gd name="T75" fmla="*/ 23951 h 25428"/>
                <a:gd name="T76" fmla="*/ 6548 w 46525"/>
                <a:gd name="T77" fmla="*/ 23664 h 25428"/>
                <a:gd name="T78" fmla="*/ 6571 w 46525"/>
                <a:gd name="T79" fmla="*/ 16189 h 25428"/>
                <a:gd name="T80" fmla="*/ 10633 w 46525"/>
                <a:gd name="T81" fmla="*/ 12779 h 25428"/>
                <a:gd name="T82" fmla="*/ 15923 w 46525"/>
                <a:gd name="T83" fmla="*/ 14945 h 25428"/>
                <a:gd name="T84" fmla="*/ 19260 w 46525"/>
                <a:gd name="T85" fmla="*/ 17958 h 25428"/>
                <a:gd name="T86" fmla="*/ 25829 w 46525"/>
                <a:gd name="T87" fmla="*/ 22317 h 25428"/>
                <a:gd name="T88" fmla="*/ 31813 w 46525"/>
                <a:gd name="T89" fmla="*/ 18727 h 25428"/>
                <a:gd name="T90" fmla="*/ 35917 w 46525"/>
                <a:gd name="T91" fmla="*/ 15125 h 25428"/>
                <a:gd name="T92" fmla="*/ 43119 w 46525"/>
                <a:gd name="T93" fmla="*/ 13639 h 25428"/>
                <a:gd name="T94" fmla="*/ 44851 w 46525"/>
                <a:gd name="T95" fmla="*/ 20902 h 25428"/>
                <a:gd name="T96" fmla="*/ 45499 w 46525"/>
                <a:gd name="T97" fmla="*/ 22864 h 25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525" h="25428">
                  <a:moveTo>
                    <a:pt x="46508" y="23834"/>
                  </a:moveTo>
                  <a:cubicBezTo>
                    <a:pt x="46525" y="23872"/>
                    <a:pt x="46476" y="23875"/>
                    <a:pt x="46364" y="23837"/>
                  </a:cubicBezTo>
                  <a:cubicBezTo>
                    <a:pt x="46254" y="23799"/>
                    <a:pt x="46079" y="23720"/>
                    <a:pt x="45856" y="23578"/>
                  </a:cubicBezTo>
                  <a:cubicBezTo>
                    <a:pt x="45634" y="23433"/>
                    <a:pt x="45359" y="23228"/>
                    <a:pt x="45081" y="22916"/>
                  </a:cubicBezTo>
                  <a:cubicBezTo>
                    <a:pt x="44896" y="22707"/>
                    <a:pt x="44709" y="22451"/>
                    <a:pt x="44563" y="22128"/>
                  </a:cubicBezTo>
                  <a:cubicBezTo>
                    <a:pt x="44490" y="21968"/>
                    <a:pt x="44428" y="21791"/>
                    <a:pt x="44385" y="21600"/>
                  </a:cubicBezTo>
                  <a:cubicBezTo>
                    <a:pt x="44364" y="21504"/>
                    <a:pt x="44348" y="21405"/>
                    <a:pt x="44338" y="21302"/>
                  </a:cubicBezTo>
                  <a:cubicBezTo>
                    <a:pt x="44331" y="21252"/>
                    <a:pt x="44330" y="21198"/>
                    <a:pt x="44326" y="21145"/>
                  </a:cubicBezTo>
                  <a:cubicBezTo>
                    <a:pt x="44323" y="21095"/>
                    <a:pt x="44321" y="21044"/>
                    <a:pt x="44320" y="20994"/>
                  </a:cubicBezTo>
                  <a:cubicBezTo>
                    <a:pt x="44296" y="20334"/>
                    <a:pt x="44271" y="19571"/>
                    <a:pt x="44248" y="18713"/>
                  </a:cubicBezTo>
                  <a:cubicBezTo>
                    <a:pt x="44237" y="18282"/>
                    <a:pt x="44226" y="17829"/>
                    <a:pt x="44213" y="17357"/>
                  </a:cubicBezTo>
                  <a:cubicBezTo>
                    <a:pt x="44210" y="17236"/>
                    <a:pt x="44207" y="17115"/>
                    <a:pt x="44204" y="16995"/>
                  </a:cubicBezTo>
                  <a:cubicBezTo>
                    <a:pt x="44202" y="16932"/>
                    <a:pt x="44201" y="16876"/>
                    <a:pt x="44198" y="16820"/>
                  </a:cubicBezTo>
                  <a:cubicBezTo>
                    <a:pt x="44194" y="16762"/>
                    <a:pt x="44190" y="16706"/>
                    <a:pt x="44183" y="16648"/>
                  </a:cubicBezTo>
                  <a:cubicBezTo>
                    <a:pt x="44155" y="16419"/>
                    <a:pt x="44103" y="16189"/>
                    <a:pt x="44022" y="15963"/>
                  </a:cubicBezTo>
                  <a:cubicBezTo>
                    <a:pt x="43862" y="15513"/>
                    <a:pt x="43586" y="15082"/>
                    <a:pt x="43209" y="14732"/>
                  </a:cubicBezTo>
                  <a:cubicBezTo>
                    <a:pt x="42834" y="14380"/>
                    <a:pt x="42356" y="14113"/>
                    <a:pt x="41826" y="13994"/>
                  </a:cubicBezTo>
                  <a:cubicBezTo>
                    <a:pt x="41694" y="13964"/>
                    <a:pt x="41559" y="13944"/>
                    <a:pt x="41422" y="13931"/>
                  </a:cubicBezTo>
                  <a:cubicBezTo>
                    <a:pt x="41283" y="13920"/>
                    <a:pt x="41151" y="13920"/>
                    <a:pt x="41000" y="13928"/>
                  </a:cubicBezTo>
                  <a:cubicBezTo>
                    <a:pt x="40706" y="13940"/>
                    <a:pt x="40409" y="13976"/>
                    <a:pt x="40113" y="14038"/>
                  </a:cubicBezTo>
                  <a:cubicBezTo>
                    <a:pt x="39518" y="14158"/>
                    <a:pt x="38927" y="14382"/>
                    <a:pt x="38351" y="14688"/>
                  </a:cubicBezTo>
                  <a:cubicBezTo>
                    <a:pt x="37776" y="14995"/>
                    <a:pt x="37219" y="15381"/>
                    <a:pt x="36673" y="15821"/>
                  </a:cubicBezTo>
                  <a:cubicBezTo>
                    <a:pt x="36126" y="16259"/>
                    <a:pt x="35593" y="16751"/>
                    <a:pt x="35052" y="17267"/>
                  </a:cubicBezTo>
                  <a:cubicBezTo>
                    <a:pt x="34509" y="17783"/>
                    <a:pt x="33955" y="18333"/>
                    <a:pt x="33362" y="18866"/>
                  </a:cubicBezTo>
                  <a:cubicBezTo>
                    <a:pt x="32783" y="19391"/>
                    <a:pt x="32201" y="19943"/>
                    <a:pt x="31594" y="20500"/>
                  </a:cubicBezTo>
                  <a:cubicBezTo>
                    <a:pt x="30985" y="21057"/>
                    <a:pt x="30351" y="21621"/>
                    <a:pt x="29641" y="22148"/>
                  </a:cubicBezTo>
                  <a:cubicBezTo>
                    <a:pt x="29286" y="22411"/>
                    <a:pt x="28909" y="22662"/>
                    <a:pt x="28503" y="22885"/>
                  </a:cubicBezTo>
                  <a:cubicBezTo>
                    <a:pt x="28095" y="23107"/>
                    <a:pt x="27657" y="23300"/>
                    <a:pt x="27186" y="23435"/>
                  </a:cubicBezTo>
                  <a:cubicBezTo>
                    <a:pt x="26714" y="23570"/>
                    <a:pt x="26211" y="23639"/>
                    <a:pt x="25705" y="23626"/>
                  </a:cubicBezTo>
                  <a:cubicBezTo>
                    <a:pt x="25199" y="23616"/>
                    <a:pt x="24694" y="23520"/>
                    <a:pt x="24218" y="23361"/>
                  </a:cubicBezTo>
                  <a:cubicBezTo>
                    <a:pt x="23741" y="23204"/>
                    <a:pt x="23291" y="22988"/>
                    <a:pt x="22870" y="22741"/>
                  </a:cubicBezTo>
                  <a:cubicBezTo>
                    <a:pt x="22447" y="22494"/>
                    <a:pt x="22050" y="22216"/>
                    <a:pt x="21668" y="21926"/>
                  </a:cubicBezTo>
                  <a:cubicBezTo>
                    <a:pt x="20903" y="21345"/>
                    <a:pt x="20195" y="20711"/>
                    <a:pt x="19488" y="20080"/>
                  </a:cubicBezTo>
                  <a:cubicBezTo>
                    <a:pt x="19136" y="19764"/>
                    <a:pt x="18782" y="19449"/>
                    <a:pt x="18427" y="19131"/>
                  </a:cubicBezTo>
                  <a:cubicBezTo>
                    <a:pt x="18246" y="18973"/>
                    <a:pt x="18065" y="18812"/>
                    <a:pt x="17884" y="18654"/>
                  </a:cubicBezTo>
                  <a:cubicBezTo>
                    <a:pt x="17700" y="18489"/>
                    <a:pt x="17520" y="18325"/>
                    <a:pt x="17342" y="18159"/>
                  </a:cubicBezTo>
                  <a:cubicBezTo>
                    <a:pt x="16627" y="17500"/>
                    <a:pt x="15928" y="16836"/>
                    <a:pt x="15190" y="16239"/>
                  </a:cubicBezTo>
                  <a:cubicBezTo>
                    <a:pt x="14453" y="15644"/>
                    <a:pt x="13673" y="15112"/>
                    <a:pt x="12836" y="14752"/>
                  </a:cubicBezTo>
                  <a:cubicBezTo>
                    <a:pt x="12418" y="14571"/>
                    <a:pt x="11987" y="14436"/>
                    <a:pt x="11547" y="14357"/>
                  </a:cubicBezTo>
                  <a:cubicBezTo>
                    <a:pt x="11328" y="14317"/>
                    <a:pt x="11106" y="14290"/>
                    <a:pt x="10883" y="14279"/>
                  </a:cubicBezTo>
                  <a:cubicBezTo>
                    <a:pt x="10774" y="14272"/>
                    <a:pt x="10655" y="14270"/>
                    <a:pt x="10553" y="14272"/>
                  </a:cubicBezTo>
                  <a:cubicBezTo>
                    <a:pt x="10454" y="14276"/>
                    <a:pt x="10355" y="14283"/>
                    <a:pt x="10257" y="14295"/>
                  </a:cubicBezTo>
                  <a:cubicBezTo>
                    <a:pt x="9863" y="14351"/>
                    <a:pt x="9482" y="14501"/>
                    <a:pt x="9150" y="14730"/>
                  </a:cubicBezTo>
                  <a:cubicBezTo>
                    <a:pt x="8818" y="14961"/>
                    <a:pt x="8536" y="15269"/>
                    <a:pt x="8335" y="15623"/>
                  </a:cubicBezTo>
                  <a:cubicBezTo>
                    <a:pt x="8135" y="15978"/>
                    <a:pt x="8018" y="16376"/>
                    <a:pt x="7997" y="16782"/>
                  </a:cubicBezTo>
                  <a:cubicBezTo>
                    <a:pt x="7994" y="16834"/>
                    <a:pt x="7993" y="16883"/>
                    <a:pt x="7993" y="16935"/>
                  </a:cubicBezTo>
                  <a:cubicBezTo>
                    <a:pt x="7993" y="17130"/>
                    <a:pt x="7993" y="17130"/>
                    <a:pt x="7993" y="17130"/>
                  </a:cubicBezTo>
                  <a:cubicBezTo>
                    <a:pt x="7994" y="17519"/>
                    <a:pt x="7994" y="17519"/>
                    <a:pt x="7994" y="17519"/>
                  </a:cubicBezTo>
                  <a:cubicBezTo>
                    <a:pt x="7995" y="17779"/>
                    <a:pt x="7995" y="18040"/>
                    <a:pt x="7995" y="18300"/>
                  </a:cubicBezTo>
                  <a:cubicBezTo>
                    <a:pt x="7998" y="19342"/>
                    <a:pt x="7999" y="20388"/>
                    <a:pt x="8001" y="21439"/>
                  </a:cubicBezTo>
                  <a:cubicBezTo>
                    <a:pt x="8001" y="21966"/>
                    <a:pt x="8002" y="22492"/>
                    <a:pt x="8002" y="23019"/>
                  </a:cubicBezTo>
                  <a:cubicBezTo>
                    <a:pt x="8002" y="23415"/>
                    <a:pt x="8002" y="23415"/>
                    <a:pt x="8002" y="23415"/>
                  </a:cubicBezTo>
                  <a:cubicBezTo>
                    <a:pt x="8002" y="23515"/>
                    <a:pt x="8002" y="23515"/>
                    <a:pt x="8002" y="23515"/>
                  </a:cubicBezTo>
                  <a:cubicBezTo>
                    <a:pt x="8002" y="23563"/>
                    <a:pt x="8002" y="23563"/>
                    <a:pt x="8002" y="23563"/>
                  </a:cubicBezTo>
                  <a:cubicBezTo>
                    <a:pt x="8001" y="23646"/>
                    <a:pt x="8001" y="23646"/>
                    <a:pt x="8001" y="23646"/>
                  </a:cubicBezTo>
                  <a:cubicBezTo>
                    <a:pt x="7995" y="23973"/>
                    <a:pt x="7995" y="23973"/>
                    <a:pt x="7995" y="23973"/>
                  </a:cubicBezTo>
                  <a:cubicBezTo>
                    <a:pt x="7990" y="24079"/>
                    <a:pt x="7997" y="24193"/>
                    <a:pt x="7979" y="24293"/>
                  </a:cubicBezTo>
                  <a:cubicBezTo>
                    <a:pt x="7964" y="24396"/>
                    <a:pt x="7940" y="24494"/>
                    <a:pt x="7908" y="24587"/>
                  </a:cubicBezTo>
                  <a:cubicBezTo>
                    <a:pt x="7844" y="24771"/>
                    <a:pt x="7726" y="24950"/>
                    <a:pt x="7563" y="25074"/>
                  </a:cubicBezTo>
                  <a:cubicBezTo>
                    <a:pt x="7252" y="25318"/>
                    <a:pt x="6804" y="25365"/>
                    <a:pt x="6368" y="25395"/>
                  </a:cubicBezTo>
                  <a:cubicBezTo>
                    <a:pt x="6120" y="25410"/>
                    <a:pt x="6120" y="25410"/>
                    <a:pt x="6120" y="25410"/>
                  </a:cubicBezTo>
                  <a:cubicBezTo>
                    <a:pt x="5911" y="25417"/>
                    <a:pt x="5911" y="25417"/>
                    <a:pt x="5911" y="25417"/>
                  </a:cubicBezTo>
                  <a:cubicBezTo>
                    <a:pt x="5773" y="25422"/>
                    <a:pt x="5636" y="25424"/>
                    <a:pt x="5499" y="25426"/>
                  </a:cubicBezTo>
                  <a:cubicBezTo>
                    <a:pt x="5092" y="25428"/>
                    <a:pt x="5092" y="25428"/>
                    <a:pt x="5092" y="25428"/>
                  </a:cubicBezTo>
                  <a:cubicBezTo>
                    <a:pt x="4881" y="25426"/>
                    <a:pt x="4881" y="25426"/>
                    <a:pt x="4881" y="25426"/>
                  </a:cubicBezTo>
                  <a:cubicBezTo>
                    <a:pt x="4802" y="25426"/>
                    <a:pt x="4722" y="25422"/>
                    <a:pt x="4644" y="25417"/>
                  </a:cubicBezTo>
                  <a:cubicBezTo>
                    <a:pt x="4329" y="25395"/>
                    <a:pt x="4021" y="25341"/>
                    <a:pt x="3723" y="25264"/>
                  </a:cubicBezTo>
                  <a:cubicBezTo>
                    <a:pt x="3127" y="25108"/>
                    <a:pt x="2567" y="24856"/>
                    <a:pt x="2054" y="24521"/>
                  </a:cubicBezTo>
                  <a:cubicBezTo>
                    <a:pt x="1543" y="24185"/>
                    <a:pt x="1074" y="23765"/>
                    <a:pt x="700" y="23242"/>
                  </a:cubicBezTo>
                  <a:cubicBezTo>
                    <a:pt x="514" y="22981"/>
                    <a:pt x="353" y="22692"/>
                    <a:pt x="232" y="22380"/>
                  </a:cubicBezTo>
                  <a:cubicBezTo>
                    <a:pt x="111" y="22069"/>
                    <a:pt x="32" y="21733"/>
                    <a:pt x="8" y="21391"/>
                  </a:cubicBezTo>
                  <a:cubicBezTo>
                    <a:pt x="2" y="21261"/>
                    <a:pt x="2" y="21261"/>
                    <a:pt x="2" y="21261"/>
                  </a:cubicBezTo>
                  <a:cubicBezTo>
                    <a:pt x="0" y="21138"/>
                    <a:pt x="0" y="21138"/>
                    <a:pt x="0" y="21138"/>
                  </a:cubicBezTo>
                  <a:cubicBezTo>
                    <a:pt x="0" y="20938"/>
                    <a:pt x="0" y="20938"/>
                    <a:pt x="0" y="20938"/>
                  </a:cubicBezTo>
                  <a:cubicBezTo>
                    <a:pt x="2" y="20536"/>
                    <a:pt x="2" y="20536"/>
                    <a:pt x="2" y="20536"/>
                  </a:cubicBezTo>
                  <a:cubicBezTo>
                    <a:pt x="3" y="19732"/>
                    <a:pt x="3" y="19732"/>
                    <a:pt x="3" y="19732"/>
                  </a:cubicBezTo>
                  <a:cubicBezTo>
                    <a:pt x="14" y="15444"/>
                    <a:pt x="33" y="11144"/>
                    <a:pt x="61" y="6888"/>
                  </a:cubicBezTo>
                  <a:cubicBezTo>
                    <a:pt x="72" y="4925"/>
                    <a:pt x="93" y="1784"/>
                    <a:pt x="93" y="1070"/>
                  </a:cubicBezTo>
                  <a:cubicBezTo>
                    <a:pt x="93" y="923"/>
                    <a:pt x="113" y="802"/>
                    <a:pt x="138" y="685"/>
                  </a:cubicBezTo>
                  <a:cubicBezTo>
                    <a:pt x="211" y="404"/>
                    <a:pt x="441" y="0"/>
                    <a:pt x="1172" y="0"/>
                  </a:cubicBezTo>
                  <a:cubicBezTo>
                    <a:pt x="1336" y="0"/>
                    <a:pt x="1526" y="1"/>
                    <a:pt x="1713" y="1"/>
                  </a:cubicBezTo>
                  <a:cubicBezTo>
                    <a:pt x="2509" y="5"/>
                    <a:pt x="3619" y="15"/>
                    <a:pt x="4482" y="21"/>
                  </a:cubicBezTo>
                  <a:cubicBezTo>
                    <a:pt x="4972" y="25"/>
                    <a:pt x="5456" y="28"/>
                    <a:pt x="5937" y="32"/>
                  </a:cubicBezTo>
                  <a:cubicBezTo>
                    <a:pt x="6009" y="33"/>
                    <a:pt x="6073" y="37"/>
                    <a:pt x="6138" y="40"/>
                  </a:cubicBezTo>
                  <a:cubicBezTo>
                    <a:pt x="6203" y="44"/>
                    <a:pt x="6268" y="48"/>
                    <a:pt x="6333" y="54"/>
                  </a:cubicBezTo>
                  <a:cubicBezTo>
                    <a:pt x="6462" y="66"/>
                    <a:pt x="6591" y="80"/>
                    <a:pt x="6720" y="98"/>
                  </a:cubicBezTo>
                  <a:cubicBezTo>
                    <a:pt x="6976" y="135"/>
                    <a:pt x="7229" y="186"/>
                    <a:pt x="7478" y="250"/>
                  </a:cubicBezTo>
                  <a:cubicBezTo>
                    <a:pt x="8474" y="507"/>
                    <a:pt x="9385" y="984"/>
                    <a:pt x="10142" y="1610"/>
                  </a:cubicBezTo>
                  <a:cubicBezTo>
                    <a:pt x="10237" y="1688"/>
                    <a:pt x="10328" y="1768"/>
                    <a:pt x="10420" y="1852"/>
                  </a:cubicBezTo>
                  <a:cubicBezTo>
                    <a:pt x="10550" y="1974"/>
                    <a:pt x="10550" y="1974"/>
                    <a:pt x="10550" y="1974"/>
                  </a:cubicBezTo>
                  <a:cubicBezTo>
                    <a:pt x="10671" y="2090"/>
                    <a:pt x="10671" y="2090"/>
                    <a:pt x="10671" y="2090"/>
                  </a:cubicBezTo>
                  <a:cubicBezTo>
                    <a:pt x="10832" y="2245"/>
                    <a:pt x="10994" y="2398"/>
                    <a:pt x="11153" y="2551"/>
                  </a:cubicBezTo>
                  <a:cubicBezTo>
                    <a:pt x="11473" y="2857"/>
                    <a:pt x="11790" y="3160"/>
                    <a:pt x="12103" y="3460"/>
                  </a:cubicBezTo>
                  <a:cubicBezTo>
                    <a:pt x="12728" y="4059"/>
                    <a:pt x="13340" y="4645"/>
                    <a:pt x="13938" y="5217"/>
                  </a:cubicBezTo>
                  <a:cubicBezTo>
                    <a:pt x="14535" y="5789"/>
                    <a:pt x="15118" y="6349"/>
                    <a:pt x="15687" y="6895"/>
                  </a:cubicBezTo>
                  <a:cubicBezTo>
                    <a:pt x="15758" y="6962"/>
                    <a:pt x="15828" y="7031"/>
                    <a:pt x="15899" y="7099"/>
                  </a:cubicBezTo>
                  <a:cubicBezTo>
                    <a:pt x="16005" y="7200"/>
                    <a:pt x="16005" y="7200"/>
                    <a:pt x="16005" y="7200"/>
                  </a:cubicBezTo>
                  <a:cubicBezTo>
                    <a:pt x="16056" y="7250"/>
                    <a:pt x="16080" y="7275"/>
                    <a:pt x="16115" y="7310"/>
                  </a:cubicBezTo>
                  <a:cubicBezTo>
                    <a:pt x="16247" y="7444"/>
                    <a:pt x="16382" y="7573"/>
                    <a:pt x="16518" y="7699"/>
                  </a:cubicBezTo>
                  <a:cubicBezTo>
                    <a:pt x="16791" y="7950"/>
                    <a:pt x="17069" y="8187"/>
                    <a:pt x="17354" y="8408"/>
                  </a:cubicBezTo>
                  <a:cubicBezTo>
                    <a:pt x="18492" y="9297"/>
                    <a:pt x="19712" y="9948"/>
                    <a:pt x="20914" y="10403"/>
                  </a:cubicBezTo>
                  <a:cubicBezTo>
                    <a:pt x="22117" y="10855"/>
                    <a:pt x="23303" y="11115"/>
                    <a:pt x="24413" y="11240"/>
                  </a:cubicBezTo>
                  <a:cubicBezTo>
                    <a:pt x="25523" y="11365"/>
                    <a:pt x="26559" y="11363"/>
                    <a:pt x="27492" y="11284"/>
                  </a:cubicBezTo>
                  <a:cubicBezTo>
                    <a:pt x="29363" y="11127"/>
                    <a:pt x="30811" y="10669"/>
                    <a:pt x="31821" y="10275"/>
                  </a:cubicBezTo>
                  <a:cubicBezTo>
                    <a:pt x="32482" y="10020"/>
                    <a:pt x="32949" y="9799"/>
                    <a:pt x="33252" y="9663"/>
                  </a:cubicBezTo>
                  <a:cubicBezTo>
                    <a:pt x="33555" y="9526"/>
                    <a:pt x="33699" y="9474"/>
                    <a:pt x="33698" y="9519"/>
                  </a:cubicBezTo>
                  <a:cubicBezTo>
                    <a:pt x="33694" y="9562"/>
                    <a:pt x="33543" y="9703"/>
                    <a:pt x="33234" y="9920"/>
                  </a:cubicBezTo>
                  <a:cubicBezTo>
                    <a:pt x="32926" y="10137"/>
                    <a:pt x="32457" y="10434"/>
                    <a:pt x="31776" y="10761"/>
                  </a:cubicBezTo>
                  <a:cubicBezTo>
                    <a:pt x="31610" y="10855"/>
                    <a:pt x="31233" y="11043"/>
                    <a:pt x="30648" y="11259"/>
                  </a:cubicBezTo>
                  <a:cubicBezTo>
                    <a:pt x="30063" y="11475"/>
                    <a:pt x="29266" y="11719"/>
                    <a:pt x="28270" y="11894"/>
                  </a:cubicBezTo>
                  <a:cubicBezTo>
                    <a:pt x="27276" y="12069"/>
                    <a:pt x="26083" y="12171"/>
                    <a:pt x="24737" y="12098"/>
                  </a:cubicBezTo>
                  <a:cubicBezTo>
                    <a:pt x="23394" y="12022"/>
                    <a:pt x="21893" y="11762"/>
                    <a:pt x="20355" y="11189"/>
                  </a:cubicBezTo>
                  <a:cubicBezTo>
                    <a:pt x="18655" y="10556"/>
                    <a:pt x="17026" y="9579"/>
                    <a:pt x="15632" y="8284"/>
                  </a:cubicBezTo>
                  <a:cubicBezTo>
                    <a:pt x="15545" y="8203"/>
                    <a:pt x="15459" y="8121"/>
                    <a:pt x="15373" y="8037"/>
                  </a:cubicBezTo>
                  <a:cubicBezTo>
                    <a:pt x="15310" y="7975"/>
                    <a:pt x="15310" y="7975"/>
                    <a:pt x="15310" y="7975"/>
                  </a:cubicBezTo>
                  <a:cubicBezTo>
                    <a:pt x="15258" y="7928"/>
                    <a:pt x="15258" y="7928"/>
                    <a:pt x="15258" y="7928"/>
                  </a:cubicBezTo>
                  <a:cubicBezTo>
                    <a:pt x="15133" y="7811"/>
                    <a:pt x="15133" y="7811"/>
                    <a:pt x="15133" y="7811"/>
                  </a:cubicBezTo>
                  <a:cubicBezTo>
                    <a:pt x="14965" y="7655"/>
                    <a:pt x="14797" y="7498"/>
                    <a:pt x="14628" y="7341"/>
                  </a:cubicBezTo>
                  <a:cubicBezTo>
                    <a:pt x="14290" y="7026"/>
                    <a:pt x="13951" y="6711"/>
                    <a:pt x="13611" y="6393"/>
                  </a:cubicBezTo>
                  <a:cubicBezTo>
                    <a:pt x="12930" y="5760"/>
                    <a:pt x="12244" y="5120"/>
                    <a:pt x="11552" y="4476"/>
                  </a:cubicBezTo>
                  <a:cubicBezTo>
                    <a:pt x="11206" y="4153"/>
                    <a:pt x="10859" y="3829"/>
                    <a:pt x="10511" y="3505"/>
                  </a:cubicBezTo>
                  <a:cubicBezTo>
                    <a:pt x="10337" y="3343"/>
                    <a:pt x="10163" y="3179"/>
                    <a:pt x="9988" y="3016"/>
                  </a:cubicBezTo>
                  <a:cubicBezTo>
                    <a:pt x="9726" y="2773"/>
                    <a:pt x="9726" y="2773"/>
                    <a:pt x="9726" y="2773"/>
                  </a:cubicBezTo>
                  <a:cubicBezTo>
                    <a:pt x="9664" y="2716"/>
                    <a:pt x="9664" y="2716"/>
                    <a:pt x="9664" y="2716"/>
                  </a:cubicBezTo>
                  <a:cubicBezTo>
                    <a:pt x="9605" y="2664"/>
                    <a:pt x="9605" y="2664"/>
                    <a:pt x="9605" y="2664"/>
                  </a:cubicBezTo>
                  <a:cubicBezTo>
                    <a:pt x="9481" y="2558"/>
                    <a:pt x="9481" y="2558"/>
                    <a:pt x="9481" y="2558"/>
                  </a:cubicBezTo>
                  <a:cubicBezTo>
                    <a:pt x="8812" y="2003"/>
                    <a:pt x="8011" y="1596"/>
                    <a:pt x="7158" y="1391"/>
                  </a:cubicBezTo>
                  <a:cubicBezTo>
                    <a:pt x="6731" y="1288"/>
                    <a:pt x="6290" y="1232"/>
                    <a:pt x="5849" y="1231"/>
                  </a:cubicBezTo>
                  <a:cubicBezTo>
                    <a:pt x="5362" y="1232"/>
                    <a:pt x="4873" y="1234"/>
                    <a:pt x="4383" y="1236"/>
                  </a:cubicBezTo>
                  <a:cubicBezTo>
                    <a:pt x="3489" y="1238"/>
                    <a:pt x="1921" y="1245"/>
                    <a:pt x="1688" y="1245"/>
                  </a:cubicBezTo>
                  <a:cubicBezTo>
                    <a:pt x="1615" y="1245"/>
                    <a:pt x="1559" y="1258"/>
                    <a:pt x="1510" y="1279"/>
                  </a:cubicBezTo>
                  <a:cubicBezTo>
                    <a:pt x="1498" y="1284"/>
                    <a:pt x="1490" y="1290"/>
                    <a:pt x="1480" y="1296"/>
                  </a:cubicBezTo>
                  <a:cubicBezTo>
                    <a:pt x="1453" y="1312"/>
                    <a:pt x="1430" y="1332"/>
                    <a:pt x="1411" y="1357"/>
                  </a:cubicBezTo>
                  <a:cubicBezTo>
                    <a:pt x="1399" y="1373"/>
                    <a:pt x="1389" y="1389"/>
                    <a:pt x="1382" y="1407"/>
                  </a:cubicBezTo>
                  <a:cubicBezTo>
                    <a:pt x="1375" y="1422"/>
                    <a:pt x="1369" y="1438"/>
                    <a:pt x="1364" y="1456"/>
                  </a:cubicBezTo>
                  <a:cubicBezTo>
                    <a:pt x="1352" y="1504"/>
                    <a:pt x="1347" y="1552"/>
                    <a:pt x="1347" y="1590"/>
                  </a:cubicBezTo>
                  <a:cubicBezTo>
                    <a:pt x="1347" y="1839"/>
                    <a:pt x="1383" y="13232"/>
                    <a:pt x="1401" y="19072"/>
                  </a:cubicBezTo>
                  <a:cubicBezTo>
                    <a:pt x="1402" y="19441"/>
                    <a:pt x="1403" y="19813"/>
                    <a:pt x="1405" y="20182"/>
                  </a:cubicBezTo>
                  <a:cubicBezTo>
                    <a:pt x="1407" y="20736"/>
                    <a:pt x="1407" y="20736"/>
                    <a:pt x="1407" y="20736"/>
                  </a:cubicBezTo>
                  <a:cubicBezTo>
                    <a:pt x="1408" y="21014"/>
                    <a:pt x="1408" y="21014"/>
                    <a:pt x="1408" y="21014"/>
                  </a:cubicBezTo>
                  <a:cubicBezTo>
                    <a:pt x="1408" y="21153"/>
                    <a:pt x="1408" y="21153"/>
                    <a:pt x="1408" y="21153"/>
                  </a:cubicBezTo>
                  <a:cubicBezTo>
                    <a:pt x="1409" y="21189"/>
                    <a:pt x="1409" y="21219"/>
                    <a:pt x="1412" y="21255"/>
                  </a:cubicBezTo>
                  <a:cubicBezTo>
                    <a:pt x="1439" y="21791"/>
                    <a:pt x="1721" y="22330"/>
                    <a:pt x="2150" y="22770"/>
                  </a:cubicBezTo>
                  <a:cubicBezTo>
                    <a:pt x="2577" y="23210"/>
                    <a:pt x="3136" y="23556"/>
                    <a:pt x="3727" y="23767"/>
                  </a:cubicBezTo>
                  <a:cubicBezTo>
                    <a:pt x="4023" y="23872"/>
                    <a:pt x="4328" y="23944"/>
                    <a:pt x="4629" y="23973"/>
                  </a:cubicBezTo>
                  <a:cubicBezTo>
                    <a:pt x="4703" y="23980"/>
                    <a:pt x="4778" y="23985"/>
                    <a:pt x="4852" y="23987"/>
                  </a:cubicBezTo>
                  <a:cubicBezTo>
                    <a:pt x="4891" y="23987"/>
                    <a:pt x="4922" y="23987"/>
                    <a:pt x="4967" y="23987"/>
                  </a:cubicBezTo>
                  <a:cubicBezTo>
                    <a:pt x="5103" y="23987"/>
                    <a:pt x="5103" y="23987"/>
                    <a:pt x="5103" y="23987"/>
                  </a:cubicBezTo>
                  <a:cubicBezTo>
                    <a:pt x="5283" y="23987"/>
                    <a:pt x="5461" y="23983"/>
                    <a:pt x="5638" y="23980"/>
                  </a:cubicBezTo>
                  <a:cubicBezTo>
                    <a:pt x="5814" y="23976"/>
                    <a:pt x="5988" y="23969"/>
                    <a:pt x="6158" y="23960"/>
                  </a:cubicBezTo>
                  <a:cubicBezTo>
                    <a:pt x="6222" y="23954"/>
                    <a:pt x="6222" y="23954"/>
                    <a:pt x="6222" y="23954"/>
                  </a:cubicBezTo>
                  <a:cubicBezTo>
                    <a:pt x="6271" y="23951"/>
                    <a:pt x="6271" y="23951"/>
                    <a:pt x="6271" y="23951"/>
                  </a:cubicBezTo>
                  <a:cubicBezTo>
                    <a:pt x="6303" y="23947"/>
                    <a:pt x="6334" y="23944"/>
                    <a:pt x="6366" y="23938"/>
                  </a:cubicBezTo>
                  <a:cubicBezTo>
                    <a:pt x="6397" y="23933"/>
                    <a:pt x="6428" y="23928"/>
                    <a:pt x="6458" y="23917"/>
                  </a:cubicBezTo>
                  <a:cubicBezTo>
                    <a:pt x="6488" y="23904"/>
                    <a:pt x="6513" y="23881"/>
                    <a:pt x="6527" y="23854"/>
                  </a:cubicBezTo>
                  <a:cubicBezTo>
                    <a:pt x="6556" y="23794"/>
                    <a:pt x="6548" y="23727"/>
                    <a:pt x="6548" y="23664"/>
                  </a:cubicBezTo>
                  <a:cubicBezTo>
                    <a:pt x="6545" y="23002"/>
                    <a:pt x="6541" y="22344"/>
                    <a:pt x="6537" y="21686"/>
                  </a:cubicBezTo>
                  <a:cubicBezTo>
                    <a:pt x="6528" y="20247"/>
                    <a:pt x="6520" y="18819"/>
                    <a:pt x="6511" y="17404"/>
                  </a:cubicBezTo>
                  <a:cubicBezTo>
                    <a:pt x="6510" y="17218"/>
                    <a:pt x="6509" y="17034"/>
                    <a:pt x="6508" y="16849"/>
                  </a:cubicBezTo>
                  <a:cubicBezTo>
                    <a:pt x="6511" y="16629"/>
                    <a:pt x="6533" y="16407"/>
                    <a:pt x="6571" y="16189"/>
                  </a:cubicBezTo>
                  <a:cubicBezTo>
                    <a:pt x="6649" y="15752"/>
                    <a:pt x="6799" y="15325"/>
                    <a:pt x="7014" y="14932"/>
                  </a:cubicBezTo>
                  <a:cubicBezTo>
                    <a:pt x="7441" y="14148"/>
                    <a:pt x="8130" y="13500"/>
                    <a:pt x="8964" y="13129"/>
                  </a:cubicBezTo>
                  <a:cubicBezTo>
                    <a:pt x="9381" y="12943"/>
                    <a:pt x="9833" y="12826"/>
                    <a:pt x="10292" y="12792"/>
                  </a:cubicBezTo>
                  <a:cubicBezTo>
                    <a:pt x="10405" y="12783"/>
                    <a:pt x="10526" y="12779"/>
                    <a:pt x="10633" y="12779"/>
                  </a:cubicBezTo>
                  <a:cubicBezTo>
                    <a:pt x="10738" y="12781"/>
                    <a:pt x="10843" y="12783"/>
                    <a:pt x="10948" y="12788"/>
                  </a:cubicBezTo>
                  <a:cubicBezTo>
                    <a:pt x="11158" y="12799"/>
                    <a:pt x="11367" y="12821"/>
                    <a:pt x="11575" y="12851"/>
                  </a:cubicBezTo>
                  <a:cubicBezTo>
                    <a:pt x="12409" y="12972"/>
                    <a:pt x="13207" y="13255"/>
                    <a:pt x="13931" y="13628"/>
                  </a:cubicBezTo>
                  <a:cubicBezTo>
                    <a:pt x="14656" y="14002"/>
                    <a:pt x="15313" y="14460"/>
                    <a:pt x="15923" y="14945"/>
                  </a:cubicBezTo>
                  <a:cubicBezTo>
                    <a:pt x="16534" y="15431"/>
                    <a:pt x="17099" y="15949"/>
                    <a:pt x="17646" y="16461"/>
                  </a:cubicBezTo>
                  <a:cubicBezTo>
                    <a:pt x="17916" y="16715"/>
                    <a:pt x="18185" y="16969"/>
                    <a:pt x="18455" y="17222"/>
                  </a:cubicBezTo>
                  <a:cubicBezTo>
                    <a:pt x="18854" y="17591"/>
                    <a:pt x="18854" y="17591"/>
                    <a:pt x="18854" y="17591"/>
                  </a:cubicBezTo>
                  <a:cubicBezTo>
                    <a:pt x="18989" y="17714"/>
                    <a:pt x="19125" y="17837"/>
                    <a:pt x="19260" y="17958"/>
                  </a:cubicBezTo>
                  <a:cubicBezTo>
                    <a:pt x="19815" y="18455"/>
                    <a:pt x="20354" y="18956"/>
                    <a:pt x="20887" y="19441"/>
                  </a:cubicBezTo>
                  <a:cubicBezTo>
                    <a:pt x="21420" y="19926"/>
                    <a:pt x="21949" y="20397"/>
                    <a:pt x="22486" y="20819"/>
                  </a:cubicBezTo>
                  <a:cubicBezTo>
                    <a:pt x="23023" y="21239"/>
                    <a:pt x="23571" y="21614"/>
                    <a:pt x="24131" y="21883"/>
                  </a:cubicBezTo>
                  <a:cubicBezTo>
                    <a:pt x="24692" y="22151"/>
                    <a:pt x="25262" y="22308"/>
                    <a:pt x="25829" y="22317"/>
                  </a:cubicBezTo>
                  <a:cubicBezTo>
                    <a:pt x="26396" y="22330"/>
                    <a:pt x="26958" y="22198"/>
                    <a:pt x="27497" y="21966"/>
                  </a:cubicBezTo>
                  <a:cubicBezTo>
                    <a:pt x="28038" y="21733"/>
                    <a:pt x="28553" y="21409"/>
                    <a:pt x="29047" y="21052"/>
                  </a:cubicBezTo>
                  <a:cubicBezTo>
                    <a:pt x="29540" y="20695"/>
                    <a:pt x="30011" y="20303"/>
                    <a:pt x="30470" y="19910"/>
                  </a:cubicBezTo>
                  <a:cubicBezTo>
                    <a:pt x="30928" y="19515"/>
                    <a:pt x="31373" y="19117"/>
                    <a:pt x="31813" y="18727"/>
                  </a:cubicBezTo>
                  <a:cubicBezTo>
                    <a:pt x="32033" y="18535"/>
                    <a:pt x="32252" y="18343"/>
                    <a:pt x="32467" y="18154"/>
                  </a:cubicBezTo>
                  <a:cubicBezTo>
                    <a:pt x="32575" y="18060"/>
                    <a:pt x="32683" y="17968"/>
                    <a:pt x="32789" y="17876"/>
                  </a:cubicBezTo>
                  <a:cubicBezTo>
                    <a:pt x="32892" y="17784"/>
                    <a:pt x="32994" y="17696"/>
                    <a:pt x="33095" y="17606"/>
                  </a:cubicBezTo>
                  <a:cubicBezTo>
                    <a:pt x="34015" y="16784"/>
                    <a:pt x="34917" y="15904"/>
                    <a:pt x="35917" y="15125"/>
                  </a:cubicBezTo>
                  <a:cubicBezTo>
                    <a:pt x="36417" y="14735"/>
                    <a:pt x="36941" y="14371"/>
                    <a:pt x="37500" y="14056"/>
                  </a:cubicBezTo>
                  <a:cubicBezTo>
                    <a:pt x="38058" y="13742"/>
                    <a:pt x="38653" y="13479"/>
                    <a:pt x="39276" y="13302"/>
                  </a:cubicBezTo>
                  <a:cubicBezTo>
                    <a:pt x="39900" y="13123"/>
                    <a:pt x="40546" y="13035"/>
                    <a:pt x="41196" y="13049"/>
                  </a:cubicBezTo>
                  <a:cubicBezTo>
                    <a:pt x="41882" y="13066"/>
                    <a:pt x="42554" y="13279"/>
                    <a:pt x="43119" y="13639"/>
                  </a:cubicBezTo>
                  <a:cubicBezTo>
                    <a:pt x="43685" y="13998"/>
                    <a:pt x="44146" y="14501"/>
                    <a:pt x="44458" y="15078"/>
                  </a:cubicBezTo>
                  <a:cubicBezTo>
                    <a:pt x="44772" y="15655"/>
                    <a:pt x="44929" y="16315"/>
                    <a:pt x="44919" y="16953"/>
                  </a:cubicBezTo>
                  <a:cubicBezTo>
                    <a:pt x="44904" y="17929"/>
                    <a:pt x="44888" y="18839"/>
                    <a:pt x="44875" y="19688"/>
                  </a:cubicBezTo>
                  <a:cubicBezTo>
                    <a:pt x="44866" y="20109"/>
                    <a:pt x="44859" y="20512"/>
                    <a:pt x="44851" y="20902"/>
                  </a:cubicBezTo>
                  <a:cubicBezTo>
                    <a:pt x="44850" y="20997"/>
                    <a:pt x="44848" y="21093"/>
                    <a:pt x="44846" y="21185"/>
                  </a:cubicBezTo>
                  <a:cubicBezTo>
                    <a:pt x="44844" y="21264"/>
                    <a:pt x="44848" y="21344"/>
                    <a:pt x="44856" y="21421"/>
                  </a:cubicBezTo>
                  <a:cubicBezTo>
                    <a:pt x="44871" y="21578"/>
                    <a:pt x="44905" y="21730"/>
                    <a:pt x="44952" y="21876"/>
                  </a:cubicBezTo>
                  <a:cubicBezTo>
                    <a:pt x="45063" y="22240"/>
                    <a:pt x="45263" y="22575"/>
                    <a:pt x="45499" y="22864"/>
                  </a:cubicBezTo>
                  <a:cubicBezTo>
                    <a:pt x="45735" y="23152"/>
                    <a:pt x="46005" y="23397"/>
                    <a:pt x="46280" y="23599"/>
                  </a:cubicBezTo>
                  <a:cubicBezTo>
                    <a:pt x="46414" y="23718"/>
                    <a:pt x="46493" y="23794"/>
                    <a:pt x="46508" y="23834"/>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0" name="Freeform 34"/>
            <p:cNvSpPr>
              <a:spLocks/>
            </p:cNvSpPr>
            <p:nvPr userDrawn="1"/>
          </p:nvSpPr>
          <p:spPr bwMode="auto">
            <a:xfrm>
              <a:off x="-83369150" y="20088225"/>
              <a:ext cx="138082338" cy="94243525"/>
            </a:xfrm>
            <a:custGeom>
              <a:avLst/>
              <a:gdLst>
                <a:gd name="T0" fmla="*/ 33157 w 36820"/>
                <a:gd name="T1" fmla="*/ 17610 h 25129"/>
                <a:gd name="T2" fmla="*/ 31301 w 36820"/>
                <a:gd name="T3" fmla="*/ 19236 h 25129"/>
                <a:gd name="T4" fmla="*/ 25100 w 36820"/>
                <a:gd name="T5" fmla="*/ 22390 h 25129"/>
                <a:gd name="T6" fmla="*/ 19131 w 36820"/>
                <a:gd name="T7" fmla="*/ 18160 h 25129"/>
                <a:gd name="T8" fmla="*/ 16791 w 36820"/>
                <a:gd name="T9" fmla="*/ 15971 h 25129"/>
                <a:gd name="T10" fmla="*/ 10465 w 36820"/>
                <a:gd name="T11" fmla="*/ 12817 h 25129"/>
                <a:gd name="T12" fmla="*/ 6482 w 36820"/>
                <a:gd name="T13" fmla="*/ 16811 h 25129"/>
                <a:gd name="T14" fmla="*/ 6497 w 36820"/>
                <a:gd name="T15" fmla="*/ 23614 h 25129"/>
                <a:gd name="T16" fmla="*/ 6308 w 36820"/>
                <a:gd name="T17" fmla="*/ 23899 h 25129"/>
                <a:gd name="T18" fmla="*/ 5806 w 36820"/>
                <a:gd name="T19" fmla="*/ 23944 h 25129"/>
                <a:gd name="T20" fmla="*/ 4640 w 36820"/>
                <a:gd name="T21" fmla="*/ 23962 h 25129"/>
                <a:gd name="T22" fmla="*/ 1800 w 36820"/>
                <a:gd name="T23" fmla="*/ 22601 h 25129"/>
                <a:gd name="T24" fmla="*/ 1131 w 36820"/>
                <a:gd name="T25" fmla="*/ 21000 h 25129"/>
                <a:gd name="T26" fmla="*/ 1125 w 36820"/>
                <a:gd name="T27" fmla="*/ 19849 h 25129"/>
                <a:gd name="T28" fmla="*/ 1060 w 36820"/>
                <a:gd name="T29" fmla="*/ 1793 h 25129"/>
                <a:gd name="T30" fmla="*/ 3689 w 36820"/>
                <a:gd name="T31" fmla="*/ 982 h 25129"/>
                <a:gd name="T32" fmla="*/ 5782 w 36820"/>
                <a:gd name="T33" fmla="*/ 977 h 25129"/>
                <a:gd name="T34" fmla="*/ 9101 w 36820"/>
                <a:gd name="T35" fmla="*/ 2101 h 25129"/>
                <a:gd name="T36" fmla="*/ 13309 w 36820"/>
                <a:gd name="T37" fmla="*/ 5963 h 25129"/>
                <a:gd name="T38" fmla="*/ 15246 w 36820"/>
                <a:gd name="T39" fmla="*/ 7767 h 25129"/>
                <a:gd name="T40" fmla="*/ 16641 w 36820"/>
                <a:gd name="T41" fmla="*/ 8970 h 25129"/>
                <a:gd name="T42" fmla="*/ 24643 w 36820"/>
                <a:gd name="T43" fmla="*/ 11779 h 25129"/>
                <a:gd name="T44" fmla="*/ 27567 w 36820"/>
                <a:gd name="T45" fmla="*/ 11469 h 25129"/>
                <a:gd name="T46" fmla="*/ 22316 w 36820"/>
                <a:gd name="T47" fmla="*/ 10912 h 25129"/>
                <a:gd name="T48" fmla="*/ 16115 w 36820"/>
                <a:gd name="T49" fmla="*/ 7516 h 25129"/>
                <a:gd name="T50" fmla="*/ 14838 w 36820"/>
                <a:gd name="T51" fmla="*/ 6279 h 25129"/>
                <a:gd name="T52" fmla="*/ 10203 w 36820"/>
                <a:gd name="T53" fmla="*/ 1841 h 25129"/>
                <a:gd name="T54" fmla="*/ 6586 w 36820"/>
                <a:gd name="T55" fmla="*/ 101 h 25129"/>
                <a:gd name="T56" fmla="*/ 5685 w 36820"/>
                <a:gd name="T57" fmla="*/ 29 h 25129"/>
                <a:gd name="T58" fmla="*/ 1071 w 36820"/>
                <a:gd name="T59" fmla="*/ 0 h 25129"/>
                <a:gd name="T60" fmla="*/ 9 w 36820"/>
                <a:gd name="T61" fmla="*/ 14968 h 25129"/>
                <a:gd name="T62" fmla="*/ 2 w 36820"/>
                <a:gd name="T63" fmla="*/ 21079 h 25129"/>
                <a:gd name="T64" fmla="*/ 1566 w 36820"/>
                <a:gd name="T65" fmla="*/ 23950 h 25129"/>
                <a:gd name="T66" fmla="*/ 4502 w 36820"/>
                <a:gd name="T67" fmla="*/ 25118 h 25129"/>
                <a:gd name="T68" fmla="*/ 5500 w 36820"/>
                <a:gd name="T69" fmla="*/ 25123 h 25129"/>
                <a:gd name="T70" fmla="*/ 6180 w 36820"/>
                <a:gd name="T71" fmla="*/ 25096 h 25129"/>
                <a:gd name="T72" fmla="*/ 7622 w 36820"/>
                <a:gd name="T73" fmla="*/ 24285 h 25129"/>
                <a:gd name="T74" fmla="*/ 7674 w 36820"/>
                <a:gd name="T75" fmla="*/ 23387 h 25129"/>
                <a:gd name="T76" fmla="*/ 7658 w 36820"/>
                <a:gd name="T77" fmla="*/ 16629 h 25129"/>
                <a:gd name="T78" fmla="*/ 9720 w 36820"/>
                <a:gd name="T79" fmla="*/ 14049 h 25129"/>
                <a:gd name="T80" fmla="*/ 10716 w 36820"/>
                <a:gd name="T81" fmla="*/ 13953 h 25129"/>
                <a:gd name="T82" fmla="*/ 16254 w 36820"/>
                <a:gd name="T83" fmla="*/ 16889 h 25129"/>
                <a:gd name="T84" fmla="*/ 19370 w 36820"/>
                <a:gd name="T85" fmla="*/ 19687 h 25129"/>
                <a:gd name="T86" fmla="*/ 26024 w 36820"/>
                <a:gd name="T87" fmla="*/ 23232 h 25129"/>
                <a:gd name="T88" fmla="*/ 31256 w 36820"/>
                <a:gd name="T89" fmla="*/ 20132 h 25129"/>
                <a:gd name="T90" fmla="*/ 35607 w 36820"/>
                <a:gd name="T91" fmla="*/ 15888 h 25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20" h="25129">
                  <a:moveTo>
                    <a:pt x="36432" y="14878"/>
                  </a:moveTo>
                  <a:cubicBezTo>
                    <a:pt x="35876" y="15259"/>
                    <a:pt x="35364" y="15654"/>
                    <a:pt x="34673" y="16254"/>
                  </a:cubicBezTo>
                  <a:cubicBezTo>
                    <a:pt x="34238" y="16629"/>
                    <a:pt x="33725" y="17103"/>
                    <a:pt x="33157" y="17610"/>
                  </a:cubicBezTo>
                  <a:cubicBezTo>
                    <a:pt x="33015" y="17736"/>
                    <a:pt x="32870" y="17864"/>
                    <a:pt x="32718" y="17992"/>
                  </a:cubicBezTo>
                  <a:cubicBezTo>
                    <a:pt x="32567" y="18124"/>
                    <a:pt x="32412" y="18259"/>
                    <a:pt x="32255" y="18394"/>
                  </a:cubicBezTo>
                  <a:cubicBezTo>
                    <a:pt x="31943" y="18670"/>
                    <a:pt x="31624" y="18951"/>
                    <a:pt x="31301" y="19236"/>
                  </a:cubicBezTo>
                  <a:cubicBezTo>
                    <a:pt x="30558" y="19898"/>
                    <a:pt x="29815" y="20560"/>
                    <a:pt x="29025" y="21137"/>
                  </a:cubicBezTo>
                  <a:cubicBezTo>
                    <a:pt x="28236" y="21708"/>
                    <a:pt x="27385" y="22199"/>
                    <a:pt x="26478" y="22374"/>
                  </a:cubicBezTo>
                  <a:cubicBezTo>
                    <a:pt x="26026" y="22462"/>
                    <a:pt x="25560" y="22467"/>
                    <a:pt x="25100" y="22390"/>
                  </a:cubicBezTo>
                  <a:cubicBezTo>
                    <a:pt x="24641" y="22312"/>
                    <a:pt x="24189" y="22148"/>
                    <a:pt x="23756" y="21930"/>
                  </a:cubicBezTo>
                  <a:cubicBezTo>
                    <a:pt x="22888" y="21488"/>
                    <a:pt x="22097" y="20846"/>
                    <a:pt x="21355" y="20199"/>
                  </a:cubicBezTo>
                  <a:cubicBezTo>
                    <a:pt x="20634" y="19566"/>
                    <a:pt x="19905" y="18867"/>
                    <a:pt x="19131" y="18160"/>
                  </a:cubicBezTo>
                  <a:cubicBezTo>
                    <a:pt x="18939" y="17987"/>
                    <a:pt x="18746" y="17810"/>
                    <a:pt x="18551" y="17633"/>
                  </a:cubicBezTo>
                  <a:cubicBezTo>
                    <a:pt x="18361" y="17458"/>
                    <a:pt x="18170" y="17276"/>
                    <a:pt x="17977" y="17094"/>
                  </a:cubicBezTo>
                  <a:cubicBezTo>
                    <a:pt x="17592" y="16726"/>
                    <a:pt x="17200" y="16348"/>
                    <a:pt x="16791" y="15971"/>
                  </a:cubicBezTo>
                  <a:cubicBezTo>
                    <a:pt x="15972" y="15221"/>
                    <a:pt x="15086" y="14464"/>
                    <a:pt x="14038" y="13858"/>
                  </a:cubicBezTo>
                  <a:cubicBezTo>
                    <a:pt x="13515" y="13555"/>
                    <a:pt x="12950" y="13295"/>
                    <a:pt x="12348" y="13109"/>
                  </a:cubicBezTo>
                  <a:cubicBezTo>
                    <a:pt x="11746" y="12926"/>
                    <a:pt x="11108" y="12821"/>
                    <a:pt x="10465" y="12817"/>
                  </a:cubicBezTo>
                  <a:cubicBezTo>
                    <a:pt x="9777" y="12807"/>
                    <a:pt x="9074" y="12994"/>
                    <a:pt x="8475" y="13344"/>
                  </a:cubicBezTo>
                  <a:cubicBezTo>
                    <a:pt x="7873" y="13695"/>
                    <a:pt x="7368" y="14204"/>
                    <a:pt x="7019" y="14808"/>
                  </a:cubicBezTo>
                  <a:cubicBezTo>
                    <a:pt x="6668" y="15410"/>
                    <a:pt x="6479" y="16115"/>
                    <a:pt x="6482" y="16811"/>
                  </a:cubicBezTo>
                  <a:cubicBezTo>
                    <a:pt x="6482" y="17401"/>
                    <a:pt x="6482" y="17992"/>
                    <a:pt x="6482" y="18580"/>
                  </a:cubicBezTo>
                  <a:cubicBezTo>
                    <a:pt x="6485" y="19759"/>
                    <a:pt x="6487" y="20935"/>
                    <a:pt x="6489" y="22101"/>
                  </a:cubicBezTo>
                  <a:cubicBezTo>
                    <a:pt x="6492" y="22608"/>
                    <a:pt x="6495" y="23111"/>
                    <a:pt x="6497" y="23614"/>
                  </a:cubicBezTo>
                  <a:cubicBezTo>
                    <a:pt x="6498" y="23677"/>
                    <a:pt x="6498" y="23746"/>
                    <a:pt x="6467" y="23803"/>
                  </a:cubicBezTo>
                  <a:cubicBezTo>
                    <a:pt x="6451" y="23831"/>
                    <a:pt x="6427" y="23854"/>
                    <a:pt x="6399" y="23870"/>
                  </a:cubicBezTo>
                  <a:cubicBezTo>
                    <a:pt x="6371" y="23885"/>
                    <a:pt x="6339" y="23892"/>
                    <a:pt x="6308" y="23899"/>
                  </a:cubicBezTo>
                  <a:cubicBezTo>
                    <a:pt x="6246" y="23912"/>
                    <a:pt x="6182" y="23919"/>
                    <a:pt x="6118" y="23924"/>
                  </a:cubicBezTo>
                  <a:cubicBezTo>
                    <a:pt x="6010" y="23933"/>
                    <a:pt x="6010" y="23933"/>
                    <a:pt x="6010" y="23933"/>
                  </a:cubicBezTo>
                  <a:cubicBezTo>
                    <a:pt x="5806" y="23944"/>
                    <a:pt x="5806" y="23944"/>
                    <a:pt x="5806" y="23944"/>
                  </a:cubicBezTo>
                  <a:cubicBezTo>
                    <a:pt x="5547" y="23955"/>
                    <a:pt x="5283" y="23960"/>
                    <a:pt x="5016" y="23962"/>
                  </a:cubicBezTo>
                  <a:cubicBezTo>
                    <a:pt x="4815" y="23964"/>
                    <a:pt x="4815" y="23964"/>
                    <a:pt x="4815" y="23964"/>
                  </a:cubicBezTo>
                  <a:cubicBezTo>
                    <a:pt x="4750" y="23966"/>
                    <a:pt x="4699" y="23964"/>
                    <a:pt x="4640" y="23962"/>
                  </a:cubicBezTo>
                  <a:cubicBezTo>
                    <a:pt x="4525" y="23957"/>
                    <a:pt x="4409" y="23946"/>
                    <a:pt x="4294" y="23930"/>
                  </a:cubicBezTo>
                  <a:cubicBezTo>
                    <a:pt x="3831" y="23863"/>
                    <a:pt x="3365" y="23706"/>
                    <a:pt x="2937" y="23479"/>
                  </a:cubicBezTo>
                  <a:cubicBezTo>
                    <a:pt x="2508" y="23252"/>
                    <a:pt x="2114" y="22956"/>
                    <a:pt x="1800" y="22601"/>
                  </a:cubicBezTo>
                  <a:cubicBezTo>
                    <a:pt x="1487" y="22247"/>
                    <a:pt x="1257" y="21836"/>
                    <a:pt x="1172" y="21409"/>
                  </a:cubicBezTo>
                  <a:cubicBezTo>
                    <a:pt x="1150" y="21303"/>
                    <a:pt x="1136" y="21194"/>
                    <a:pt x="1133" y="21086"/>
                  </a:cubicBezTo>
                  <a:cubicBezTo>
                    <a:pt x="1131" y="21000"/>
                    <a:pt x="1131" y="21000"/>
                    <a:pt x="1131" y="21000"/>
                  </a:cubicBezTo>
                  <a:cubicBezTo>
                    <a:pt x="1130" y="20895"/>
                    <a:pt x="1130" y="20895"/>
                    <a:pt x="1130" y="20895"/>
                  </a:cubicBezTo>
                  <a:cubicBezTo>
                    <a:pt x="1130" y="20686"/>
                    <a:pt x="1130" y="20686"/>
                    <a:pt x="1130" y="20686"/>
                  </a:cubicBezTo>
                  <a:cubicBezTo>
                    <a:pt x="1128" y="20408"/>
                    <a:pt x="1127" y="20129"/>
                    <a:pt x="1125" y="19849"/>
                  </a:cubicBezTo>
                  <a:cubicBezTo>
                    <a:pt x="1123" y="19290"/>
                    <a:pt x="1120" y="18730"/>
                    <a:pt x="1118" y="18167"/>
                  </a:cubicBezTo>
                  <a:cubicBezTo>
                    <a:pt x="1114" y="17044"/>
                    <a:pt x="1109" y="15917"/>
                    <a:pt x="1105" y="14786"/>
                  </a:cubicBezTo>
                  <a:cubicBezTo>
                    <a:pt x="1094" y="10863"/>
                    <a:pt x="1065" y="3552"/>
                    <a:pt x="1060" y="1793"/>
                  </a:cubicBezTo>
                  <a:cubicBezTo>
                    <a:pt x="1059" y="1554"/>
                    <a:pt x="1067" y="1418"/>
                    <a:pt x="1067" y="1406"/>
                  </a:cubicBezTo>
                  <a:cubicBezTo>
                    <a:pt x="1067" y="1152"/>
                    <a:pt x="1084" y="988"/>
                    <a:pt x="1480" y="988"/>
                  </a:cubicBezTo>
                  <a:cubicBezTo>
                    <a:pt x="2013" y="988"/>
                    <a:pt x="2956" y="985"/>
                    <a:pt x="3689" y="982"/>
                  </a:cubicBezTo>
                  <a:cubicBezTo>
                    <a:pt x="4090" y="982"/>
                    <a:pt x="4490" y="980"/>
                    <a:pt x="4890" y="979"/>
                  </a:cubicBezTo>
                  <a:cubicBezTo>
                    <a:pt x="5089" y="978"/>
                    <a:pt x="5289" y="978"/>
                    <a:pt x="5488" y="977"/>
                  </a:cubicBezTo>
                  <a:cubicBezTo>
                    <a:pt x="5782" y="977"/>
                    <a:pt x="5782" y="977"/>
                    <a:pt x="5782" y="977"/>
                  </a:cubicBezTo>
                  <a:cubicBezTo>
                    <a:pt x="5868" y="980"/>
                    <a:pt x="5965" y="984"/>
                    <a:pt x="6055" y="990"/>
                  </a:cubicBezTo>
                  <a:cubicBezTo>
                    <a:pt x="6789" y="1041"/>
                    <a:pt x="7508" y="1231"/>
                    <a:pt x="8166" y="1545"/>
                  </a:cubicBezTo>
                  <a:cubicBezTo>
                    <a:pt x="8495" y="1700"/>
                    <a:pt x="8808" y="1887"/>
                    <a:pt x="9101" y="2101"/>
                  </a:cubicBezTo>
                  <a:cubicBezTo>
                    <a:pt x="9248" y="2207"/>
                    <a:pt x="9389" y="2321"/>
                    <a:pt x="9525" y="2439"/>
                  </a:cubicBezTo>
                  <a:cubicBezTo>
                    <a:pt x="9658" y="2556"/>
                    <a:pt x="9801" y="2695"/>
                    <a:pt x="9944" y="2827"/>
                  </a:cubicBezTo>
                  <a:cubicBezTo>
                    <a:pt x="11082" y="3888"/>
                    <a:pt x="12204" y="4934"/>
                    <a:pt x="13309" y="5963"/>
                  </a:cubicBezTo>
                  <a:cubicBezTo>
                    <a:pt x="13861" y="6478"/>
                    <a:pt x="14409" y="6987"/>
                    <a:pt x="14951" y="7491"/>
                  </a:cubicBezTo>
                  <a:cubicBezTo>
                    <a:pt x="15155" y="7680"/>
                    <a:pt x="15155" y="7680"/>
                    <a:pt x="15155" y="7680"/>
                  </a:cubicBezTo>
                  <a:cubicBezTo>
                    <a:pt x="15246" y="7767"/>
                    <a:pt x="15246" y="7767"/>
                    <a:pt x="15246" y="7767"/>
                  </a:cubicBezTo>
                  <a:cubicBezTo>
                    <a:pt x="15349" y="7866"/>
                    <a:pt x="15349" y="7866"/>
                    <a:pt x="15349" y="7866"/>
                  </a:cubicBezTo>
                  <a:cubicBezTo>
                    <a:pt x="15486" y="8000"/>
                    <a:pt x="15625" y="8128"/>
                    <a:pt x="15766" y="8254"/>
                  </a:cubicBezTo>
                  <a:cubicBezTo>
                    <a:pt x="16050" y="8505"/>
                    <a:pt x="16341" y="8744"/>
                    <a:pt x="16641" y="8970"/>
                  </a:cubicBezTo>
                  <a:cubicBezTo>
                    <a:pt x="17706" y="9776"/>
                    <a:pt x="18804" y="10356"/>
                    <a:pt x="19828" y="10768"/>
                  </a:cubicBezTo>
                  <a:cubicBezTo>
                    <a:pt x="20855" y="11180"/>
                    <a:pt x="21808" y="11423"/>
                    <a:pt x="22626" y="11568"/>
                  </a:cubicBezTo>
                  <a:cubicBezTo>
                    <a:pt x="23444" y="11713"/>
                    <a:pt x="24128" y="11763"/>
                    <a:pt x="24643" y="11779"/>
                  </a:cubicBezTo>
                  <a:cubicBezTo>
                    <a:pt x="25159" y="11792"/>
                    <a:pt x="25507" y="11773"/>
                    <a:pt x="25667" y="11755"/>
                  </a:cubicBezTo>
                  <a:cubicBezTo>
                    <a:pt x="26292" y="11727"/>
                    <a:pt x="26757" y="11664"/>
                    <a:pt x="27069" y="11608"/>
                  </a:cubicBezTo>
                  <a:cubicBezTo>
                    <a:pt x="27383" y="11552"/>
                    <a:pt x="27549" y="11499"/>
                    <a:pt x="27567" y="11469"/>
                  </a:cubicBezTo>
                  <a:cubicBezTo>
                    <a:pt x="27586" y="11436"/>
                    <a:pt x="27455" y="11424"/>
                    <a:pt x="27175" y="11422"/>
                  </a:cubicBezTo>
                  <a:cubicBezTo>
                    <a:pt x="26893" y="11416"/>
                    <a:pt x="26525" y="11420"/>
                    <a:pt x="25859" y="11398"/>
                  </a:cubicBezTo>
                  <a:cubicBezTo>
                    <a:pt x="25027" y="11367"/>
                    <a:pt x="23806" y="11287"/>
                    <a:pt x="22316" y="10912"/>
                  </a:cubicBezTo>
                  <a:cubicBezTo>
                    <a:pt x="21573" y="10721"/>
                    <a:pt x="20765" y="10457"/>
                    <a:pt x="19925" y="10078"/>
                  </a:cubicBezTo>
                  <a:cubicBezTo>
                    <a:pt x="19086" y="9698"/>
                    <a:pt x="18216" y="9206"/>
                    <a:pt x="17366" y="8573"/>
                  </a:cubicBezTo>
                  <a:cubicBezTo>
                    <a:pt x="16942" y="8256"/>
                    <a:pt x="16522" y="7904"/>
                    <a:pt x="16115" y="7516"/>
                  </a:cubicBezTo>
                  <a:cubicBezTo>
                    <a:pt x="16013" y="7420"/>
                    <a:pt x="15913" y="7320"/>
                    <a:pt x="15813" y="7218"/>
                  </a:cubicBezTo>
                  <a:cubicBezTo>
                    <a:pt x="15706" y="7114"/>
                    <a:pt x="15597" y="7010"/>
                    <a:pt x="15488" y="6905"/>
                  </a:cubicBezTo>
                  <a:cubicBezTo>
                    <a:pt x="15274" y="6699"/>
                    <a:pt x="15058" y="6490"/>
                    <a:pt x="14838" y="6279"/>
                  </a:cubicBezTo>
                  <a:cubicBezTo>
                    <a:pt x="13957" y="5435"/>
                    <a:pt x="13032" y="4548"/>
                    <a:pt x="12067" y="3623"/>
                  </a:cubicBezTo>
                  <a:cubicBezTo>
                    <a:pt x="11583" y="3160"/>
                    <a:pt x="11089" y="2687"/>
                    <a:pt x="10586" y="2205"/>
                  </a:cubicBezTo>
                  <a:cubicBezTo>
                    <a:pt x="10459" y="2085"/>
                    <a:pt x="10331" y="1963"/>
                    <a:pt x="10203" y="1841"/>
                  </a:cubicBezTo>
                  <a:cubicBezTo>
                    <a:pt x="10062" y="1710"/>
                    <a:pt x="9921" y="1590"/>
                    <a:pt x="9771" y="1472"/>
                  </a:cubicBezTo>
                  <a:cubicBezTo>
                    <a:pt x="9473" y="1239"/>
                    <a:pt x="9152" y="1028"/>
                    <a:pt x="8813" y="844"/>
                  </a:cubicBezTo>
                  <a:cubicBezTo>
                    <a:pt x="8134" y="476"/>
                    <a:pt x="7377" y="218"/>
                    <a:pt x="6586" y="101"/>
                  </a:cubicBezTo>
                  <a:cubicBezTo>
                    <a:pt x="6388" y="72"/>
                    <a:pt x="6188" y="52"/>
                    <a:pt x="5986" y="39"/>
                  </a:cubicBezTo>
                  <a:cubicBezTo>
                    <a:pt x="5834" y="32"/>
                    <a:pt x="5834" y="32"/>
                    <a:pt x="5834" y="32"/>
                  </a:cubicBezTo>
                  <a:cubicBezTo>
                    <a:pt x="5778" y="30"/>
                    <a:pt x="5731" y="29"/>
                    <a:pt x="5685" y="29"/>
                  </a:cubicBezTo>
                  <a:cubicBezTo>
                    <a:pt x="5590" y="28"/>
                    <a:pt x="5495" y="28"/>
                    <a:pt x="5400" y="27"/>
                  </a:cubicBezTo>
                  <a:cubicBezTo>
                    <a:pt x="5021" y="25"/>
                    <a:pt x="4638" y="22"/>
                    <a:pt x="4253" y="19"/>
                  </a:cubicBezTo>
                  <a:cubicBezTo>
                    <a:pt x="3214" y="13"/>
                    <a:pt x="2153" y="7"/>
                    <a:pt x="1071" y="0"/>
                  </a:cubicBezTo>
                  <a:cubicBezTo>
                    <a:pt x="440" y="30"/>
                    <a:pt x="70" y="466"/>
                    <a:pt x="71" y="993"/>
                  </a:cubicBezTo>
                  <a:cubicBezTo>
                    <a:pt x="72" y="1520"/>
                    <a:pt x="57" y="3521"/>
                    <a:pt x="51" y="4786"/>
                  </a:cubicBezTo>
                  <a:cubicBezTo>
                    <a:pt x="37" y="8137"/>
                    <a:pt x="23" y="11548"/>
                    <a:pt x="9" y="14968"/>
                  </a:cubicBezTo>
                  <a:cubicBezTo>
                    <a:pt x="7" y="16681"/>
                    <a:pt x="4" y="18396"/>
                    <a:pt x="1" y="20107"/>
                  </a:cubicBezTo>
                  <a:cubicBezTo>
                    <a:pt x="0" y="20749"/>
                    <a:pt x="0" y="20749"/>
                    <a:pt x="0" y="20749"/>
                  </a:cubicBezTo>
                  <a:cubicBezTo>
                    <a:pt x="2" y="21079"/>
                    <a:pt x="2" y="21079"/>
                    <a:pt x="2" y="21079"/>
                  </a:cubicBezTo>
                  <a:cubicBezTo>
                    <a:pt x="3" y="21211"/>
                    <a:pt x="14" y="21340"/>
                    <a:pt x="32" y="21470"/>
                  </a:cubicBezTo>
                  <a:cubicBezTo>
                    <a:pt x="107" y="21988"/>
                    <a:pt x="310" y="22469"/>
                    <a:pt x="582" y="22884"/>
                  </a:cubicBezTo>
                  <a:cubicBezTo>
                    <a:pt x="855" y="23299"/>
                    <a:pt x="1193" y="23650"/>
                    <a:pt x="1566" y="23950"/>
                  </a:cubicBezTo>
                  <a:cubicBezTo>
                    <a:pt x="1939" y="24247"/>
                    <a:pt x="2347" y="24492"/>
                    <a:pt x="2779" y="24682"/>
                  </a:cubicBezTo>
                  <a:cubicBezTo>
                    <a:pt x="3211" y="24873"/>
                    <a:pt x="3668" y="25010"/>
                    <a:pt x="4143" y="25080"/>
                  </a:cubicBezTo>
                  <a:cubicBezTo>
                    <a:pt x="4261" y="25098"/>
                    <a:pt x="4381" y="25111"/>
                    <a:pt x="4502" y="25118"/>
                  </a:cubicBezTo>
                  <a:cubicBezTo>
                    <a:pt x="4562" y="25123"/>
                    <a:pt x="4623" y="25125"/>
                    <a:pt x="4684" y="25127"/>
                  </a:cubicBezTo>
                  <a:cubicBezTo>
                    <a:pt x="4856" y="25129"/>
                    <a:pt x="4856" y="25129"/>
                    <a:pt x="4856" y="25129"/>
                  </a:cubicBezTo>
                  <a:cubicBezTo>
                    <a:pt x="5068" y="25129"/>
                    <a:pt x="5284" y="25127"/>
                    <a:pt x="5500" y="25123"/>
                  </a:cubicBezTo>
                  <a:cubicBezTo>
                    <a:pt x="5826" y="25114"/>
                    <a:pt x="5826" y="25114"/>
                    <a:pt x="5826" y="25114"/>
                  </a:cubicBezTo>
                  <a:cubicBezTo>
                    <a:pt x="5990" y="25107"/>
                    <a:pt x="5990" y="25107"/>
                    <a:pt x="5990" y="25107"/>
                  </a:cubicBezTo>
                  <a:cubicBezTo>
                    <a:pt x="6180" y="25096"/>
                    <a:pt x="6180" y="25096"/>
                    <a:pt x="6180" y="25096"/>
                  </a:cubicBezTo>
                  <a:cubicBezTo>
                    <a:pt x="6494" y="25075"/>
                    <a:pt x="6817" y="25044"/>
                    <a:pt x="7084" y="24932"/>
                  </a:cubicBezTo>
                  <a:cubicBezTo>
                    <a:pt x="7216" y="24876"/>
                    <a:pt x="7342" y="24793"/>
                    <a:pt x="7436" y="24676"/>
                  </a:cubicBezTo>
                  <a:cubicBezTo>
                    <a:pt x="7531" y="24561"/>
                    <a:pt x="7588" y="24426"/>
                    <a:pt x="7622" y="24285"/>
                  </a:cubicBezTo>
                  <a:cubicBezTo>
                    <a:pt x="7640" y="24215"/>
                    <a:pt x="7652" y="24142"/>
                    <a:pt x="7660" y="24067"/>
                  </a:cubicBezTo>
                  <a:cubicBezTo>
                    <a:pt x="7670" y="23993"/>
                    <a:pt x="7665" y="23912"/>
                    <a:pt x="7668" y="23834"/>
                  </a:cubicBezTo>
                  <a:cubicBezTo>
                    <a:pt x="7674" y="23387"/>
                    <a:pt x="7674" y="23387"/>
                    <a:pt x="7674" y="23387"/>
                  </a:cubicBezTo>
                  <a:cubicBezTo>
                    <a:pt x="7669" y="21716"/>
                    <a:pt x="7665" y="20060"/>
                    <a:pt x="7660" y="18425"/>
                  </a:cubicBezTo>
                  <a:cubicBezTo>
                    <a:pt x="7658" y="18017"/>
                    <a:pt x="7657" y="17610"/>
                    <a:pt x="7655" y="17204"/>
                  </a:cubicBezTo>
                  <a:cubicBezTo>
                    <a:pt x="7657" y="17006"/>
                    <a:pt x="7650" y="16786"/>
                    <a:pt x="7658" y="16629"/>
                  </a:cubicBezTo>
                  <a:cubicBezTo>
                    <a:pt x="7667" y="16461"/>
                    <a:pt x="7692" y="16292"/>
                    <a:pt x="7731" y="16128"/>
                  </a:cubicBezTo>
                  <a:cubicBezTo>
                    <a:pt x="7887" y="15470"/>
                    <a:pt x="8290" y="14876"/>
                    <a:pt x="8831" y="14482"/>
                  </a:cubicBezTo>
                  <a:cubicBezTo>
                    <a:pt x="9101" y="14285"/>
                    <a:pt x="9403" y="14137"/>
                    <a:pt x="9720" y="14049"/>
                  </a:cubicBezTo>
                  <a:cubicBezTo>
                    <a:pt x="9878" y="14006"/>
                    <a:pt x="10041" y="13973"/>
                    <a:pt x="10204" y="13959"/>
                  </a:cubicBezTo>
                  <a:cubicBezTo>
                    <a:pt x="10286" y="13951"/>
                    <a:pt x="10366" y="13948"/>
                    <a:pt x="10450" y="13948"/>
                  </a:cubicBezTo>
                  <a:cubicBezTo>
                    <a:pt x="10539" y="13946"/>
                    <a:pt x="10627" y="13950"/>
                    <a:pt x="10716" y="13953"/>
                  </a:cubicBezTo>
                  <a:cubicBezTo>
                    <a:pt x="11424" y="13984"/>
                    <a:pt x="12116" y="14162"/>
                    <a:pt x="12766" y="14442"/>
                  </a:cubicBezTo>
                  <a:cubicBezTo>
                    <a:pt x="13418" y="14721"/>
                    <a:pt x="14029" y="15100"/>
                    <a:pt x="14605" y="15522"/>
                  </a:cubicBezTo>
                  <a:cubicBezTo>
                    <a:pt x="15182" y="15946"/>
                    <a:pt x="15725" y="16411"/>
                    <a:pt x="16254" y="16889"/>
                  </a:cubicBezTo>
                  <a:cubicBezTo>
                    <a:pt x="16784" y="17365"/>
                    <a:pt x="17299" y="17853"/>
                    <a:pt x="17826" y="18324"/>
                  </a:cubicBezTo>
                  <a:cubicBezTo>
                    <a:pt x="18089" y="18555"/>
                    <a:pt x="18350" y="18784"/>
                    <a:pt x="18608" y="19011"/>
                  </a:cubicBezTo>
                  <a:cubicBezTo>
                    <a:pt x="18864" y="19238"/>
                    <a:pt x="19118" y="19463"/>
                    <a:pt x="19370" y="19687"/>
                  </a:cubicBezTo>
                  <a:cubicBezTo>
                    <a:pt x="20380" y="20583"/>
                    <a:pt x="21360" y="21468"/>
                    <a:pt x="22447" y="22172"/>
                  </a:cubicBezTo>
                  <a:cubicBezTo>
                    <a:pt x="22991" y="22520"/>
                    <a:pt x="23565" y="22819"/>
                    <a:pt x="24172" y="23012"/>
                  </a:cubicBezTo>
                  <a:cubicBezTo>
                    <a:pt x="24778" y="23207"/>
                    <a:pt x="25416" y="23286"/>
                    <a:pt x="26024" y="23232"/>
                  </a:cubicBezTo>
                  <a:cubicBezTo>
                    <a:pt x="26633" y="23183"/>
                    <a:pt x="27205" y="23008"/>
                    <a:pt x="27714" y="22778"/>
                  </a:cubicBezTo>
                  <a:cubicBezTo>
                    <a:pt x="28225" y="22545"/>
                    <a:pt x="28681" y="22258"/>
                    <a:pt x="29100" y="21961"/>
                  </a:cubicBezTo>
                  <a:cubicBezTo>
                    <a:pt x="29933" y="21360"/>
                    <a:pt x="30625" y="20720"/>
                    <a:pt x="31256" y="20132"/>
                  </a:cubicBezTo>
                  <a:cubicBezTo>
                    <a:pt x="31875" y="19545"/>
                    <a:pt x="32444" y="19006"/>
                    <a:pt x="32962" y="18513"/>
                  </a:cubicBezTo>
                  <a:cubicBezTo>
                    <a:pt x="33480" y="18034"/>
                    <a:pt x="33921" y="17585"/>
                    <a:pt x="34299" y="17202"/>
                  </a:cubicBezTo>
                  <a:cubicBezTo>
                    <a:pt x="34906" y="16593"/>
                    <a:pt x="35248" y="16240"/>
                    <a:pt x="35607" y="15888"/>
                  </a:cubicBezTo>
                  <a:cubicBezTo>
                    <a:pt x="36146" y="15365"/>
                    <a:pt x="36518" y="15039"/>
                    <a:pt x="36667" y="14875"/>
                  </a:cubicBezTo>
                  <a:cubicBezTo>
                    <a:pt x="36820" y="14712"/>
                    <a:pt x="36745" y="14705"/>
                    <a:pt x="36432" y="14878"/>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1" name="Freeform 35"/>
            <p:cNvSpPr>
              <a:spLocks noEditPoints="1"/>
            </p:cNvSpPr>
            <p:nvPr userDrawn="1"/>
          </p:nvSpPr>
          <p:spPr bwMode="auto">
            <a:xfrm>
              <a:off x="-85296375" y="18191163"/>
              <a:ext cx="195448238" cy="98140837"/>
            </a:xfrm>
            <a:custGeom>
              <a:avLst/>
              <a:gdLst>
                <a:gd name="T0" fmla="*/ 49583 w 52117"/>
                <a:gd name="T1" fmla="*/ 737 h 26168"/>
                <a:gd name="T2" fmla="*/ 35822 w 52117"/>
                <a:gd name="T3" fmla="*/ 7517 h 26168"/>
                <a:gd name="T4" fmla="*/ 33730 w 52117"/>
                <a:gd name="T5" fmla="*/ 9149 h 26168"/>
                <a:gd name="T6" fmla="*/ 17258 w 52117"/>
                <a:gd name="T7" fmla="*/ 7854 h 26168"/>
                <a:gd name="T8" fmla="*/ 11345 w 52117"/>
                <a:gd name="T9" fmla="*/ 2224 h 26168"/>
                <a:gd name="T10" fmla="*/ 9326 w 52117"/>
                <a:gd name="T11" fmla="*/ 768 h 26168"/>
                <a:gd name="T12" fmla="*/ 1375 w 52117"/>
                <a:gd name="T13" fmla="*/ 0 h 26168"/>
                <a:gd name="T14" fmla="*/ 5 w 52117"/>
                <a:gd name="T15" fmla="*/ 19472 h 26168"/>
                <a:gd name="T16" fmla="*/ 5 w 52117"/>
                <a:gd name="T17" fmla="*/ 21740 h 26168"/>
                <a:gd name="T18" fmla="*/ 2995 w 52117"/>
                <a:gd name="T19" fmla="*/ 25633 h 26168"/>
                <a:gd name="T20" fmla="*/ 5449 w 52117"/>
                <a:gd name="T21" fmla="*/ 26168 h 26168"/>
                <a:gd name="T22" fmla="*/ 6688 w 52117"/>
                <a:gd name="T23" fmla="*/ 26141 h 26168"/>
                <a:gd name="T24" fmla="*/ 8720 w 52117"/>
                <a:gd name="T25" fmla="*/ 24416 h 26168"/>
                <a:gd name="T26" fmla="*/ 8736 w 52117"/>
                <a:gd name="T27" fmla="*/ 21563 h 26168"/>
                <a:gd name="T28" fmla="*/ 8741 w 52117"/>
                <a:gd name="T29" fmla="*/ 17270 h 26168"/>
                <a:gd name="T30" fmla="*/ 10456 w 52117"/>
                <a:gd name="T31" fmla="*/ 15112 h 26168"/>
                <a:gd name="T32" fmla="*/ 15098 w 52117"/>
                <a:gd name="T33" fmla="*/ 16805 h 26168"/>
                <a:gd name="T34" fmla="*/ 21041 w 52117"/>
                <a:gd name="T35" fmla="*/ 22112 h 26168"/>
                <a:gd name="T36" fmla="*/ 28486 w 52117"/>
                <a:gd name="T37" fmla="*/ 24005 h 26168"/>
                <a:gd name="T38" fmla="*/ 36202 w 52117"/>
                <a:gd name="T39" fmla="*/ 17676 h 26168"/>
                <a:gd name="T40" fmla="*/ 41491 w 52117"/>
                <a:gd name="T41" fmla="*/ 14928 h 26168"/>
                <a:gd name="T42" fmla="*/ 43802 w 52117"/>
                <a:gd name="T43" fmla="*/ 16791 h 26168"/>
                <a:gd name="T44" fmla="*/ 43869 w 52117"/>
                <a:gd name="T45" fmla="*/ 17719 h 26168"/>
                <a:gd name="T46" fmla="*/ 43910 w 52117"/>
                <a:gd name="T47" fmla="*/ 21574 h 26168"/>
                <a:gd name="T48" fmla="*/ 45077 w 52117"/>
                <a:gd name="T49" fmla="*/ 24167 h 26168"/>
                <a:gd name="T50" fmla="*/ 49081 w 52117"/>
                <a:gd name="T51" fmla="*/ 25882 h 26168"/>
                <a:gd name="T52" fmla="*/ 50914 w 52117"/>
                <a:gd name="T53" fmla="*/ 25770 h 26168"/>
                <a:gd name="T54" fmla="*/ 52046 w 52117"/>
                <a:gd name="T55" fmla="*/ 24904 h 26168"/>
                <a:gd name="T56" fmla="*/ 50669 w 52117"/>
                <a:gd name="T57" fmla="*/ 23321 h 26168"/>
                <a:gd name="T58" fmla="*/ 50634 w 52117"/>
                <a:gd name="T59" fmla="*/ 24234 h 26168"/>
                <a:gd name="T60" fmla="*/ 50132 w 52117"/>
                <a:gd name="T61" fmla="*/ 24338 h 26168"/>
                <a:gd name="T62" fmla="*/ 49062 w 52117"/>
                <a:gd name="T63" fmla="*/ 24349 h 26168"/>
                <a:gd name="T64" fmla="*/ 45648 w 52117"/>
                <a:gd name="T65" fmla="*/ 22048 h 26168"/>
                <a:gd name="T66" fmla="*/ 45578 w 52117"/>
                <a:gd name="T67" fmla="*/ 21214 h 26168"/>
                <a:gd name="T68" fmla="*/ 45603 w 52117"/>
                <a:gd name="T69" fmla="*/ 17236 h 26168"/>
                <a:gd name="T70" fmla="*/ 43192 w 52117"/>
                <a:gd name="T71" fmla="*/ 13496 h 26168"/>
                <a:gd name="T72" fmla="*/ 38820 w 52117"/>
                <a:gd name="T73" fmla="*/ 13635 h 26168"/>
                <a:gd name="T74" fmla="*/ 33083 w 52117"/>
                <a:gd name="T75" fmla="*/ 17952 h 26168"/>
                <a:gd name="T76" fmla="*/ 27369 w 52117"/>
                <a:gd name="T77" fmla="*/ 22286 h 26168"/>
                <a:gd name="T78" fmla="*/ 19412 w 52117"/>
                <a:gd name="T79" fmla="*/ 17873 h 26168"/>
                <a:gd name="T80" fmla="*/ 14267 w 52117"/>
                <a:gd name="T81" fmla="*/ 13745 h 26168"/>
                <a:gd name="T82" fmla="*/ 10663 w 52117"/>
                <a:gd name="T83" fmla="*/ 12928 h 26168"/>
                <a:gd name="T84" fmla="*/ 6626 w 52117"/>
                <a:gd name="T85" fmla="*/ 16744 h 26168"/>
                <a:gd name="T86" fmla="*/ 6586 w 52117"/>
                <a:gd name="T87" fmla="*/ 18257 h 26168"/>
                <a:gd name="T88" fmla="*/ 6568 w 52117"/>
                <a:gd name="T89" fmla="*/ 23938 h 26168"/>
                <a:gd name="T90" fmla="*/ 6529 w 52117"/>
                <a:gd name="T91" fmla="*/ 23981 h 26168"/>
                <a:gd name="T92" fmla="*/ 5838 w 52117"/>
                <a:gd name="T93" fmla="*/ 23999 h 26168"/>
                <a:gd name="T94" fmla="*/ 5033 w 52117"/>
                <a:gd name="T95" fmla="*/ 23985 h 26168"/>
                <a:gd name="T96" fmla="*/ 2175 w 52117"/>
                <a:gd name="T97" fmla="*/ 16149 h 26168"/>
                <a:gd name="T98" fmla="*/ 6032 w 52117"/>
                <a:gd name="T99" fmla="*/ 2106 h 26168"/>
                <a:gd name="T100" fmla="*/ 9691 w 52117"/>
                <a:gd name="T101" fmla="*/ 3488 h 26168"/>
                <a:gd name="T102" fmla="*/ 13560 w 52117"/>
                <a:gd name="T103" fmla="*/ 7102 h 26168"/>
                <a:gd name="T104" fmla="*/ 15301 w 52117"/>
                <a:gd name="T105" fmla="*/ 8723 h 26168"/>
                <a:gd name="T106" fmla="*/ 17946 w 52117"/>
                <a:gd name="T107" fmla="*/ 10792 h 26168"/>
                <a:gd name="T108" fmla="*/ 24225 w 52117"/>
                <a:gd name="T109" fmla="*/ 12916 h 26168"/>
                <a:gd name="T110" fmla="*/ 34787 w 52117"/>
                <a:gd name="T111" fmla="*/ 10330 h 26168"/>
                <a:gd name="T112" fmla="*/ 43890 w 52117"/>
                <a:gd name="T113" fmla="*/ 1677 h 26168"/>
                <a:gd name="T114" fmla="*/ 50331 w 52117"/>
                <a:gd name="T115" fmla="*/ 3278 h 26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117" h="26168">
                  <a:moveTo>
                    <a:pt x="52107" y="4115"/>
                  </a:moveTo>
                  <a:cubicBezTo>
                    <a:pt x="52091" y="3841"/>
                    <a:pt x="52040" y="3427"/>
                    <a:pt x="51838" y="2930"/>
                  </a:cubicBezTo>
                  <a:cubicBezTo>
                    <a:pt x="51638" y="2436"/>
                    <a:pt x="51278" y="1854"/>
                    <a:pt x="50670" y="1361"/>
                  </a:cubicBezTo>
                  <a:cubicBezTo>
                    <a:pt x="50367" y="1116"/>
                    <a:pt x="50002" y="896"/>
                    <a:pt x="49583" y="737"/>
                  </a:cubicBezTo>
                  <a:cubicBezTo>
                    <a:pt x="49164" y="577"/>
                    <a:pt x="48683" y="480"/>
                    <a:pt x="48187" y="476"/>
                  </a:cubicBezTo>
                  <a:cubicBezTo>
                    <a:pt x="47024" y="459"/>
                    <a:pt x="44252" y="418"/>
                    <a:pt x="43968" y="420"/>
                  </a:cubicBezTo>
                  <a:cubicBezTo>
                    <a:pt x="43684" y="422"/>
                    <a:pt x="43402" y="560"/>
                    <a:pt x="43268" y="682"/>
                  </a:cubicBezTo>
                  <a:cubicBezTo>
                    <a:pt x="43135" y="804"/>
                    <a:pt x="38532" y="5028"/>
                    <a:pt x="35822" y="7517"/>
                  </a:cubicBezTo>
                  <a:cubicBezTo>
                    <a:pt x="35737" y="7593"/>
                    <a:pt x="35654" y="7670"/>
                    <a:pt x="35569" y="7747"/>
                  </a:cubicBezTo>
                  <a:cubicBezTo>
                    <a:pt x="35490" y="7821"/>
                    <a:pt x="35409" y="7893"/>
                    <a:pt x="35326" y="7965"/>
                  </a:cubicBezTo>
                  <a:cubicBezTo>
                    <a:pt x="35162" y="8108"/>
                    <a:pt x="34993" y="8248"/>
                    <a:pt x="34819" y="8383"/>
                  </a:cubicBezTo>
                  <a:cubicBezTo>
                    <a:pt x="34473" y="8654"/>
                    <a:pt x="34111" y="8911"/>
                    <a:pt x="33730" y="9149"/>
                  </a:cubicBezTo>
                  <a:cubicBezTo>
                    <a:pt x="32972" y="9627"/>
                    <a:pt x="32150" y="10035"/>
                    <a:pt x="31278" y="10356"/>
                  </a:cubicBezTo>
                  <a:cubicBezTo>
                    <a:pt x="29536" y="11001"/>
                    <a:pt x="27598" y="11297"/>
                    <a:pt x="25618" y="11198"/>
                  </a:cubicBezTo>
                  <a:cubicBezTo>
                    <a:pt x="23642" y="11104"/>
                    <a:pt x="21634" y="10601"/>
                    <a:pt x="19812" y="9632"/>
                  </a:cubicBezTo>
                  <a:cubicBezTo>
                    <a:pt x="18902" y="9149"/>
                    <a:pt x="18040" y="8554"/>
                    <a:pt x="17258" y="7854"/>
                  </a:cubicBezTo>
                  <a:cubicBezTo>
                    <a:pt x="16451" y="7085"/>
                    <a:pt x="15636" y="6309"/>
                    <a:pt x="14813" y="5525"/>
                  </a:cubicBezTo>
                  <a:cubicBezTo>
                    <a:pt x="13983" y="4734"/>
                    <a:pt x="13145" y="3937"/>
                    <a:pt x="12299" y="3131"/>
                  </a:cubicBezTo>
                  <a:cubicBezTo>
                    <a:pt x="12088" y="2931"/>
                    <a:pt x="11876" y="2729"/>
                    <a:pt x="11664" y="2527"/>
                  </a:cubicBezTo>
                  <a:cubicBezTo>
                    <a:pt x="11345" y="2224"/>
                    <a:pt x="11345" y="2224"/>
                    <a:pt x="11345" y="2224"/>
                  </a:cubicBezTo>
                  <a:cubicBezTo>
                    <a:pt x="11185" y="2072"/>
                    <a:pt x="11185" y="2072"/>
                    <a:pt x="11185" y="2072"/>
                  </a:cubicBezTo>
                  <a:cubicBezTo>
                    <a:pt x="11099" y="1991"/>
                    <a:pt x="11099" y="1991"/>
                    <a:pt x="11099" y="1991"/>
                  </a:cubicBezTo>
                  <a:cubicBezTo>
                    <a:pt x="11006" y="1905"/>
                    <a:pt x="11006" y="1905"/>
                    <a:pt x="11006" y="1905"/>
                  </a:cubicBezTo>
                  <a:cubicBezTo>
                    <a:pt x="10504" y="1454"/>
                    <a:pt x="9939" y="1069"/>
                    <a:pt x="9326" y="768"/>
                  </a:cubicBezTo>
                  <a:cubicBezTo>
                    <a:pt x="8713" y="467"/>
                    <a:pt x="8055" y="251"/>
                    <a:pt x="7376" y="132"/>
                  </a:cubicBezTo>
                  <a:cubicBezTo>
                    <a:pt x="7036" y="73"/>
                    <a:pt x="6698" y="37"/>
                    <a:pt x="6345" y="26"/>
                  </a:cubicBezTo>
                  <a:cubicBezTo>
                    <a:pt x="6040" y="23"/>
                    <a:pt x="5735" y="21"/>
                    <a:pt x="5430" y="18"/>
                  </a:cubicBezTo>
                  <a:cubicBezTo>
                    <a:pt x="4086" y="12"/>
                    <a:pt x="2155" y="0"/>
                    <a:pt x="1375" y="0"/>
                  </a:cubicBezTo>
                  <a:cubicBezTo>
                    <a:pt x="595" y="0"/>
                    <a:pt x="78" y="373"/>
                    <a:pt x="78" y="1289"/>
                  </a:cubicBezTo>
                  <a:cubicBezTo>
                    <a:pt x="78" y="2417"/>
                    <a:pt x="69" y="3264"/>
                    <a:pt x="65" y="4257"/>
                  </a:cubicBezTo>
                  <a:cubicBezTo>
                    <a:pt x="52" y="7480"/>
                    <a:pt x="34" y="11821"/>
                    <a:pt x="17" y="16197"/>
                  </a:cubicBezTo>
                  <a:cubicBezTo>
                    <a:pt x="13" y="17294"/>
                    <a:pt x="9" y="18390"/>
                    <a:pt x="5" y="19472"/>
                  </a:cubicBezTo>
                  <a:cubicBezTo>
                    <a:pt x="4" y="20013"/>
                    <a:pt x="2" y="20550"/>
                    <a:pt x="0" y="21082"/>
                  </a:cubicBezTo>
                  <a:cubicBezTo>
                    <a:pt x="0" y="21215"/>
                    <a:pt x="0" y="21349"/>
                    <a:pt x="0" y="21480"/>
                  </a:cubicBezTo>
                  <a:cubicBezTo>
                    <a:pt x="0" y="21599"/>
                    <a:pt x="0" y="21599"/>
                    <a:pt x="0" y="21599"/>
                  </a:cubicBezTo>
                  <a:cubicBezTo>
                    <a:pt x="0" y="21646"/>
                    <a:pt x="3" y="21693"/>
                    <a:pt x="5" y="21740"/>
                  </a:cubicBezTo>
                  <a:cubicBezTo>
                    <a:pt x="10" y="21836"/>
                    <a:pt x="20" y="21928"/>
                    <a:pt x="32" y="22021"/>
                  </a:cubicBezTo>
                  <a:cubicBezTo>
                    <a:pt x="80" y="22391"/>
                    <a:pt x="187" y="22743"/>
                    <a:pt x="330" y="23065"/>
                  </a:cubicBezTo>
                  <a:cubicBezTo>
                    <a:pt x="618" y="23711"/>
                    <a:pt x="1040" y="24230"/>
                    <a:pt x="1499" y="24647"/>
                  </a:cubicBezTo>
                  <a:cubicBezTo>
                    <a:pt x="1961" y="25065"/>
                    <a:pt x="2468" y="25388"/>
                    <a:pt x="2995" y="25633"/>
                  </a:cubicBezTo>
                  <a:cubicBezTo>
                    <a:pt x="3523" y="25876"/>
                    <a:pt x="4074" y="26042"/>
                    <a:pt x="4638" y="26120"/>
                  </a:cubicBezTo>
                  <a:cubicBezTo>
                    <a:pt x="4779" y="26140"/>
                    <a:pt x="4922" y="26154"/>
                    <a:pt x="5064" y="26161"/>
                  </a:cubicBezTo>
                  <a:cubicBezTo>
                    <a:pt x="5136" y="26163"/>
                    <a:pt x="5207" y="26167"/>
                    <a:pt x="5279" y="26167"/>
                  </a:cubicBezTo>
                  <a:cubicBezTo>
                    <a:pt x="5336" y="26167"/>
                    <a:pt x="5393" y="26167"/>
                    <a:pt x="5449" y="26168"/>
                  </a:cubicBezTo>
                  <a:cubicBezTo>
                    <a:pt x="5672" y="26168"/>
                    <a:pt x="5896" y="26167"/>
                    <a:pt x="6118" y="26163"/>
                  </a:cubicBezTo>
                  <a:cubicBezTo>
                    <a:pt x="6101" y="26163"/>
                    <a:pt x="6139" y="26163"/>
                    <a:pt x="6230" y="26159"/>
                  </a:cubicBezTo>
                  <a:cubicBezTo>
                    <a:pt x="6276" y="26158"/>
                    <a:pt x="6335" y="26156"/>
                    <a:pt x="6407" y="26154"/>
                  </a:cubicBezTo>
                  <a:cubicBezTo>
                    <a:pt x="6487" y="26150"/>
                    <a:pt x="6580" y="26147"/>
                    <a:pt x="6688" y="26141"/>
                  </a:cubicBezTo>
                  <a:cubicBezTo>
                    <a:pt x="6868" y="26129"/>
                    <a:pt x="7073" y="26114"/>
                    <a:pt x="7294" y="26080"/>
                  </a:cubicBezTo>
                  <a:cubicBezTo>
                    <a:pt x="7514" y="26046"/>
                    <a:pt x="7750" y="25990"/>
                    <a:pt x="7958" y="25869"/>
                  </a:cubicBezTo>
                  <a:cubicBezTo>
                    <a:pt x="8162" y="25756"/>
                    <a:pt x="8375" y="25563"/>
                    <a:pt x="8513" y="25317"/>
                  </a:cubicBezTo>
                  <a:cubicBezTo>
                    <a:pt x="8650" y="25074"/>
                    <a:pt x="8735" y="24782"/>
                    <a:pt x="8720" y="24416"/>
                  </a:cubicBezTo>
                  <a:cubicBezTo>
                    <a:pt x="8724" y="24248"/>
                    <a:pt x="8728" y="24079"/>
                    <a:pt x="8732" y="23904"/>
                  </a:cubicBezTo>
                  <a:cubicBezTo>
                    <a:pt x="8732" y="23808"/>
                    <a:pt x="8732" y="23711"/>
                    <a:pt x="8733" y="23612"/>
                  </a:cubicBezTo>
                  <a:cubicBezTo>
                    <a:pt x="8733" y="23413"/>
                    <a:pt x="8733" y="23202"/>
                    <a:pt x="8733" y="22986"/>
                  </a:cubicBezTo>
                  <a:cubicBezTo>
                    <a:pt x="8734" y="22548"/>
                    <a:pt x="8735" y="22074"/>
                    <a:pt x="8736" y="21563"/>
                  </a:cubicBezTo>
                  <a:cubicBezTo>
                    <a:pt x="8737" y="20545"/>
                    <a:pt x="8738" y="19384"/>
                    <a:pt x="8740" y="18107"/>
                  </a:cubicBezTo>
                  <a:cubicBezTo>
                    <a:pt x="8740" y="17948"/>
                    <a:pt x="8740" y="17788"/>
                    <a:pt x="8740" y="17624"/>
                  </a:cubicBezTo>
                  <a:cubicBezTo>
                    <a:pt x="8740" y="17543"/>
                    <a:pt x="8740" y="17460"/>
                    <a:pt x="8740" y="17378"/>
                  </a:cubicBezTo>
                  <a:cubicBezTo>
                    <a:pt x="8741" y="17270"/>
                    <a:pt x="8741" y="17270"/>
                    <a:pt x="8741" y="17270"/>
                  </a:cubicBezTo>
                  <a:cubicBezTo>
                    <a:pt x="8741" y="17243"/>
                    <a:pt x="8743" y="17214"/>
                    <a:pt x="8744" y="17187"/>
                  </a:cubicBezTo>
                  <a:cubicBezTo>
                    <a:pt x="8755" y="16964"/>
                    <a:pt x="8800" y="16740"/>
                    <a:pt x="8882" y="16522"/>
                  </a:cubicBezTo>
                  <a:cubicBezTo>
                    <a:pt x="9042" y="16087"/>
                    <a:pt x="9355" y="15680"/>
                    <a:pt x="9773" y="15408"/>
                  </a:cubicBezTo>
                  <a:cubicBezTo>
                    <a:pt x="9980" y="15273"/>
                    <a:pt x="10212" y="15170"/>
                    <a:pt x="10456" y="15112"/>
                  </a:cubicBezTo>
                  <a:cubicBezTo>
                    <a:pt x="10578" y="15083"/>
                    <a:pt x="10703" y="15063"/>
                    <a:pt x="10829" y="15056"/>
                  </a:cubicBezTo>
                  <a:cubicBezTo>
                    <a:pt x="10942" y="15051"/>
                    <a:pt x="11122" y="15054"/>
                    <a:pt x="11276" y="15063"/>
                  </a:cubicBezTo>
                  <a:cubicBezTo>
                    <a:pt x="11911" y="15107"/>
                    <a:pt x="12556" y="15283"/>
                    <a:pt x="13197" y="15584"/>
                  </a:cubicBezTo>
                  <a:cubicBezTo>
                    <a:pt x="13839" y="15886"/>
                    <a:pt x="14472" y="16307"/>
                    <a:pt x="15098" y="16805"/>
                  </a:cubicBezTo>
                  <a:cubicBezTo>
                    <a:pt x="15724" y="17299"/>
                    <a:pt x="16340" y="17869"/>
                    <a:pt x="16981" y="18468"/>
                  </a:cubicBezTo>
                  <a:cubicBezTo>
                    <a:pt x="17301" y="18769"/>
                    <a:pt x="17628" y="19075"/>
                    <a:pt x="17971" y="19385"/>
                  </a:cubicBezTo>
                  <a:cubicBezTo>
                    <a:pt x="18303" y="19681"/>
                    <a:pt x="18637" y="19978"/>
                    <a:pt x="18973" y="20280"/>
                  </a:cubicBezTo>
                  <a:cubicBezTo>
                    <a:pt x="19637" y="20878"/>
                    <a:pt x="20310" y="21500"/>
                    <a:pt x="21041" y="22112"/>
                  </a:cubicBezTo>
                  <a:cubicBezTo>
                    <a:pt x="21778" y="22725"/>
                    <a:pt x="22570" y="23339"/>
                    <a:pt x="23533" y="23824"/>
                  </a:cubicBezTo>
                  <a:cubicBezTo>
                    <a:pt x="24015" y="24064"/>
                    <a:pt x="24542" y="24264"/>
                    <a:pt x="25108" y="24382"/>
                  </a:cubicBezTo>
                  <a:cubicBezTo>
                    <a:pt x="25671" y="24499"/>
                    <a:pt x="26269" y="24528"/>
                    <a:pt x="26848" y="24457"/>
                  </a:cubicBezTo>
                  <a:cubicBezTo>
                    <a:pt x="27427" y="24387"/>
                    <a:pt x="27981" y="24221"/>
                    <a:pt x="28486" y="24005"/>
                  </a:cubicBezTo>
                  <a:cubicBezTo>
                    <a:pt x="28992" y="23787"/>
                    <a:pt x="29451" y="23520"/>
                    <a:pt x="29878" y="23237"/>
                  </a:cubicBezTo>
                  <a:cubicBezTo>
                    <a:pt x="30730" y="22663"/>
                    <a:pt x="31464" y="22025"/>
                    <a:pt x="32166" y="21397"/>
                  </a:cubicBezTo>
                  <a:cubicBezTo>
                    <a:pt x="32866" y="20766"/>
                    <a:pt x="33533" y="20139"/>
                    <a:pt x="34204" y="19542"/>
                  </a:cubicBezTo>
                  <a:cubicBezTo>
                    <a:pt x="34915" y="18906"/>
                    <a:pt x="35557" y="18267"/>
                    <a:pt x="36202" y="17676"/>
                  </a:cubicBezTo>
                  <a:cubicBezTo>
                    <a:pt x="36845" y="17086"/>
                    <a:pt x="37487" y="16544"/>
                    <a:pt x="38150" y="16096"/>
                  </a:cubicBezTo>
                  <a:cubicBezTo>
                    <a:pt x="38813" y="15649"/>
                    <a:pt x="39496" y="15305"/>
                    <a:pt x="40189" y="15114"/>
                  </a:cubicBezTo>
                  <a:cubicBezTo>
                    <a:pt x="40535" y="15018"/>
                    <a:pt x="40883" y="14959"/>
                    <a:pt x="41231" y="14937"/>
                  </a:cubicBezTo>
                  <a:cubicBezTo>
                    <a:pt x="41318" y="14932"/>
                    <a:pt x="41406" y="14928"/>
                    <a:pt x="41491" y="14928"/>
                  </a:cubicBezTo>
                  <a:cubicBezTo>
                    <a:pt x="41564" y="14928"/>
                    <a:pt x="41637" y="14930"/>
                    <a:pt x="41709" y="14937"/>
                  </a:cubicBezTo>
                  <a:cubicBezTo>
                    <a:pt x="41852" y="14950"/>
                    <a:pt x="41994" y="14975"/>
                    <a:pt x="42131" y="15015"/>
                  </a:cubicBezTo>
                  <a:cubicBezTo>
                    <a:pt x="42684" y="15172"/>
                    <a:pt x="43172" y="15548"/>
                    <a:pt x="43477" y="16024"/>
                  </a:cubicBezTo>
                  <a:cubicBezTo>
                    <a:pt x="43631" y="16262"/>
                    <a:pt x="43741" y="16524"/>
                    <a:pt x="43802" y="16791"/>
                  </a:cubicBezTo>
                  <a:cubicBezTo>
                    <a:pt x="43833" y="16924"/>
                    <a:pt x="43853" y="17061"/>
                    <a:pt x="43861" y="17196"/>
                  </a:cubicBezTo>
                  <a:cubicBezTo>
                    <a:pt x="43863" y="17234"/>
                    <a:pt x="43863" y="17258"/>
                    <a:pt x="43864" y="17297"/>
                  </a:cubicBezTo>
                  <a:cubicBezTo>
                    <a:pt x="43865" y="17438"/>
                    <a:pt x="43865" y="17438"/>
                    <a:pt x="43865" y="17438"/>
                  </a:cubicBezTo>
                  <a:cubicBezTo>
                    <a:pt x="43866" y="17532"/>
                    <a:pt x="43867" y="17626"/>
                    <a:pt x="43869" y="17719"/>
                  </a:cubicBezTo>
                  <a:cubicBezTo>
                    <a:pt x="43876" y="18468"/>
                    <a:pt x="43883" y="19192"/>
                    <a:pt x="43890" y="19897"/>
                  </a:cubicBezTo>
                  <a:cubicBezTo>
                    <a:pt x="43894" y="20247"/>
                    <a:pt x="43898" y="20593"/>
                    <a:pt x="43901" y="20934"/>
                  </a:cubicBezTo>
                  <a:cubicBezTo>
                    <a:pt x="43905" y="21104"/>
                    <a:pt x="43907" y="21271"/>
                    <a:pt x="43908" y="21437"/>
                  </a:cubicBezTo>
                  <a:cubicBezTo>
                    <a:pt x="43910" y="21574"/>
                    <a:pt x="43910" y="21574"/>
                    <a:pt x="43910" y="21574"/>
                  </a:cubicBezTo>
                  <a:cubicBezTo>
                    <a:pt x="43910" y="21630"/>
                    <a:pt x="43913" y="21686"/>
                    <a:pt x="43917" y="21744"/>
                  </a:cubicBezTo>
                  <a:cubicBezTo>
                    <a:pt x="43926" y="21855"/>
                    <a:pt x="43939" y="21967"/>
                    <a:pt x="43958" y="22075"/>
                  </a:cubicBezTo>
                  <a:cubicBezTo>
                    <a:pt x="44033" y="22514"/>
                    <a:pt x="44192" y="22912"/>
                    <a:pt x="44390" y="23260"/>
                  </a:cubicBezTo>
                  <a:cubicBezTo>
                    <a:pt x="44588" y="23608"/>
                    <a:pt x="44824" y="23907"/>
                    <a:pt x="45077" y="24167"/>
                  </a:cubicBezTo>
                  <a:cubicBezTo>
                    <a:pt x="45584" y="24686"/>
                    <a:pt x="46146" y="25056"/>
                    <a:pt x="46712" y="25326"/>
                  </a:cubicBezTo>
                  <a:cubicBezTo>
                    <a:pt x="47278" y="25595"/>
                    <a:pt x="47852" y="25763"/>
                    <a:pt x="48413" y="25839"/>
                  </a:cubicBezTo>
                  <a:cubicBezTo>
                    <a:pt x="48562" y="25858"/>
                    <a:pt x="48710" y="25871"/>
                    <a:pt x="48858" y="25878"/>
                  </a:cubicBezTo>
                  <a:cubicBezTo>
                    <a:pt x="48933" y="25880"/>
                    <a:pt x="49007" y="25882"/>
                    <a:pt x="49081" y="25882"/>
                  </a:cubicBezTo>
                  <a:cubicBezTo>
                    <a:pt x="49145" y="25880"/>
                    <a:pt x="49208" y="25880"/>
                    <a:pt x="49272" y="25878"/>
                  </a:cubicBezTo>
                  <a:cubicBezTo>
                    <a:pt x="49518" y="25873"/>
                    <a:pt x="49758" y="25864"/>
                    <a:pt x="49996" y="25851"/>
                  </a:cubicBezTo>
                  <a:cubicBezTo>
                    <a:pt x="50116" y="25846"/>
                    <a:pt x="50234" y="25837"/>
                    <a:pt x="50353" y="25828"/>
                  </a:cubicBezTo>
                  <a:cubicBezTo>
                    <a:pt x="50540" y="25815"/>
                    <a:pt x="50733" y="25797"/>
                    <a:pt x="50914" y="25770"/>
                  </a:cubicBezTo>
                  <a:cubicBezTo>
                    <a:pt x="51096" y="25741"/>
                    <a:pt x="51270" y="25700"/>
                    <a:pt x="51422" y="25631"/>
                  </a:cubicBezTo>
                  <a:cubicBezTo>
                    <a:pt x="51498" y="25597"/>
                    <a:pt x="51568" y="25557"/>
                    <a:pt x="51635" y="25510"/>
                  </a:cubicBezTo>
                  <a:cubicBezTo>
                    <a:pt x="51702" y="25460"/>
                    <a:pt x="51764" y="25402"/>
                    <a:pt x="51819" y="25339"/>
                  </a:cubicBezTo>
                  <a:cubicBezTo>
                    <a:pt x="51929" y="25209"/>
                    <a:pt x="52001" y="25060"/>
                    <a:pt x="52046" y="24904"/>
                  </a:cubicBezTo>
                  <a:cubicBezTo>
                    <a:pt x="52067" y="24827"/>
                    <a:pt x="52084" y="24746"/>
                    <a:pt x="52094" y="24663"/>
                  </a:cubicBezTo>
                  <a:cubicBezTo>
                    <a:pt x="52107" y="24580"/>
                    <a:pt x="52102" y="24488"/>
                    <a:pt x="52103" y="24401"/>
                  </a:cubicBezTo>
                  <a:cubicBezTo>
                    <a:pt x="52105" y="24234"/>
                    <a:pt x="52117" y="4327"/>
                    <a:pt x="52107" y="4115"/>
                  </a:cubicBezTo>
                  <a:close/>
                  <a:moveTo>
                    <a:pt x="50669" y="23321"/>
                  </a:moveTo>
                  <a:cubicBezTo>
                    <a:pt x="50668" y="23480"/>
                    <a:pt x="50666" y="23637"/>
                    <a:pt x="50665" y="23797"/>
                  </a:cubicBezTo>
                  <a:cubicBezTo>
                    <a:pt x="50663" y="23970"/>
                    <a:pt x="50663" y="23970"/>
                    <a:pt x="50663" y="23970"/>
                  </a:cubicBezTo>
                  <a:cubicBezTo>
                    <a:pt x="50661" y="24059"/>
                    <a:pt x="50661" y="24059"/>
                    <a:pt x="50661" y="24059"/>
                  </a:cubicBezTo>
                  <a:cubicBezTo>
                    <a:pt x="50659" y="24118"/>
                    <a:pt x="50661" y="24180"/>
                    <a:pt x="50634" y="24234"/>
                  </a:cubicBezTo>
                  <a:cubicBezTo>
                    <a:pt x="50620" y="24259"/>
                    <a:pt x="50598" y="24281"/>
                    <a:pt x="50571" y="24293"/>
                  </a:cubicBezTo>
                  <a:cubicBezTo>
                    <a:pt x="50544" y="24306"/>
                    <a:pt x="50513" y="24311"/>
                    <a:pt x="50484" y="24315"/>
                  </a:cubicBezTo>
                  <a:cubicBezTo>
                    <a:pt x="50425" y="24324"/>
                    <a:pt x="50365" y="24327"/>
                    <a:pt x="50306" y="24329"/>
                  </a:cubicBezTo>
                  <a:cubicBezTo>
                    <a:pt x="50132" y="24338"/>
                    <a:pt x="50132" y="24338"/>
                    <a:pt x="50132" y="24338"/>
                  </a:cubicBezTo>
                  <a:cubicBezTo>
                    <a:pt x="49896" y="24346"/>
                    <a:pt x="49896" y="24346"/>
                    <a:pt x="49896" y="24346"/>
                  </a:cubicBezTo>
                  <a:cubicBezTo>
                    <a:pt x="49737" y="24349"/>
                    <a:pt x="49577" y="24351"/>
                    <a:pt x="49415" y="24351"/>
                  </a:cubicBezTo>
                  <a:cubicBezTo>
                    <a:pt x="49173" y="24351"/>
                    <a:pt x="49173" y="24351"/>
                    <a:pt x="49173" y="24351"/>
                  </a:cubicBezTo>
                  <a:cubicBezTo>
                    <a:pt x="49062" y="24349"/>
                    <a:pt x="49062" y="24349"/>
                    <a:pt x="49062" y="24349"/>
                  </a:cubicBezTo>
                  <a:cubicBezTo>
                    <a:pt x="49029" y="24349"/>
                    <a:pt x="48995" y="24346"/>
                    <a:pt x="48961" y="24344"/>
                  </a:cubicBezTo>
                  <a:cubicBezTo>
                    <a:pt x="48419" y="24311"/>
                    <a:pt x="47848" y="24138"/>
                    <a:pt x="47329" y="23862"/>
                  </a:cubicBezTo>
                  <a:cubicBezTo>
                    <a:pt x="46810" y="23588"/>
                    <a:pt x="46335" y="23206"/>
                    <a:pt x="46009" y="22755"/>
                  </a:cubicBezTo>
                  <a:cubicBezTo>
                    <a:pt x="45845" y="22532"/>
                    <a:pt x="45721" y="22290"/>
                    <a:pt x="45648" y="22048"/>
                  </a:cubicBezTo>
                  <a:cubicBezTo>
                    <a:pt x="45613" y="21926"/>
                    <a:pt x="45591" y="21803"/>
                    <a:pt x="45582" y="21681"/>
                  </a:cubicBezTo>
                  <a:cubicBezTo>
                    <a:pt x="45578" y="21650"/>
                    <a:pt x="45578" y="21619"/>
                    <a:pt x="45576" y="21589"/>
                  </a:cubicBezTo>
                  <a:cubicBezTo>
                    <a:pt x="45576" y="21480"/>
                    <a:pt x="45576" y="21480"/>
                    <a:pt x="45576" y="21480"/>
                  </a:cubicBezTo>
                  <a:cubicBezTo>
                    <a:pt x="45578" y="21214"/>
                    <a:pt x="45578" y="21214"/>
                    <a:pt x="45578" y="21214"/>
                  </a:cubicBezTo>
                  <a:cubicBezTo>
                    <a:pt x="45582" y="20498"/>
                    <a:pt x="45587" y="19773"/>
                    <a:pt x="45593" y="19043"/>
                  </a:cubicBezTo>
                  <a:cubicBezTo>
                    <a:pt x="45594" y="18678"/>
                    <a:pt x="45597" y="18311"/>
                    <a:pt x="45600" y="17941"/>
                  </a:cubicBezTo>
                  <a:cubicBezTo>
                    <a:pt x="45601" y="17757"/>
                    <a:pt x="45602" y="17571"/>
                    <a:pt x="45603" y="17386"/>
                  </a:cubicBezTo>
                  <a:cubicBezTo>
                    <a:pt x="45603" y="17236"/>
                    <a:pt x="45603" y="17236"/>
                    <a:pt x="45603" y="17236"/>
                  </a:cubicBezTo>
                  <a:cubicBezTo>
                    <a:pt x="45603" y="17177"/>
                    <a:pt x="45600" y="17119"/>
                    <a:pt x="45598" y="17061"/>
                  </a:cubicBezTo>
                  <a:cubicBezTo>
                    <a:pt x="45592" y="16946"/>
                    <a:pt x="45580" y="16832"/>
                    <a:pt x="45565" y="16719"/>
                  </a:cubicBezTo>
                  <a:cubicBezTo>
                    <a:pt x="45441" y="15801"/>
                    <a:pt x="44998" y="14926"/>
                    <a:pt x="44320" y="14275"/>
                  </a:cubicBezTo>
                  <a:cubicBezTo>
                    <a:pt x="44006" y="13971"/>
                    <a:pt x="43627" y="13700"/>
                    <a:pt x="43192" y="13496"/>
                  </a:cubicBezTo>
                  <a:cubicBezTo>
                    <a:pt x="42756" y="13293"/>
                    <a:pt x="42264" y="13156"/>
                    <a:pt x="41746" y="13121"/>
                  </a:cubicBezTo>
                  <a:cubicBezTo>
                    <a:pt x="41476" y="13105"/>
                    <a:pt x="41250" y="13112"/>
                    <a:pt x="41005" y="13127"/>
                  </a:cubicBezTo>
                  <a:cubicBezTo>
                    <a:pt x="40762" y="13143"/>
                    <a:pt x="40518" y="13172"/>
                    <a:pt x="40273" y="13217"/>
                  </a:cubicBezTo>
                  <a:cubicBezTo>
                    <a:pt x="39783" y="13302"/>
                    <a:pt x="39294" y="13446"/>
                    <a:pt x="38820" y="13635"/>
                  </a:cubicBezTo>
                  <a:cubicBezTo>
                    <a:pt x="37870" y="14016"/>
                    <a:pt x="36994" y="14578"/>
                    <a:pt x="36186" y="15204"/>
                  </a:cubicBezTo>
                  <a:cubicBezTo>
                    <a:pt x="35377" y="15833"/>
                    <a:pt x="34631" y="16529"/>
                    <a:pt x="33901" y="17207"/>
                  </a:cubicBezTo>
                  <a:cubicBezTo>
                    <a:pt x="33719" y="17373"/>
                    <a:pt x="33537" y="17541"/>
                    <a:pt x="33355" y="17708"/>
                  </a:cubicBezTo>
                  <a:cubicBezTo>
                    <a:pt x="33083" y="17952"/>
                    <a:pt x="33083" y="17952"/>
                    <a:pt x="33083" y="17952"/>
                  </a:cubicBezTo>
                  <a:cubicBezTo>
                    <a:pt x="32806" y="18195"/>
                    <a:pt x="32806" y="18195"/>
                    <a:pt x="32806" y="18195"/>
                  </a:cubicBezTo>
                  <a:cubicBezTo>
                    <a:pt x="32425" y="18531"/>
                    <a:pt x="32051" y="18868"/>
                    <a:pt x="31681" y="19200"/>
                  </a:cubicBezTo>
                  <a:cubicBezTo>
                    <a:pt x="30943" y="19861"/>
                    <a:pt x="30223" y="20509"/>
                    <a:pt x="29505" y="21060"/>
                  </a:cubicBezTo>
                  <a:cubicBezTo>
                    <a:pt x="28788" y="21610"/>
                    <a:pt x="28065" y="22057"/>
                    <a:pt x="27369" y="22286"/>
                  </a:cubicBezTo>
                  <a:cubicBezTo>
                    <a:pt x="26674" y="22519"/>
                    <a:pt x="26011" y="22524"/>
                    <a:pt x="25398" y="22368"/>
                  </a:cubicBezTo>
                  <a:cubicBezTo>
                    <a:pt x="24487" y="22137"/>
                    <a:pt x="23581" y="21531"/>
                    <a:pt x="22709" y="20821"/>
                  </a:cubicBezTo>
                  <a:cubicBezTo>
                    <a:pt x="21834" y="20107"/>
                    <a:pt x="20977" y="19286"/>
                    <a:pt x="20080" y="18475"/>
                  </a:cubicBezTo>
                  <a:cubicBezTo>
                    <a:pt x="19858" y="18275"/>
                    <a:pt x="19635" y="18073"/>
                    <a:pt x="19412" y="17873"/>
                  </a:cubicBezTo>
                  <a:cubicBezTo>
                    <a:pt x="19197" y="17678"/>
                    <a:pt x="18983" y="17476"/>
                    <a:pt x="18766" y="17272"/>
                  </a:cubicBezTo>
                  <a:cubicBezTo>
                    <a:pt x="18332" y="16861"/>
                    <a:pt x="17891" y="16439"/>
                    <a:pt x="17428" y="16023"/>
                  </a:cubicBezTo>
                  <a:cubicBezTo>
                    <a:pt x="16965" y="15604"/>
                    <a:pt x="16481" y="15191"/>
                    <a:pt x="15959" y="14804"/>
                  </a:cubicBezTo>
                  <a:cubicBezTo>
                    <a:pt x="15438" y="14416"/>
                    <a:pt x="14878" y="14052"/>
                    <a:pt x="14267" y="13745"/>
                  </a:cubicBezTo>
                  <a:cubicBezTo>
                    <a:pt x="13657" y="13441"/>
                    <a:pt x="12993" y="13195"/>
                    <a:pt x="12295" y="13055"/>
                  </a:cubicBezTo>
                  <a:cubicBezTo>
                    <a:pt x="11946" y="12984"/>
                    <a:pt x="11589" y="12941"/>
                    <a:pt x="11231" y="12925"/>
                  </a:cubicBezTo>
                  <a:cubicBezTo>
                    <a:pt x="11142" y="12921"/>
                    <a:pt x="11052" y="12919"/>
                    <a:pt x="10963" y="12919"/>
                  </a:cubicBezTo>
                  <a:cubicBezTo>
                    <a:pt x="10865" y="12919"/>
                    <a:pt x="10763" y="12921"/>
                    <a:pt x="10663" y="12928"/>
                  </a:cubicBezTo>
                  <a:cubicBezTo>
                    <a:pt x="10462" y="12941"/>
                    <a:pt x="10262" y="12968"/>
                    <a:pt x="10065" y="13010"/>
                  </a:cubicBezTo>
                  <a:cubicBezTo>
                    <a:pt x="9275" y="13174"/>
                    <a:pt x="8542" y="13569"/>
                    <a:pt x="7966" y="14119"/>
                  </a:cubicBezTo>
                  <a:cubicBezTo>
                    <a:pt x="7387" y="14667"/>
                    <a:pt x="6959" y="15375"/>
                    <a:pt x="6746" y="16152"/>
                  </a:cubicBezTo>
                  <a:cubicBezTo>
                    <a:pt x="6692" y="16345"/>
                    <a:pt x="6652" y="16544"/>
                    <a:pt x="6626" y="16744"/>
                  </a:cubicBezTo>
                  <a:cubicBezTo>
                    <a:pt x="6614" y="16843"/>
                    <a:pt x="6603" y="16942"/>
                    <a:pt x="6597" y="17043"/>
                  </a:cubicBezTo>
                  <a:cubicBezTo>
                    <a:pt x="6593" y="17094"/>
                    <a:pt x="6593" y="17144"/>
                    <a:pt x="6591" y="17195"/>
                  </a:cubicBezTo>
                  <a:cubicBezTo>
                    <a:pt x="6589" y="17335"/>
                    <a:pt x="6589" y="17335"/>
                    <a:pt x="6589" y="17335"/>
                  </a:cubicBezTo>
                  <a:cubicBezTo>
                    <a:pt x="6586" y="18257"/>
                    <a:pt x="6586" y="18257"/>
                    <a:pt x="6586" y="18257"/>
                  </a:cubicBezTo>
                  <a:cubicBezTo>
                    <a:pt x="6584" y="18871"/>
                    <a:pt x="6582" y="19486"/>
                    <a:pt x="6579" y="20101"/>
                  </a:cubicBezTo>
                  <a:cubicBezTo>
                    <a:pt x="6576" y="21331"/>
                    <a:pt x="6572" y="22562"/>
                    <a:pt x="6569" y="23796"/>
                  </a:cubicBezTo>
                  <a:cubicBezTo>
                    <a:pt x="6568" y="23909"/>
                    <a:pt x="6568" y="23909"/>
                    <a:pt x="6568" y="23909"/>
                  </a:cubicBezTo>
                  <a:cubicBezTo>
                    <a:pt x="6568" y="23938"/>
                    <a:pt x="6568" y="23938"/>
                    <a:pt x="6568" y="23938"/>
                  </a:cubicBezTo>
                  <a:cubicBezTo>
                    <a:pt x="6568" y="23940"/>
                    <a:pt x="6568" y="23940"/>
                    <a:pt x="6568" y="23940"/>
                  </a:cubicBezTo>
                  <a:cubicBezTo>
                    <a:pt x="6567" y="23951"/>
                    <a:pt x="6567" y="23951"/>
                    <a:pt x="6567" y="23951"/>
                  </a:cubicBezTo>
                  <a:cubicBezTo>
                    <a:pt x="6567" y="23956"/>
                    <a:pt x="6567" y="23963"/>
                    <a:pt x="6564" y="23970"/>
                  </a:cubicBezTo>
                  <a:cubicBezTo>
                    <a:pt x="6557" y="23983"/>
                    <a:pt x="6540" y="23980"/>
                    <a:pt x="6529" y="23981"/>
                  </a:cubicBezTo>
                  <a:cubicBezTo>
                    <a:pt x="6524" y="23981"/>
                    <a:pt x="6524" y="23981"/>
                    <a:pt x="6524" y="23981"/>
                  </a:cubicBezTo>
                  <a:cubicBezTo>
                    <a:pt x="6518" y="23981"/>
                    <a:pt x="6536" y="23980"/>
                    <a:pt x="6487" y="23983"/>
                  </a:cubicBezTo>
                  <a:cubicBezTo>
                    <a:pt x="6275" y="23992"/>
                    <a:pt x="6275" y="23992"/>
                    <a:pt x="6275" y="23992"/>
                  </a:cubicBezTo>
                  <a:cubicBezTo>
                    <a:pt x="6131" y="23996"/>
                    <a:pt x="5985" y="23999"/>
                    <a:pt x="5838" y="23999"/>
                  </a:cubicBezTo>
                  <a:cubicBezTo>
                    <a:pt x="5390" y="24001"/>
                    <a:pt x="5390" y="24001"/>
                    <a:pt x="5390" y="24001"/>
                  </a:cubicBezTo>
                  <a:cubicBezTo>
                    <a:pt x="5282" y="23999"/>
                    <a:pt x="5282" y="23999"/>
                    <a:pt x="5282" y="23999"/>
                  </a:cubicBezTo>
                  <a:cubicBezTo>
                    <a:pt x="5255" y="23999"/>
                    <a:pt x="5228" y="23999"/>
                    <a:pt x="5200" y="23998"/>
                  </a:cubicBezTo>
                  <a:cubicBezTo>
                    <a:pt x="5145" y="23996"/>
                    <a:pt x="5089" y="23990"/>
                    <a:pt x="5033" y="23985"/>
                  </a:cubicBezTo>
                  <a:cubicBezTo>
                    <a:pt x="4130" y="23895"/>
                    <a:pt x="3150" y="23366"/>
                    <a:pt x="2606" y="22670"/>
                  </a:cubicBezTo>
                  <a:cubicBezTo>
                    <a:pt x="2332" y="22323"/>
                    <a:pt x="2181" y="21951"/>
                    <a:pt x="2167" y="21605"/>
                  </a:cubicBezTo>
                  <a:cubicBezTo>
                    <a:pt x="2167" y="21008"/>
                    <a:pt x="2167" y="20413"/>
                    <a:pt x="2168" y="19818"/>
                  </a:cubicBezTo>
                  <a:cubicBezTo>
                    <a:pt x="2170" y="18592"/>
                    <a:pt x="2172" y="17368"/>
                    <a:pt x="2175" y="16149"/>
                  </a:cubicBezTo>
                  <a:cubicBezTo>
                    <a:pt x="2179" y="11420"/>
                    <a:pt x="2188" y="2224"/>
                    <a:pt x="2188" y="2163"/>
                  </a:cubicBezTo>
                  <a:cubicBezTo>
                    <a:pt x="2188" y="2102"/>
                    <a:pt x="2227" y="2106"/>
                    <a:pt x="2247" y="2106"/>
                  </a:cubicBezTo>
                  <a:cubicBezTo>
                    <a:pt x="2268" y="2106"/>
                    <a:pt x="4395" y="2105"/>
                    <a:pt x="5458" y="2105"/>
                  </a:cubicBezTo>
                  <a:cubicBezTo>
                    <a:pt x="5646" y="2106"/>
                    <a:pt x="5838" y="2106"/>
                    <a:pt x="6032" y="2106"/>
                  </a:cubicBezTo>
                  <a:cubicBezTo>
                    <a:pt x="6244" y="2106"/>
                    <a:pt x="6377" y="2107"/>
                    <a:pt x="6551" y="2122"/>
                  </a:cubicBezTo>
                  <a:cubicBezTo>
                    <a:pt x="6882" y="2148"/>
                    <a:pt x="7220" y="2206"/>
                    <a:pt x="7556" y="2300"/>
                  </a:cubicBezTo>
                  <a:cubicBezTo>
                    <a:pt x="8228" y="2488"/>
                    <a:pt x="8896" y="2825"/>
                    <a:pt x="9478" y="3304"/>
                  </a:cubicBezTo>
                  <a:cubicBezTo>
                    <a:pt x="9551" y="3363"/>
                    <a:pt x="9623" y="3426"/>
                    <a:pt x="9691" y="3488"/>
                  </a:cubicBezTo>
                  <a:cubicBezTo>
                    <a:pt x="9772" y="3564"/>
                    <a:pt x="9854" y="3640"/>
                    <a:pt x="9935" y="3717"/>
                  </a:cubicBezTo>
                  <a:cubicBezTo>
                    <a:pt x="10104" y="3873"/>
                    <a:pt x="10273" y="4033"/>
                    <a:pt x="10443" y="4193"/>
                  </a:cubicBezTo>
                  <a:cubicBezTo>
                    <a:pt x="10784" y="4511"/>
                    <a:pt x="11128" y="4832"/>
                    <a:pt x="11473" y="5155"/>
                  </a:cubicBezTo>
                  <a:cubicBezTo>
                    <a:pt x="12165" y="5801"/>
                    <a:pt x="12864" y="6453"/>
                    <a:pt x="13560" y="7102"/>
                  </a:cubicBezTo>
                  <a:cubicBezTo>
                    <a:pt x="13908" y="7426"/>
                    <a:pt x="14255" y="7750"/>
                    <a:pt x="14600" y="8071"/>
                  </a:cubicBezTo>
                  <a:cubicBezTo>
                    <a:pt x="14772" y="8231"/>
                    <a:pt x="14944" y="8391"/>
                    <a:pt x="15116" y="8551"/>
                  </a:cubicBezTo>
                  <a:cubicBezTo>
                    <a:pt x="15244" y="8670"/>
                    <a:pt x="15244" y="8670"/>
                    <a:pt x="15244" y="8670"/>
                  </a:cubicBezTo>
                  <a:cubicBezTo>
                    <a:pt x="15301" y="8723"/>
                    <a:pt x="15301" y="8723"/>
                    <a:pt x="15301" y="8723"/>
                  </a:cubicBezTo>
                  <a:cubicBezTo>
                    <a:pt x="15318" y="8739"/>
                    <a:pt x="15318" y="8739"/>
                    <a:pt x="15318" y="8739"/>
                  </a:cubicBezTo>
                  <a:cubicBezTo>
                    <a:pt x="15351" y="8772"/>
                    <a:pt x="15351" y="8772"/>
                    <a:pt x="15351" y="8772"/>
                  </a:cubicBezTo>
                  <a:cubicBezTo>
                    <a:pt x="15442" y="8861"/>
                    <a:pt x="15532" y="8946"/>
                    <a:pt x="15624" y="9032"/>
                  </a:cubicBezTo>
                  <a:cubicBezTo>
                    <a:pt x="16357" y="9713"/>
                    <a:pt x="17145" y="10301"/>
                    <a:pt x="17946" y="10792"/>
                  </a:cubicBezTo>
                  <a:cubicBezTo>
                    <a:pt x="19552" y="11776"/>
                    <a:pt x="21206" y="12352"/>
                    <a:pt x="22616" y="12654"/>
                  </a:cubicBezTo>
                  <a:cubicBezTo>
                    <a:pt x="22620" y="12654"/>
                    <a:pt x="22660" y="12663"/>
                    <a:pt x="22735" y="12680"/>
                  </a:cubicBezTo>
                  <a:cubicBezTo>
                    <a:pt x="22809" y="12694"/>
                    <a:pt x="22916" y="12718"/>
                    <a:pt x="23055" y="12743"/>
                  </a:cubicBezTo>
                  <a:cubicBezTo>
                    <a:pt x="23331" y="12795"/>
                    <a:pt x="23730" y="12862"/>
                    <a:pt x="24225" y="12916"/>
                  </a:cubicBezTo>
                  <a:cubicBezTo>
                    <a:pt x="25215" y="13026"/>
                    <a:pt x="26592" y="13075"/>
                    <a:pt x="28112" y="12878"/>
                  </a:cubicBezTo>
                  <a:cubicBezTo>
                    <a:pt x="28869" y="12781"/>
                    <a:pt x="29661" y="12622"/>
                    <a:pt x="30447" y="12395"/>
                  </a:cubicBezTo>
                  <a:cubicBezTo>
                    <a:pt x="31233" y="12169"/>
                    <a:pt x="32011" y="11874"/>
                    <a:pt x="32746" y="11522"/>
                  </a:cubicBezTo>
                  <a:cubicBezTo>
                    <a:pt x="33479" y="11172"/>
                    <a:pt x="34170" y="10765"/>
                    <a:pt x="34787" y="10330"/>
                  </a:cubicBezTo>
                  <a:cubicBezTo>
                    <a:pt x="35405" y="9898"/>
                    <a:pt x="35952" y="9439"/>
                    <a:pt x="36413" y="8996"/>
                  </a:cubicBezTo>
                  <a:cubicBezTo>
                    <a:pt x="37120" y="8298"/>
                    <a:pt x="37819" y="7609"/>
                    <a:pt x="38498" y="6938"/>
                  </a:cubicBezTo>
                  <a:cubicBezTo>
                    <a:pt x="39184" y="6265"/>
                    <a:pt x="39853" y="5610"/>
                    <a:pt x="40493" y="4982"/>
                  </a:cubicBezTo>
                  <a:cubicBezTo>
                    <a:pt x="41761" y="3748"/>
                    <a:pt x="43790" y="1776"/>
                    <a:pt x="43890" y="1677"/>
                  </a:cubicBezTo>
                  <a:cubicBezTo>
                    <a:pt x="43989" y="1579"/>
                    <a:pt x="44113" y="1557"/>
                    <a:pt x="44185" y="1556"/>
                  </a:cubicBezTo>
                  <a:cubicBezTo>
                    <a:pt x="44258" y="1555"/>
                    <a:pt x="47396" y="1513"/>
                    <a:pt x="47465" y="1512"/>
                  </a:cubicBezTo>
                  <a:cubicBezTo>
                    <a:pt x="48234" y="1495"/>
                    <a:pt x="48888" y="1761"/>
                    <a:pt x="49367" y="2115"/>
                  </a:cubicBezTo>
                  <a:cubicBezTo>
                    <a:pt x="49846" y="2471"/>
                    <a:pt x="50150" y="2903"/>
                    <a:pt x="50331" y="3278"/>
                  </a:cubicBezTo>
                  <a:cubicBezTo>
                    <a:pt x="50515" y="3656"/>
                    <a:pt x="50584" y="3979"/>
                    <a:pt x="50623" y="4197"/>
                  </a:cubicBezTo>
                  <a:cubicBezTo>
                    <a:pt x="50660" y="4416"/>
                    <a:pt x="50654" y="4668"/>
                    <a:pt x="50640" y="4917"/>
                  </a:cubicBezTo>
                  <a:cubicBezTo>
                    <a:pt x="50624" y="5164"/>
                    <a:pt x="50715" y="18267"/>
                    <a:pt x="50669" y="23321"/>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2" name="Freeform 36"/>
            <p:cNvSpPr>
              <a:spLocks/>
            </p:cNvSpPr>
            <p:nvPr userDrawn="1"/>
          </p:nvSpPr>
          <p:spPr bwMode="auto">
            <a:xfrm>
              <a:off x="-84872512" y="18689638"/>
              <a:ext cx="193840100" cy="97202625"/>
            </a:xfrm>
            <a:custGeom>
              <a:avLst/>
              <a:gdLst>
                <a:gd name="T0" fmla="*/ 51193 w 51688"/>
                <a:gd name="T1" fmla="*/ 12114 h 25918"/>
                <a:gd name="T2" fmla="*/ 50914 w 51688"/>
                <a:gd name="T3" fmla="*/ 20947 h 25918"/>
                <a:gd name="T4" fmla="*/ 50844 w 51688"/>
                <a:gd name="T5" fmla="*/ 23850 h 25918"/>
                <a:gd name="T6" fmla="*/ 50505 w 51688"/>
                <a:gd name="T7" fmla="*/ 24445 h 25918"/>
                <a:gd name="T8" fmla="*/ 48987 w 51688"/>
                <a:gd name="T9" fmla="*/ 24463 h 25918"/>
                <a:gd name="T10" fmla="*/ 45339 w 51688"/>
                <a:gd name="T11" fmla="*/ 21852 h 25918"/>
                <a:gd name="T12" fmla="*/ 45301 w 51688"/>
                <a:gd name="T13" fmla="*/ 21010 h 25918"/>
                <a:gd name="T14" fmla="*/ 45363 w 51688"/>
                <a:gd name="T15" fmla="*/ 17166 h 25918"/>
                <a:gd name="T16" fmla="*/ 43529 w 51688"/>
                <a:gd name="T17" fmla="*/ 13729 h 25918"/>
                <a:gd name="T18" fmla="*/ 37130 w 51688"/>
                <a:gd name="T19" fmla="*/ 14411 h 25918"/>
                <a:gd name="T20" fmla="*/ 30094 w 51688"/>
                <a:gd name="T21" fmla="*/ 20457 h 25918"/>
                <a:gd name="T22" fmla="*/ 23874 w 51688"/>
                <a:gd name="T23" fmla="*/ 21719 h 25918"/>
                <a:gd name="T24" fmla="*/ 17941 w 51688"/>
                <a:gd name="T25" fmla="*/ 16609 h 25918"/>
                <a:gd name="T26" fmla="*/ 10865 w 51688"/>
                <a:gd name="T27" fmla="*/ 12900 h 25918"/>
                <a:gd name="T28" fmla="*/ 6612 w 51688"/>
                <a:gd name="T29" fmla="*/ 16813 h 25918"/>
                <a:gd name="T30" fmla="*/ 6590 w 51688"/>
                <a:gd name="T31" fmla="*/ 20356 h 25918"/>
                <a:gd name="T32" fmla="*/ 6581 w 51688"/>
                <a:gd name="T33" fmla="*/ 23906 h 25918"/>
                <a:gd name="T34" fmla="*/ 6161 w 51688"/>
                <a:gd name="T35" fmla="*/ 23989 h 25918"/>
                <a:gd name="T36" fmla="*/ 4007 w 51688"/>
                <a:gd name="T37" fmla="*/ 23765 h 25918"/>
                <a:gd name="T38" fmla="*/ 1918 w 51688"/>
                <a:gd name="T39" fmla="*/ 21416 h 25918"/>
                <a:gd name="T40" fmla="*/ 1924 w 51688"/>
                <a:gd name="T41" fmla="*/ 17736 h 25918"/>
                <a:gd name="T42" fmla="*/ 2346 w 51688"/>
                <a:gd name="T43" fmla="*/ 1839 h 25918"/>
                <a:gd name="T44" fmla="*/ 6307 w 51688"/>
                <a:gd name="T45" fmla="*/ 1843 h 25918"/>
                <a:gd name="T46" fmla="*/ 9640 w 51688"/>
                <a:gd name="T47" fmla="*/ 3220 h 25918"/>
                <a:gd name="T48" fmla="*/ 15297 w 51688"/>
                <a:gd name="T49" fmla="*/ 8489 h 25918"/>
                <a:gd name="T50" fmla="*/ 15909 w 51688"/>
                <a:gd name="T51" fmla="*/ 9055 h 25918"/>
                <a:gd name="T52" fmla="*/ 24130 w 51688"/>
                <a:gd name="T53" fmla="*/ 12613 h 25918"/>
                <a:gd name="T54" fmla="*/ 35966 w 51688"/>
                <a:gd name="T55" fmla="*/ 8944 h 25918"/>
                <a:gd name="T56" fmla="*/ 43246 w 51688"/>
                <a:gd name="T57" fmla="*/ 1655 h 25918"/>
                <a:gd name="T58" fmla="*/ 43511 w 51688"/>
                <a:gd name="T59" fmla="*/ 1366 h 25918"/>
                <a:gd name="T60" fmla="*/ 44343 w 51688"/>
                <a:gd name="T61" fmla="*/ 896 h 25918"/>
                <a:gd name="T62" fmla="*/ 43670 w 51688"/>
                <a:gd name="T63" fmla="*/ 727 h 25918"/>
                <a:gd name="T64" fmla="*/ 41873 w 51688"/>
                <a:gd name="T65" fmla="*/ 2007 h 25918"/>
                <a:gd name="T66" fmla="*/ 34512 w 51688"/>
                <a:gd name="T67" fmla="*/ 8591 h 25918"/>
                <a:gd name="T68" fmla="*/ 18064 w 51688"/>
                <a:gd name="T69" fmla="*/ 8699 h 25918"/>
                <a:gd name="T70" fmla="*/ 16455 w 51688"/>
                <a:gd name="T71" fmla="*/ 7314 h 25918"/>
                <a:gd name="T72" fmla="*/ 11277 w 51688"/>
                <a:gd name="T73" fmla="*/ 2358 h 25918"/>
                <a:gd name="T74" fmla="*/ 9968 w 51688"/>
                <a:gd name="T75" fmla="*/ 1251 h 25918"/>
                <a:gd name="T76" fmla="*/ 6274 w 51688"/>
                <a:gd name="T77" fmla="*/ 41 h 25918"/>
                <a:gd name="T78" fmla="*/ 1317 w 51688"/>
                <a:gd name="T79" fmla="*/ 0 h 25918"/>
                <a:gd name="T80" fmla="*/ 93 w 51688"/>
                <a:gd name="T81" fmla="*/ 1809 h 25918"/>
                <a:gd name="T82" fmla="*/ 4 w 51688"/>
                <a:gd name="T83" fmla="*/ 20044 h 25918"/>
                <a:gd name="T84" fmla="*/ 1 w 51688"/>
                <a:gd name="T85" fmla="*/ 21517 h 25918"/>
                <a:gd name="T86" fmla="*/ 2071 w 51688"/>
                <a:gd name="T87" fmla="*/ 24909 h 25918"/>
                <a:gd name="T88" fmla="*/ 5413 w 51688"/>
                <a:gd name="T89" fmla="*/ 25918 h 25918"/>
                <a:gd name="T90" fmla="*/ 6643 w 51688"/>
                <a:gd name="T91" fmla="*/ 25888 h 25918"/>
                <a:gd name="T92" fmla="*/ 8425 w 51688"/>
                <a:gd name="T93" fmla="*/ 24824 h 25918"/>
                <a:gd name="T94" fmla="*/ 8503 w 51688"/>
                <a:gd name="T95" fmla="*/ 22556 h 25918"/>
                <a:gd name="T96" fmla="*/ 8881 w 51688"/>
                <a:gd name="T97" fmla="*/ 15895 h 25918"/>
                <a:gd name="T98" fmla="*/ 11106 w 51688"/>
                <a:gd name="T99" fmla="*/ 14804 h 25918"/>
                <a:gd name="T100" fmla="*/ 17572 w 51688"/>
                <a:gd name="T101" fmla="*/ 18816 h 25918"/>
                <a:gd name="T102" fmla="*/ 23192 w 51688"/>
                <a:gd name="T103" fmla="*/ 23423 h 25918"/>
                <a:gd name="T104" fmla="*/ 28379 w 51688"/>
                <a:gd name="T105" fmla="*/ 23720 h 25918"/>
                <a:gd name="T106" fmla="*/ 34070 w 51688"/>
                <a:gd name="T107" fmla="*/ 19236 h 25918"/>
                <a:gd name="T108" fmla="*/ 39540 w 51688"/>
                <a:gd name="T109" fmla="*/ 14993 h 25918"/>
                <a:gd name="T110" fmla="*/ 42326 w 51688"/>
                <a:gd name="T111" fmla="*/ 14813 h 25918"/>
                <a:gd name="T112" fmla="*/ 43945 w 51688"/>
                <a:gd name="T113" fmla="*/ 17822 h 25918"/>
                <a:gd name="T114" fmla="*/ 44003 w 51688"/>
                <a:gd name="T115" fmla="*/ 21414 h 25918"/>
                <a:gd name="T116" fmla="*/ 46894 w 51688"/>
                <a:gd name="T117" fmla="*/ 25058 h 25918"/>
                <a:gd name="T118" fmla="*/ 50155 w 51688"/>
                <a:gd name="T119" fmla="*/ 25408 h 25918"/>
                <a:gd name="T120" fmla="*/ 51516 w 51688"/>
                <a:gd name="T121" fmla="*/ 24937 h 25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688" h="25918">
                  <a:moveTo>
                    <a:pt x="51664" y="23906"/>
                  </a:moveTo>
                  <a:cubicBezTo>
                    <a:pt x="51635" y="23199"/>
                    <a:pt x="51608" y="22500"/>
                    <a:pt x="51578" y="21732"/>
                  </a:cubicBezTo>
                  <a:cubicBezTo>
                    <a:pt x="51484" y="19205"/>
                    <a:pt x="51403" y="14714"/>
                    <a:pt x="51323" y="12763"/>
                  </a:cubicBezTo>
                  <a:cubicBezTo>
                    <a:pt x="51279" y="11681"/>
                    <a:pt x="51235" y="11093"/>
                    <a:pt x="51193" y="12114"/>
                  </a:cubicBezTo>
                  <a:cubicBezTo>
                    <a:pt x="51175" y="12485"/>
                    <a:pt x="51163" y="12745"/>
                    <a:pt x="51144" y="13143"/>
                  </a:cubicBezTo>
                  <a:cubicBezTo>
                    <a:pt x="51083" y="14231"/>
                    <a:pt x="51046" y="17121"/>
                    <a:pt x="50983" y="18591"/>
                  </a:cubicBezTo>
                  <a:cubicBezTo>
                    <a:pt x="50979" y="18666"/>
                    <a:pt x="50977" y="18737"/>
                    <a:pt x="50975" y="18805"/>
                  </a:cubicBezTo>
                  <a:cubicBezTo>
                    <a:pt x="50955" y="19498"/>
                    <a:pt x="50936" y="20186"/>
                    <a:pt x="50914" y="20947"/>
                  </a:cubicBezTo>
                  <a:cubicBezTo>
                    <a:pt x="50910" y="21081"/>
                    <a:pt x="50907" y="21227"/>
                    <a:pt x="50903" y="21371"/>
                  </a:cubicBezTo>
                  <a:cubicBezTo>
                    <a:pt x="50891" y="21858"/>
                    <a:pt x="50880" y="22361"/>
                    <a:pt x="50867" y="22880"/>
                  </a:cubicBezTo>
                  <a:cubicBezTo>
                    <a:pt x="50860" y="23141"/>
                    <a:pt x="50854" y="23407"/>
                    <a:pt x="50847" y="23677"/>
                  </a:cubicBezTo>
                  <a:cubicBezTo>
                    <a:pt x="50846" y="23735"/>
                    <a:pt x="50845" y="23792"/>
                    <a:pt x="50844" y="23850"/>
                  </a:cubicBezTo>
                  <a:cubicBezTo>
                    <a:pt x="50842" y="23893"/>
                    <a:pt x="50840" y="23937"/>
                    <a:pt x="50838" y="23980"/>
                  </a:cubicBezTo>
                  <a:cubicBezTo>
                    <a:pt x="50835" y="24067"/>
                    <a:pt x="50836" y="24153"/>
                    <a:pt x="50817" y="24236"/>
                  </a:cubicBezTo>
                  <a:cubicBezTo>
                    <a:pt x="50800" y="24301"/>
                    <a:pt x="50763" y="24360"/>
                    <a:pt x="50703" y="24396"/>
                  </a:cubicBezTo>
                  <a:cubicBezTo>
                    <a:pt x="50644" y="24433"/>
                    <a:pt x="50571" y="24436"/>
                    <a:pt x="50505" y="24445"/>
                  </a:cubicBezTo>
                  <a:cubicBezTo>
                    <a:pt x="50435" y="24452"/>
                    <a:pt x="50366" y="24456"/>
                    <a:pt x="50297" y="24460"/>
                  </a:cubicBezTo>
                  <a:cubicBezTo>
                    <a:pt x="50213" y="24463"/>
                    <a:pt x="50126" y="24465"/>
                    <a:pt x="50040" y="24467"/>
                  </a:cubicBezTo>
                  <a:cubicBezTo>
                    <a:pt x="49814" y="24472"/>
                    <a:pt x="49582" y="24472"/>
                    <a:pt x="49345" y="24470"/>
                  </a:cubicBezTo>
                  <a:cubicBezTo>
                    <a:pt x="49226" y="24469"/>
                    <a:pt x="49107" y="24465"/>
                    <a:pt x="48987" y="24463"/>
                  </a:cubicBezTo>
                  <a:cubicBezTo>
                    <a:pt x="48880" y="24460"/>
                    <a:pt x="48772" y="24451"/>
                    <a:pt x="48662" y="24438"/>
                  </a:cubicBezTo>
                  <a:cubicBezTo>
                    <a:pt x="48222" y="24382"/>
                    <a:pt x="47767" y="24243"/>
                    <a:pt x="47328" y="24030"/>
                  </a:cubicBezTo>
                  <a:cubicBezTo>
                    <a:pt x="46890" y="23818"/>
                    <a:pt x="46466" y="23529"/>
                    <a:pt x="46109" y="23169"/>
                  </a:cubicBezTo>
                  <a:cubicBezTo>
                    <a:pt x="45741" y="22799"/>
                    <a:pt x="45445" y="22341"/>
                    <a:pt x="45339" y="21852"/>
                  </a:cubicBezTo>
                  <a:cubicBezTo>
                    <a:pt x="45312" y="21730"/>
                    <a:pt x="45297" y="21605"/>
                    <a:pt x="45295" y="21481"/>
                  </a:cubicBezTo>
                  <a:cubicBezTo>
                    <a:pt x="45294" y="21448"/>
                    <a:pt x="45295" y="21423"/>
                    <a:pt x="45295" y="21385"/>
                  </a:cubicBezTo>
                  <a:cubicBezTo>
                    <a:pt x="45297" y="21261"/>
                    <a:pt x="45297" y="21261"/>
                    <a:pt x="45297" y="21261"/>
                  </a:cubicBezTo>
                  <a:cubicBezTo>
                    <a:pt x="45298" y="21178"/>
                    <a:pt x="45299" y="21095"/>
                    <a:pt x="45301" y="21010"/>
                  </a:cubicBezTo>
                  <a:cubicBezTo>
                    <a:pt x="45307" y="20677"/>
                    <a:pt x="45313" y="20336"/>
                    <a:pt x="45319" y="19992"/>
                  </a:cubicBezTo>
                  <a:cubicBezTo>
                    <a:pt x="45330" y="19301"/>
                    <a:pt x="45341" y="18589"/>
                    <a:pt x="45353" y="17859"/>
                  </a:cubicBezTo>
                  <a:cubicBezTo>
                    <a:pt x="45355" y="17675"/>
                    <a:pt x="45359" y="17491"/>
                    <a:pt x="45361" y="17305"/>
                  </a:cubicBezTo>
                  <a:cubicBezTo>
                    <a:pt x="45363" y="17166"/>
                    <a:pt x="45363" y="17166"/>
                    <a:pt x="45363" y="17166"/>
                  </a:cubicBezTo>
                  <a:cubicBezTo>
                    <a:pt x="45364" y="17114"/>
                    <a:pt x="45364" y="17051"/>
                    <a:pt x="45361" y="16997"/>
                  </a:cubicBezTo>
                  <a:cubicBezTo>
                    <a:pt x="45359" y="16885"/>
                    <a:pt x="45351" y="16773"/>
                    <a:pt x="45337" y="16659"/>
                  </a:cubicBezTo>
                  <a:cubicBezTo>
                    <a:pt x="45286" y="16210"/>
                    <a:pt x="45157" y="15763"/>
                    <a:pt x="44951" y="15347"/>
                  </a:cubicBezTo>
                  <a:cubicBezTo>
                    <a:pt x="44641" y="14710"/>
                    <a:pt x="44153" y="14142"/>
                    <a:pt x="43529" y="13729"/>
                  </a:cubicBezTo>
                  <a:cubicBezTo>
                    <a:pt x="43217" y="13524"/>
                    <a:pt x="42870" y="13356"/>
                    <a:pt x="42500" y="13244"/>
                  </a:cubicBezTo>
                  <a:cubicBezTo>
                    <a:pt x="42132" y="13129"/>
                    <a:pt x="41736" y="13070"/>
                    <a:pt x="41345" y="13070"/>
                  </a:cubicBezTo>
                  <a:cubicBezTo>
                    <a:pt x="40618" y="13064"/>
                    <a:pt x="39871" y="13185"/>
                    <a:pt x="39158" y="13423"/>
                  </a:cubicBezTo>
                  <a:cubicBezTo>
                    <a:pt x="38444" y="13659"/>
                    <a:pt x="37766" y="14004"/>
                    <a:pt x="37130" y="14411"/>
                  </a:cubicBezTo>
                  <a:cubicBezTo>
                    <a:pt x="35856" y="15224"/>
                    <a:pt x="34747" y="16279"/>
                    <a:pt x="33632" y="17309"/>
                  </a:cubicBezTo>
                  <a:cubicBezTo>
                    <a:pt x="33352" y="17568"/>
                    <a:pt x="33076" y="17819"/>
                    <a:pt x="32788" y="18071"/>
                  </a:cubicBezTo>
                  <a:cubicBezTo>
                    <a:pt x="32489" y="18331"/>
                    <a:pt x="32193" y="18598"/>
                    <a:pt x="31896" y="18865"/>
                  </a:cubicBezTo>
                  <a:cubicBezTo>
                    <a:pt x="31302" y="19398"/>
                    <a:pt x="30707" y="19941"/>
                    <a:pt x="30094" y="20457"/>
                  </a:cubicBezTo>
                  <a:cubicBezTo>
                    <a:pt x="29605" y="20868"/>
                    <a:pt x="29109" y="21256"/>
                    <a:pt x="28599" y="21580"/>
                  </a:cubicBezTo>
                  <a:cubicBezTo>
                    <a:pt x="28089" y="21905"/>
                    <a:pt x="27564" y="22164"/>
                    <a:pt x="27036" y="22305"/>
                  </a:cubicBezTo>
                  <a:cubicBezTo>
                    <a:pt x="26508" y="22447"/>
                    <a:pt x="25974" y="22467"/>
                    <a:pt x="25446" y="22361"/>
                  </a:cubicBezTo>
                  <a:cubicBezTo>
                    <a:pt x="24916" y="22256"/>
                    <a:pt x="24388" y="22025"/>
                    <a:pt x="23874" y="21719"/>
                  </a:cubicBezTo>
                  <a:cubicBezTo>
                    <a:pt x="23359" y="21411"/>
                    <a:pt x="22857" y="21030"/>
                    <a:pt x="22363" y="20619"/>
                  </a:cubicBezTo>
                  <a:cubicBezTo>
                    <a:pt x="21869" y="20210"/>
                    <a:pt x="21381" y="19768"/>
                    <a:pt x="20890" y="19319"/>
                  </a:cubicBezTo>
                  <a:cubicBezTo>
                    <a:pt x="20399" y="18872"/>
                    <a:pt x="19902" y="18412"/>
                    <a:pt x="19394" y="17963"/>
                  </a:cubicBezTo>
                  <a:cubicBezTo>
                    <a:pt x="18914" y="17534"/>
                    <a:pt x="18435" y="17072"/>
                    <a:pt x="17941" y="16609"/>
                  </a:cubicBezTo>
                  <a:cubicBezTo>
                    <a:pt x="16954" y="15686"/>
                    <a:pt x="15906" y="14737"/>
                    <a:pt x="14638" y="13998"/>
                  </a:cubicBezTo>
                  <a:cubicBezTo>
                    <a:pt x="14005" y="13632"/>
                    <a:pt x="13313" y="13322"/>
                    <a:pt x="12574" y="13129"/>
                  </a:cubicBezTo>
                  <a:cubicBezTo>
                    <a:pt x="12205" y="13032"/>
                    <a:pt x="11825" y="12963"/>
                    <a:pt x="11442" y="12929"/>
                  </a:cubicBezTo>
                  <a:cubicBezTo>
                    <a:pt x="11250" y="12911"/>
                    <a:pt x="11058" y="12900"/>
                    <a:pt x="10865" y="12900"/>
                  </a:cubicBezTo>
                  <a:cubicBezTo>
                    <a:pt x="10658" y="12898"/>
                    <a:pt x="10440" y="12913"/>
                    <a:pt x="10229" y="12943"/>
                  </a:cubicBezTo>
                  <a:cubicBezTo>
                    <a:pt x="9381" y="13066"/>
                    <a:pt x="8585" y="13459"/>
                    <a:pt x="7970" y="14036"/>
                  </a:cubicBezTo>
                  <a:cubicBezTo>
                    <a:pt x="7353" y="14608"/>
                    <a:pt x="6907" y="15365"/>
                    <a:pt x="6712" y="16189"/>
                  </a:cubicBezTo>
                  <a:cubicBezTo>
                    <a:pt x="6663" y="16394"/>
                    <a:pt x="6630" y="16604"/>
                    <a:pt x="6612" y="16813"/>
                  </a:cubicBezTo>
                  <a:cubicBezTo>
                    <a:pt x="6603" y="16919"/>
                    <a:pt x="6597" y="17024"/>
                    <a:pt x="6597" y="17130"/>
                  </a:cubicBezTo>
                  <a:cubicBezTo>
                    <a:pt x="6596" y="17386"/>
                    <a:pt x="6596" y="17386"/>
                    <a:pt x="6596" y="17386"/>
                  </a:cubicBezTo>
                  <a:cubicBezTo>
                    <a:pt x="6594" y="17718"/>
                    <a:pt x="6594" y="18048"/>
                    <a:pt x="6594" y="18378"/>
                  </a:cubicBezTo>
                  <a:cubicBezTo>
                    <a:pt x="6592" y="19038"/>
                    <a:pt x="6591" y="19698"/>
                    <a:pt x="6590" y="20356"/>
                  </a:cubicBezTo>
                  <a:cubicBezTo>
                    <a:pt x="6587" y="22400"/>
                    <a:pt x="6587" y="22400"/>
                    <a:pt x="6587" y="22400"/>
                  </a:cubicBezTo>
                  <a:cubicBezTo>
                    <a:pt x="6585" y="23423"/>
                    <a:pt x="6585" y="23423"/>
                    <a:pt x="6585" y="23423"/>
                  </a:cubicBezTo>
                  <a:cubicBezTo>
                    <a:pt x="6584" y="23823"/>
                    <a:pt x="6584" y="23823"/>
                    <a:pt x="6584" y="23823"/>
                  </a:cubicBezTo>
                  <a:cubicBezTo>
                    <a:pt x="6583" y="23852"/>
                    <a:pt x="6585" y="23879"/>
                    <a:pt x="6581" y="23906"/>
                  </a:cubicBezTo>
                  <a:cubicBezTo>
                    <a:pt x="6578" y="23933"/>
                    <a:pt x="6560" y="23958"/>
                    <a:pt x="6533" y="23966"/>
                  </a:cubicBezTo>
                  <a:cubicBezTo>
                    <a:pt x="6507" y="23971"/>
                    <a:pt x="6479" y="23975"/>
                    <a:pt x="6452" y="23976"/>
                  </a:cubicBezTo>
                  <a:cubicBezTo>
                    <a:pt x="6398" y="23980"/>
                    <a:pt x="6398" y="23980"/>
                    <a:pt x="6398" y="23980"/>
                  </a:cubicBezTo>
                  <a:cubicBezTo>
                    <a:pt x="6161" y="23989"/>
                    <a:pt x="6161" y="23989"/>
                    <a:pt x="6161" y="23989"/>
                  </a:cubicBezTo>
                  <a:cubicBezTo>
                    <a:pt x="6002" y="23994"/>
                    <a:pt x="5839" y="23998"/>
                    <a:pt x="5674" y="23998"/>
                  </a:cubicBezTo>
                  <a:cubicBezTo>
                    <a:pt x="5178" y="23998"/>
                    <a:pt x="5178" y="23998"/>
                    <a:pt x="5178" y="23998"/>
                  </a:cubicBezTo>
                  <a:cubicBezTo>
                    <a:pt x="5051" y="23998"/>
                    <a:pt x="4922" y="23987"/>
                    <a:pt x="4791" y="23969"/>
                  </a:cubicBezTo>
                  <a:cubicBezTo>
                    <a:pt x="4530" y="23933"/>
                    <a:pt x="4264" y="23863"/>
                    <a:pt x="4007" y="23765"/>
                  </a:cubicBezTo>
                  <a:cubicBezTo>
                    <a:pt x="3492" y="23572"/>
                    <a:pt x="3005" y="23268"/>
                    <a:pt x="2631" y="22893"/>
                  </a:cubicBezTo>
                  <a:cubicBezTo>
                    <a:pt x="2256" y="22519"/>
                    <a:pt x="2002" y="22078"/>
                    <a:pt x="1938" y="21654"/>
                  </a:cubicBezTo>
                  <a:cubicBezTo>
                    <a:pt x="1929" y="21602"/>
                    <a:pt x="1923" y="21548"/>
                    <a:pt x="1920" y="21495"/>
                  </a:cubicBezTo>
                  <a:cubicBezTo>
                    <a:pt x="1919" y="21468"/>
                    <a:pt x="1918" y="21441"/>
                    <a:pt x="1918" y="21416"/>
                  </a:cubicBezTo>
                  <a:cubicBezTo>
                    <a:pt x="1917" y="21299"/>
                    <a:pt x="1917" y="21299"/>
                    <a:pt x="1917" y="21299"/>
                  </a:cubicBezTo>
                  <a:cubicBezTo>
                    <a:pt x="1919" y="20789"/>
                    <a:pt x="1919" y="20789"/>
                    <a:pt x="1919" y="20789"/>
                  </a:cubicBezTo>
                  <a:cubicBezTo>
                    <a:pt x="1920" y="19772"/>
                    <a:pt x="1920" y="19772"/>
                    <a:pt x="1920" y="19772"/>
                  </a:cubicBezTo>
                  <a:cubicBezTo>
                    <a:pt x="1922" y="19092"/>
                    <a:pt x="1923" y="18412"/>
                    <a:pt x="1924" y="17736"/>
                  </a:cubicBezTo>
                  <a:cubicBezTo>
                    <a:pt x="1930" y="12447"/>
                    <a:pt x="1943" y="2086"/>
                    <a:pt x="1943" y="1975"/>
                  </a:cubicBezTo>
                  <a:cubicBezTo>
                    <a:pt x="1943" y="1931"/>
                    <a:pt x="1951" y="1894"/>
                    <a:pt x="1977" y="1870"/>
                  </a:cubicBezTo>
                  <a:cubicBezTo>
                    <a:pt x="1998" y="1850"/>
                    <a:pt x="2031" y="1839"/>
                    <a:pt x="2079" y="1839"/>
                  </a:cubicBezTo>
                  <a:cubicBezTo>
                    <a:pt x="2106" y="1839"/>
                    <a:pt x="2204" y="1839"/>
                    <a:pt x="2346" y="1839"/>
                  </a:cubicBezTo>
                  <a:cubicBezTo>
                    <a:pt x="2783" y="1839"/>
                    <a:pt x="3644" y="1839"/>
                    <a:pt x="4171" y="1838"/>
                  </a:cubicBezTo>
                  <a:cubicBezTo>
                    <a:pt x="4586" y="1838"/>
                    <a:pt x="5001" y="1838"/>
                    <a:pt x="5415" y="1838"/>
                  </a:cubicBezTo>
                  <a:cubicBezTo>
                    <a:pt x="6036" y="1837"/>
                    <a:pt x="6036" y="1837"/>
                    <a:pt x="6036" y="1837"/>
                  </a:cubicBezTo>
                  <a:cubicBezTo>
                    <a:pt x="6152" y="1836"/>
                    <a:pt x="6213" y="1838"/>
                    <a:pt x="6307" y="1843"/>
                  </a:cubicBezTo>
                  <a:cubicBezTo>
                    <a:pt x="6395" y="1847"/>
                    <a:pt x="6483" y="1854"/>
                    <a:pt x="6571" y="1863"/>
                  </a:cubicBezTo>
                  <a:cubicBezTo>
                    <a:pt x="7271" y="1932"/>
                    <a:pt x="7952" y="2139"/>
                    <a:pt x="8570" y="2470"/>
                  </a:cubicBezTo>
                  <a:cubicBezTo>
                    <a:pt x="8879" y="2635"/>
                    <a:pt x="9171" y="2831"/>
                    <a:pt x="9442" y="3052"/>
                  </a:cubicBezTo>
                  <a:cubicBezTo>
                    <a:pt x="9510" y="3106"/>
                    <a:pt x="9579" y="3165"/>
                    <a:pt x="9640" y="3220"/>
                  </a:cubicBezTo>
                  <a:cubicBezTo>
                    <a:pt x="9854" y="3419"/>
                    <a:pt x="9854" y="3419"/>
                    <a:pt x="9854" y="3419"/>
                  </a:cubicBezTo>
                  <a:cubicBezTo>
                    <a:pt x="10305" y="3841"/>
                    <a:pt x="10305" y="3841"/>
                    <a:pt x="10305" y="3841"/>
                  </a:cubicBezTo>
                  <a:cubicBezTo>
                    <a:pt x="11970" y="5399"/>
                    <a:pt x="13645" y="6958"/>
                    <a:pt x="15279" y="8472"/>
                  </a:cubicBezTo>
                  <a:cubicBezTo>
                    <a:pt x="15297" y="8489"/>
                    <a:pt x="15297" y="8489"/>
                    <a:pt x="15297" y="8489"/>
                  </a:cubicBezTo>
                  <a:cubicBezTo>
                    <a:pt x="15338" y="8528"/>
                    <a:pt x="15338" y="8528"/>
                    <a:pt x="15338" y="8528"/>
                  </a:cubicBezTo>
                  <a:cubicBezTo>
                    <a:pt x="15418" y="8605"/>
                    <a:pt x="15418" y="8605"/>
                    <a:pt x="15418" y="8605"/>
                  </a:cubicBezTo>
                  <a:cubicBezTo>
                    <a:pt x="15580" y="8758"/>
                    <a:pt x="15580" y="8758"/>
                    <a:pt x="15580" y="8758"/>
                  </a:cubicBezTo>
                  <a:cubicBezTo>
                    <a:pt x="15688" y="8859"/>
                    <a:pt x="15797" y="8959"/>
                    <a:pt x="15909" y="9055"/>
                  </a:cubicBezTo>
                  <a:cubicBezTo>
                    <a:pt x="16131" y="9250"/>
                    <a:pt x="16359" y="9436"/>
                    <a:pt x="16590" y="9615"/>
                  </a:cubicBezTo>
                  <a:cubicBezTo>
                    <a:pt x="17053" y="9974"/>
                    <a:pt x="17535" y="10299"/>
                    <a:pt x="18027" y="10592"/>
                  </a:cubicBezTo>
                  <a:cubicBezTo>
                    <a:pt x="19012" y="11180"/>
                    <a:pt x="20042" y="11634"/>
                    <a:pt x="21073" y="11966"/>
                  </a:cubicBezTo>
                  <a:cubicBezTo>
                    <a:pt x="22104" y="12297"/>
                    <a:pt x="23135" y="12505"/>
                    <a:pt x="24130" y="12613"/>
                  </a:cubicBezTo>
                  <a:cubicBezTo>
                    <a:pt x="25126" y="12720"/>
                    <a:pt x="26085" y="12731"/>
                    <a:pt x="26986" y="12667"/>
                  </a:cubicBezTo>
                  <a:cubicBezTo>
                    <a:pt x="28794" y="12547"/>
                    <a:pt x="30366" y="12128"/>
                    <a:pt x="31601" y="11637"/>
                  </a:cubicBezTo>
                  <a:cubicBezTo>
                    <a:pt x="32764" y="11180"/>
                    <a:pt x="33788" y="10609"/>
                    <a:pt x="34694" y="9965"/>
                  </a:cubicBezTo>
                  <a:cubicBezTo>
                    <a:pt x="35147" y="9644"/>
                    <a:pt x="35570" y="9301"/>
                    <a:pt x="35966" y="8944"/>
                  </a:cubicBezTo>
                  <a:cubicBezTo>
                    <a:pt x="36164" y="8767"/>
                    <a:pt x="36361" y="8576"/>
                    <a:pt x="36536" y="8402"/>
                  </a:cubicBezTo>
                  <a:cubicBezTo>
                    <a:pt x="36717" y="8227"/>
                    <a:pt x="36895" y="8051"/>
                    <a:pt x="37074" y="7875"/>
                  </a:cubicBezTo>
                  <a:cubicBezTo>
                    <a:pt x="39465" y="5534"/>
                    <a:pt x="41336" y="3664"/>
                    <a:pt x="42185" y="2767"/>
                  </a:cubicBezTo>
                  <a:cubicBezTo>
                    <a:pt x="42609" y="2330"/>
                    <a:pt x="42961" y="1961"/>
                    <a:pt x="43246" y="1655"/>
                  </a:cubicBezTo>
                  <a:cubicBezTo>
                    <a:pt x="43282" y="1615"/>
                    <a:pt x="43319" y="1576"/>
                    <a:pt x="43355" y="1537"/>
                  </a:cubicBezTo>
                  <a:cubicBezTo>
                    <a:pt x="43384" y="1506"/>
                    <a:pt x="43413" y="1474"/>
                    <a:pt x="43442" y="1444"/>
                  </a:cubicBezTo>
                  <a:cubicBezTo>
                    <a:pt x="43455" y="1429"/>
                    <a:pt x="43468" y="1415"/>
                    <a:pt x="43482" y="1400"/>
                  </a:cubicBezTo>
                  <a:cubicBezTo>
                    <a:pt x="43492" y="1388"/>
                    <a:pt x="43502" y="1377"/>
                    <a:pt x="43511" y="1366"/>
                  </a:cubicBezTo>
                  <a:cubicBezTo>
                    <a:pt x="43547" y="1323"/>
                    <a:pt x="43578" y="1286"/>
                    <a:pt x="43599" y="1259"/>
                  </a:cubicBezTo>
                  <a:cubicBezTo>
                    <a:pt x="43675" y="1223"/>
                    <a:pt x="43738" y="1193"/>
                    <a:pt x="43792" y="1166"/>
                  </a:cubicBezTo>
                  <a:cubicBezTo>
                    <a:pt x="43855" y="1133"/>
                    <a:pt x="43909" y="1105"/>
                    <a:pt x="43958" y="1079"/>
                  </a:cubicBezTo>
                  <a:cubicBezTo>
                    <a:pt x="43981" y="1066"/>
                    <a:pt x="44282" y="928"/>
                    <a:pt x="44343" y="896"/>
                  </a:cubicBezTo>
                  <a:cubicBezTo>
                    <a:pt x="44493" y="812"/>
                    <a:pt x="44494" y="738"/>
                    <a:pt x="43958" y="663"/>
                  </a:cubicBezTo>
                  <a:cubicBezTo>
                    <a:pt x="43955" y="662"/>
                    <a:pt x="43955" y="662"/>
                    <a:pt x="43955" y="662"/>
                  </a:cubicBezTo>
                  <a:cubicBezTo>
                    <a:pt x="43884" y="677"/>
                    <a:pt x="43884" y="677"/>
                    <a:pt x="43884" y="677"/>
                  </a:cubicBezTo>
                  <a:cubicBezTo>
                    <a:pt x="43824" y="689"/>
                    <a:pt x="43754" y="706"/>
                    <a:pt x="43670" y="727"/>
                  </a:cubicBezTo>
                  <a:cubicBezTo>
                    <a:pt x="43621" y="740"/>
                    <a:pt x="43570" y="755"/>
                    <a:pt x="43518" y="768"/>
                  </a:cubicBezTo>
                  <a:cubicBezTo>
                    <a:pt x="43456" y="785"/>
                    <a:pt x="43392" y="804"/>
                    <a:pt x="43327" y="822"/>
                  </a:cubicBezTo>
                  <a:cubicBezTo>
                    <a:pt x="43141" y="971"/>
                    <a:pt x="42934" y="1137"/>
                    <a:pt x="42699" y="1324"/>
                  </a:cubicBezTo>
                  <a:cubicBezTo>
                    <a:pt x="42464" y="1515"/>
                    <a:pt x="42189" y="1742"/>
                    <a:pt x="41873" y="2007"/>
                  </a:cubicBezTo>
                  <a:cubicBezTo>
                    <a:pt x="41042" y="2692"/>
                    <a:pt x="38675" y="4850"/>
                    <a:pt x="35671" y="7622"/>
                  </a:cubicBezTo>
                  <a:cubicBezTo>
                    <a:pt x="35575" y="7710"/>
                    <a:pt x="35487" y="7792"/>
                    <a:pt x="35393" y="7874"/>
                  </a:cubicBezTo>
                  <a:cubicBezTo>
                    <a:pt x="35301" y="7956"/>
                    <a:pt x="35207" y="8038"/>
                    <a:pt x="35110" y="8118"/>
                  </a:cubicBezTo>
                  <a:cubicBezTo>
                    <a:pt x="34918" y="8281"/>
                    <a:pt x="34719" y="8437"/>
                    <a:pt x="34512" y="8591"/>
                  </a:cubicBezTo>
                  <a:cubicBezTo>
                    <a:pt x="34100" y="8897"/>
                    <a:pt x="33661" y="9186"/>
                    <a:pt x="33199" y="9450"/>
                  </a:cubicBezTo>
                  <a:cubicBezTo>
                    <a:pt x="32274" y="9980"/>
                    <a:pt x="31253" y="10412"/>
                    <a:pt x="30179" y="10717"/>
                  </a:cubicBezTo>
                  <a:cubicBezTo>
                    <a:pt x="28032" y="11330"/>
                    <a:pt x="25667" y="11418"/>
                    <a:pt x="23498" y="11014"/>
                  </a:cubicBezTo>
                  <a:cubicBezTo>
                    <a:pt x="21528" y="10648"/>
                    <a:pt x="19660" y="9859"/>
                    <a:pt x="18064" y="8699"/>
                  </a:cubicBezTo>
                  <a:cubicBezTo>
                    <a:pt x="17665" y="8409"/>
                    <a:pt x="17283" y="8097"/>
                    <a:pt x="16920" y="7763"/>
                  </a:cubicBezTo>
                  <a:cubicBezTo>
                    <a:pt x="16830" y="7680"/>
                    <a:pt x="16740" y="7595"/>
                    <a:pt x="16652" y="7510"/>
                  </a:cubicBezTo>
                  <a:cubicBezTo>
                    <a:pt x="16521" y="7380"/>
                    <a:pt x="16521" y="7380"/>
                    <a:pt x="16521" y="7380"/>
                  </a:cubicBezTo>
                  <a:cubicBezTo>
                    <a:pt x="16455" y="7314"/>
                    <a:pt x="16455" y="7314"/>
                    <a:pt x="16455" y="7314"/>
                  </a:cubicBezTo>
                  <a:cubicBezTo>
                    <a:pt x="16370" y="7232"/>
                    <a:pt x="16370" y="7232"/>
                    <a:pt x="16370" y="7232"/>
                  </a:cubicBezTo>
                  <a:cubicBezTo>
                    <a:pt x="15807" y="6693"/>
                    <a:pt x="15807" y="6693"/>
                    <a:pt x="15807" y="6693"/>
                  </a:cubicBezTo>
                  <a:cubicBezTo>
                    <a:pt x="15055" y="5974"/>
                    <a:pt x="14303" y="5254"/>
                    <a:pt x="13548" y="4532"/>
                  </a:cubicBezTo>
                  <a:cubicBezTo>
                    <a:pt x="12794" y="3811"/>
                    <a:pt x="12037" y="3086"/>
                    <a:pt x="11277" y="2358"/>
                  </a:cubicBezTo>
                  <a:cubicBezTo>
                    <a:pt x="10992" y="2085"/>
                    <a:pt x="10992" y="2085"/>
                    <a:pt x="10992" y="2085"/>
                  </a:cubicBezTo>
                  <a:cubicBezTo>
                    <a:pt x="10842" y="1945"/>
                    <a:pt x="10842" y="1945"/>
                    <a:pt x="10842" y="1945"/>
                  </a:cubicBezTo>
                  <a:cubicBezTo>
                    <a:pt x="10784" y="1890"/>
                    <a:pt x="10730" y="1842"/>
                    <a:pt x="10674" y="1792"/>
                  </a:cubicBezTo>
                  <a:cubicBezTo>
                    <a:pt x="10451" y="1598"/>
                    <a:pt x="10215" y="1417"/>
                    <a:pt x="9968" y="1251"/>
                  </a:cubicBezTo>
                  <a:cubicBezTo>
                    <a:pt x="9475" y="920"/>
                    <a:pt x="8938" y="648"/>
                    <a:pt x="8374" y="447"/>
                  </a:cubicBezTo>
                  <a:cubicBezTo>
                    <a:pt x="7808" y="246"/>
                    <a:pt x="7215" y="116"/>
                    <a:pt x="6613" y="63"/>
                  </a:cubicBezTo>
                  <a:cubicBezTo>
                    <a:pt x="6539" y="57"/>
                    <a:pt x="6463" y="50"/>
                    <a:pt x="6388" y="46"/>
                  </a:cubicBezTo>
                  <a:cubicBezTo>
                    <a:pt x="6274" y="41"/>
                    <a:pt x="6274" y="41"/>
                    <a:pt x="6274" y="41"/>
                  </a:cubicBezTo>
                  <a:cubicBezTo>
                    <a:pt x="6155" y="37"/>
                    <a:pt x="6155" y="37"/>
                    <a:pt x="6155" y="37"/>
                  </a:cubicBezTo>
                  <a:cubicBezTo>
                    <a:pt x="5751" y="33"/>
                    <a:pt x="5751" y="33"/>
                    <a:pt x="5751" y="33"/>
                  </a:cubicBezTo>
                  <a:cubicBezTo>
                    <a:pt x="5482" y="31"/>
                    <a:pt x="5212" y="29"/>
                    <a:pt x="4942" y="27"/>
                  </a:cubicBezTo>
                  <a:cubicBezTo>
                    <a:pt x="3743" y="18"/>
                    <a:pt x="2484" y="0"/>
                    <a:pt x="1317" y="0"/>
                  </a:cubicBezTo>
                  <a:cubicBezTo>
                    <a:pt x="1261" y="0"/>
                    <a:pt x="1219" y="11"/>
                    <a:pt x="1167" y="15"/>
                  </a:cubicBezTo>
                  <a:cubicBezTo>
                    <a:pt x="1140" y="17"/>
                    <a:pt x="1114" y="19"/>
                    <a:pt x="1086" y="23"/>
                  </a:cubicBezTo>
                  <a:cubicBezTo>
                    <a:pt x="155" y="136"/>
                    <a:pt x="96" y="899"/>
                    <a:pt x="96" y="1210"/>
                  </a:cubicBezTo>
                  <a:cubicBezTo>
                    <a:pt x="96" y="1401"/>
                    <a:pt x="94" y="1611"/>
                    <a:pt x="93" y="1809"/>
                  </a:cubicBezTo>
                  <a:cubicBezTo>
                    <a:pt x="89" y="2555"/>
                    <a:pt x="80" y="3778"/>
                    <a:pt x="75" y="4603"/>
                  </a:cubicBezTo>
                  <a:cubicBezTo>
                    <a:pt x="60" y="7453"/>
                    <a:pt x="44" y="10331"/>
                    <a:pt x="28" y="13349"/>
                  </a:cubicBezTo>
                  <a:cubicBezTo>
                    <a:pt x="23" y="14793"/>
                    <a:pt x="17" y="16270"/>
                    <a:pt x="11" y="17772"/>
                  </a:cubicBezTo>
                  <a:cubicBezTo>
                    <a:pt x="9" y="18522"/>
                    <a:pt x="6" y="19281"/>
                    <a:pt x="4" y="20044"/>
                  </a:cubicBezTo>
                  <a:cubicBezTo>
                    <a:pt x="2" y="20426"/>
                    <a:pt x="1" y="20810"/>
                    <a:pt x="0" y="21196"/>
                  </a:cubicBezTo>
                  <a:cubicBezTo>
                    <a:pt x="0" y="21340"/>
                    <a:pt x="0" y="21340"/>
                    <a:pt x="0" y="21340"/>
                  </a:cubicBezTo>
                  <a:cubicBezTo>
                    <a:pt x="0" y="21416"/>
                    <a:pt x="0" y="21416"/>
                    <a:pt x="0" y="21416"/>
                  </a:cubicBezTo>
                  <a:cubicBezTo>
                    <a:pt x="1" y="21517"/>
                    <a:pt x="1" y="21517"/>
                    <a:pt x="1" y="21517"/>
                  </a:cubicBezTo>
                  <a:cubicBezTo>
                    <a:pt x="6" y="21650"/>
                    <a:pt x="19" y="21782"/>
                    <a:pt x="37" y="21914"/>
                  </a:cubicBezTo>
                  <a:cubicBezTo>
                    <a:pt x="76" y="22177"/>
                    <a:pt x="143" y="22433"/>
                    <a:pt x="235" y="22675"/>
                  </a:cubicBezTo>
                  <a:cubicBezTo>
                    <a:pt x="417" y="23161"/>
                    <a:pt x="689" y="23591"/>
                    <a:pt x="1005" y="23958"/>
                  </a:cubicBezTo>
                  <a:cubicBezTo>
                    <a:pt x="1321" y="24328"/>
                    <a:pt x="1682" y="24642"/>
                    <a:pt x="2071" y="24909"/>
                  </a:cubicBezTo>
                  <a:cubicBezTo>
                    <a:pt x="2460" y="25172"/>
                    <a:pt x="2878" y="25390"/>
                    <a:pt x="3320" y="25559"/>
                  </a:cubicBezTo>
                  <a:cubicBezTo>
                    <a:pt x="3761" y="25725"/>
                    <a:pt x="4229" y="25844"/>
                    <a:pt x="4719" y="25893"/>
                  </a:cubicBezTo>
                  <a:cubicBezTo>
                    <a:pt x="4843" y="25906"/>
                    <a:pt x="4967" y="25915"/>
                    <a:pt x="5092" y="25916"/>
                  </a:cubicBezTo>
                  <a:cubicBezTo>
                    <a:pt x="5413" y="25918"/>
                    <a:pt x="5413" y="25918"/>
                    <a:pt x="5413" y="25918"/>
                  </a:cubicBezTo>
                  <a:cubicBezTo>
                    <a:pt x="5616" y="25918"/>
                    <a:pt x="5822" y="25918"/>
                    <a:pt x="6032" y="25913"/>
                  </a:cubicBezTo>
                  <a:cubicBezTo>
                    <a:pt x="6349" y="25902"/>
                    <a:pt x="6349" y="25902"/>
                    <a:pt x="6349" y="25902"/>
                  </a:cubicBezTo>
                  <a:cubicBezTo>
                    <a:pt x="6511" y="25895"/>
                    <a:pt x="6511" y="25895"/>
                    <a:pt x="6511" y="25895"/>
                  </a:cubicBezTo>
                  <a:cubicBezTo>
                    <a:pt x="6643" y="25888"/>
                    <a:pt x="6643" y="25888"/>
                    <a:pt x="6643" y="25888"/>
                  </a:cubicBezTo>
                  <a:cubicBezTo>
                    <a:pt x="6783" y="25877"/>
                    <a:pt x="6783" y="25877"/>
                    <a:pt x="6783" y="25877"/>
                  </a:cubicBezTo>
                  <a:cubicBezTo>
                    <a:pt x="7156" y="25844"/>
                    <a:pt x="7534" y="25788"/>
                    <a:pt x="7817" y="25615"/>
                  </a:cubicBezTo>
                  <a:cubicBezTo>
                    <a:pt x="7959" y="25532"/>
                    <a:pt x="8094" y="25415"/>
                    <a:pt x="8198" y="25276"/>
                  </a:cubicBezTo>
                  <a:cubicBezTo>
                    <a:pt x="8303" y="25137"/>
                    <a:pt x="8375" y="24986"/>
                    <a:pt x="8425" y="24824"/>
                  </a:cubicBezTo>
                  <a:cubicBezTo>
                    <a:pt x="8449" y="24743"/>
                    <a:pt x="8467" y="24656"/>
                    <a:pt x="8480" y="24568"/>
                  </a:cubicBezTo>
                  <a:cubicBezTo>
                    <a:pt x="8491" y="24478"/>
                    <a:pt x="8487" y="24382"/>
                    <a:pt x="8491" y="24288"/>
                  </a:cubicBezTo>
                  <a:cubicBezTo>
                    <a:pt x="8502" y="23762"/>
                    <a:pt x="8502" y="23762"/>
                    <a:pt x="8502" y="23762"/>
                  </a:cubicBezTo>
                  <a:cubicBezTo>
                    <a:pt x="8502" y="23360"/>
                    <a:pt x="8503" y="22958"/>
                    <a:pt x="8503" y="22556"/>
                  </a:cubicBezTo>
                  <a:cubicBezTo>
                    <a:pt x="8505" y="20944"/>
                    <a:pt x="8506" y="19323"/>
                    <a:pt x="8507" y="17700"/>
                  </a:cubicBezTo>
                  <a:cubicBezTo>
                    <a:pt x="8508" y="17114"/>
                    <a:pt x="8508" y="17114"/>
                    <a:pt x="8508" y="17114"/>
                  </a:cubicBezTo>
                  <a:cubicBezTo>
                    <a:pt x="8511" y="16971"/>
                    <a:pt x="8527" y="16829"/>
                    <a:pt x="8557" y="16688"/>
                  </a:cubicBezTo>
                  <a:cubicBezTo>
                    <a:pt x="8615" y="16409"/>
                    <a:pt x="8725" y="16138"/>
                    <a:pt x="8881" y="15895"/>
                  </a:cubicBezTo>
                  <a:cubicBezTo>
                    <a:pt x="9190" y="15408"/>
                    <a:pt x="9681" y="15035"/>
                    <a:pt x="10225" y="14883"/>
                  </a:cubicBezTo>
                  <a:cubicBezTo>
                    <a:pt x="10360" y="14844"/>
                    <a:pt x="10499" y="14819"/>
                    <a:pt x="10639" y="14806"/>
                  </a:cubicBezTo>
                  <a:cubicBezTo>
                    <a:pt x="10710" y="14799"/>
                    <a:pt x="10777" y="14797"/>
                    <a:pt x="10853" y="14797"/>
                  </a:cubicBezTo>
                  <a:cubicBezTo>
                    <a:pt x="10937" y="14797"/>
                    <a:pt x="11022" y="14799"/>
                    <a:pt x="11106" y="14804"/>
                  </a:cubicBezTo>
                  <a:cubicBezTo>
                    <a:pt x="11443" y="14822"/>
                    <a:pt x="11778" y="14874"/>
                    <a:pt x="12109" y="14963"/>
                  </a:cubicBezTo>
                  <a:cubicBezTo>
                    <a:pt x="12771" y="15136"/>
                    <a:pt x="13415" y="15442"/>
                    <a:pt x="14033" y="15836"/>
                  </a:cubicBezTo>
                  <a:cubicBezTo>
                    <a:pt x="14652" y="16228"/>
                    <a:pt x="15245" y="16701"/>
                    <a:pt x="15826" y="17211"/>
                  </a:cubicBezTo>
                  <a:cubicBezTo>
                    <a:pt x="16408" y="17720"/>
                    <a:pt x="16977" y="18268"/>
                    <a:pt x="17572" y="18816"/>
                  </a:cubicBezTo>
                  <a:cubicBezTo>
                    <a:pt x="17865" y="19090"/>
                    <a:pt x="18186" y="19371"/>
                    <a:pt x="18471" y="19624"/>
                  </a:cubicBezTo>
                  <a:cubicBezTo>
                    <a:pt x="18763" y="19887"/>
                    <a:pt x="19055" y="20148"/>
                    <a:pt x="19346" y="20412"/>
                  </a:cubicBezTo>
                  <a:cubicBezTo>
                    <a:pt x="19931" y="20940"/>
                    <a:pt x="20520" y="21474"/>
                    <a:pt x="21145" y="21991"/>
                  </a:cubicBezTo>
                  <a:cubicBezTo>
                    <a:pt x="21771" y="22505"/>
                    <a:pt x="22434" y="23006"/>
                    <a:pt x="23192" y="23423"/>
                  </a:cubicBezTo>
                  <a:cubicBezTo>
                    <a:pt x="23571" y="23630"/>
                    <a:pt x="23975" y="23814"/>
                    <a:pt x="24404" y="23955"/>
                  </a:cubicBezTo>
                  <a:cubicBezTo>
                    <a:pt x="24833" y="24094"/>
                    <a:pt x="25289" y="24189"/>
                    <a:pt x="25751" y="24218"/>
                  </a:cubicBezTo>
                  <a:cubicBezTo>
                    <a:pt x="26212" y="24249"/>
                    <a:pt x="26677" y="24214"/>
                    <a:pt x="27122" y="24126"/>
                  </a:cubicBezTo>
                  <a:cubicBezTo>
                    <a:pt x="27565" y="24036"/>
                    <a:pt x="27988" y="23893"/>
                    <a:pt x="28379" y="23720"/>
                  </a:cubicBezTo>
                  <a:cubicBezTo>
                    <a:pt x="29164" y="23372"/>
                    <a:pt x="29831" y="22916"/>
                    <a:pt x="30440" y="22446"/>
                  </a:cubicBezTo>
                  <a:cubicBezTo>
                    <a:pt x="31050" y="21975"/>
                    <a:pt x="31603" y="21484"/>
                    <a:pt x="32136" y="21001"/>
                  </a:cubicBezTo>
                  <a:cubicBezTo>
                    <a:pt x="32660" y="20522"/>
                    <a:pt x="33177" y="20047"/>
                    <a:pt x="33687" y="19580"/>
                  </a:cubicBezTo>
                  <a:cubicBezTo>
                    <a:pt x="33815" y="19465"/>
                    <a:pt x="33943" y="19352"/>
                    <a:pt x="34070" y="19236"/>
                  </a:cubicBezTo>
                  <a:cubicBezTo>
                    <a:pt x="34200" y="19117"/>
                    <a:pt x="34329" y="18998"/>
                    <a:pt x="34459" y="18879"/>
                  </a:cubicBezTo>
                  <a:cubicBezTo>
                    <a:pt x="34710" y="18643"/>
                    <a:pt x="34957" y="18407"/>
                    <a:pt x="35204" y="18174"/>
                  </a:cubicBezTo>
                  <a:cubicBezTo>
                    <a:pt x="35690" y="17712"/>
                    <a:pt x="36160" y="17269"/>
                    <a:pt x="36635" y="16860"/>
                  </a:cubicBezTo>
                  <a:cubicBezTo>
                    <a:pt x="37578" y="16043"/>
                    <a:pt x="38544" y="15368"/>
                    <a:pt x="39540" y="14993"/>
                  </a:cubicBezTo>
                  <a:cubicBezTo>
                    <a:pt x="40038" y="14804"/>
                    <a:pt x="40538" y="14689"/>
                    <a:pt x="41035" y="14649"/>
                  </a:cubicBezTo>
                  <a:cubicBezTo>
                    <a:pt x="41158" y="14640"/>
                    <a:pt x="41287" y="14633"/>
                    <a:pt x="41402" y="14633"/>
                  </a:cubicBezTo>
                  <a:cubicBezTo>
                    <a:pt x="41509" y="14633"/>
                    <a:pt x="41616" y="14640"/>
                    <a:pt x="41719" y="14653"/>
                  </a:cubicBezTo>
                  <a:cubicBezTo>
                    <a:pt x="41929" y="14680"/>
                    <a:pt x="42132" y="14736"/>
                    <a:pt x="42326" y="14813"/>
                  </a:cubicBezTo>
                  <a:cubicBezTo>
                    <a:pt x="42712" y="14970"/>
                    <a:pt x="43051" y="15224"/>
                    <a:pt x="43312" y="15531"/>
                  </a:cubicBezTo>
                  <a:cubicBezTo>
                    <a:pt x="43575" y="15839"/>
                    <a:pt x="43757" y="16198"/>
                    <a:pt x="43853" y="16566"/>
                  </a:cubicBezTo>
                  <a:cubicBezTo>
                    <a:pt x="43900" y="16750"/>
                    <a:pt x="43927" y="16939"/>
                    <a:pt x="43934" y="17121"/>
                  </a:cubicBezTo>
                  <a:cubicBezTo>
                    <a:pt x="43938" y="17357"/>
                    <a:pt x="43941" y="17592"/>
                    <a:pt x="43945" y="17822"/>
                  </a:cubicBezTo>
                  <a:cubicBezTo>
                    <a:pt x="43951" y="18291"/>
                    <a:pt x="43959" y="18749"/>
                    <a:pt x="43965" y="19195"/>
                  </a:cubicBezTo>
                  <a:cubicBezTo>
                    <a:pt x="43972" y="19640"/>
                    <a:pt x="43979" y="20073"/>
                    <a:pt x="43987" y="20491"/>
                  </a:cubicBezTo>
                  <a:cubicBezTo>
                    <a:pt x="43990" y="20700"/>
                    <a:pt x="43994" y="20908"/>
                    <a:pt x="43997" y="21110"/>
                  </a:cubicBezTo>
                  <a:cubicBezTo>
                    <a:pt x="43999" y="21212"/>
                    <a:pt x="44001" y="21313"/>
                    <a:pt x="44003" y="21414"/>
                  </a:cubicBezTo>
                  <a:cubicBezTo>
                    <a:pt x="44005" y="21542"/>
                    <a:pt x="44016" y="21667"/>
                    <a:pt x="44033" y="21791"/>
                  </a:cubicBezTo>
                  <a:cubicBezTo>
                    <a:pt x="44102" y="22278"/>
                    <a:pt x="44279" y="22709"/>
                    <a:pt x="44495" y="23069"/>
                  </a:cubicBezTo>
                  <a:cubicBezTo>
                    <a:pt x="44711" y="23432"/>
                    <a:pt x="44969" y="23733"/>
                    <a:pt x="45236" y="23985"/>
                  </a:cubicBezTo>
                  <a:cubicBezTo>
                    <a:pt x="45772" y="24492"/>
                    <a:pt x="46343" y="24824"/>
                    <a:pt x="46894" y="25058"/>
                  </a:cubicBezTo>
                  <a:cubicBezTo>
                    <a:pt x="47447" y="25289"/>
                    <a:pt x="47986" y="25417"/>
                    <a:pt x="48500" y="25462"/>
                  </a:cubicBezTo>
                  <a:cubicBezTo>
                    <a:pt x="48756" y="25486"/>
                    <a:pt x="49022" y="25478"/>
                    <a:pt x="49226" y="25468"/>
                  </a:cubicBezTo>
                  <a:cubicBezTo>
                    <a:pt x="49441" y="25458"/>
                    <a:pt x="49650" y="25448"/>
                    <a:pt x="49854" y="25433"/>
                  </a:cubicBezTo>
                  <a:cubicBezTo>
                    <a:pt x="49956" y="25424"/>
                    <a:pt x="50056" y="25417"/>
                    <a:pt x="50155" y="25408"/>
                  </a:cubicBezTo>
                  <a:cubicBezTo>
                    <a:pt x="50216" y="25403"/>
                    <a:pt x="50276" y="25397"/>
                    <a:pt x="50335" y="25392"/>
                  </a:cubicBezTo>
                  <a:cubicBezTo>
                    <a:pt x="50402" y="25385"/>
                    <a:pt x="50470" y="25377"/>
                    <a:pt x="50537" y="25370"/>
                  </a:cubicBezTo>
                  <a:cubicBezTo>
                    <a:pt x="50803" y="25338"/>
                    <a:pt x="51055" y="25289"/>
                    <a:pt x="51257" y="25177"/>
                  </a:cubicBezTo>
                  <a:cubicBezTo>
                    <a:pt x="51359" y="25121"/>
                    <a:pt x="51451" y="25037"/>
                    <a:pt x="51516" y="24937"/>
                  </a:cubicBezTo>
                  <a:cubicBezTo>
                    <a:pt x="51581" y="24838"/>
                    <a:pt x="51618" y="24728"/>
                    <a:pt x="51641" y="24616"/>
                  </a:cubicBezTo>
                  <a:cubicBezTo>
                    <a:pt x="51688" y="24393"/>
                    <a:pt x="51664" y="24142"/>
                    <a:pt x="51664" y="23906"/>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3" name="Freeform 37"/>
            <p:cNvSpPr>
              <a:spLocks/>
            </p:cNvSpPr>
            <p:nvPr userDrawn="1"/>
          </p:nvSpPr>
          <p:spPr bwMode="auto">
            <a:xfrm>
              <a:off x="-82780187" y="20591463"/>
              <a:ext cx="78374875" cy="93070362"/>
            </a:xfrm>
            <a:custGeom>
              <a:avLst/>
              <a:gdLst>
                <a:gd name="T0" fmla="*/ 18726 w 20899"/>
                <a:gd name="T1" fmla="*/ 18165 h 24816"/>
                <a:gd name="T2" fmla="*/ 16704 w 20899"/>
                <a:gd name="T3" fmla="*/ 16252 h 24816"/>
                <a:gd name="T4" fmla="*/ 12823 w 20899"/>
                <a:gd name="T5" fmla="*/ 13479 h 24816"/>
                <a:gd name="T6" fmla="*/ 9723 w 20899"/>
                <a:gd name="T7" fmla="*/ 12968 h 24816"/>
                <a:gd name="T8" fmla="*/ 7957 w 20899"/>
                <a:gd name="T9" fmla="*/ 13747 h 24816"/>
                <a:gd name="T10" fmla="*/ 6544 w 20899"/>
                <a:gd name="T11" fmla="*/ 16529 h 24816"/>
                <a:gd name="T12" fmla="*/ 6538 w 20899"/>
                <a:gd name="T13" fmla="*/ 16843 h 24816"/>
                <a:gd name="T14" fmla="*/ 6526 w 20899"/>
                <a:gd name="T15" fmla="*/ 18358 h 24816"/>
                <a:gd name="T16" fmla="*/ 6495 w 20899"/>
                <a:gd name="T17" fmla="*/ 23550 h 24816"/>
                <a:gd name="T18" fmla="*/ 6349 w 20899"/>
                <a:gd name="T19" fmla="*/ 23873 h 24816"/>
                <a:gd name="T20" fmla="*/ 5979 w 20899"/>
                <a:gd name="T21" fmla="*/ 23933 h 24816"/>
                <a:gd name="T22" fmla="*/ 5730 w 20899"/>
                <a:gd name="T23" fmla="*/ 23945 h 24816"/>
                <a:gd name="T24" fmla="*/ 4774 w 20899"/>
                <a:gd name="T25" fmla="*/ 23960 h 24816"/>
                <a:gd name="T26" fmla="*/ 4472 w 20899"/>
                <a:gd name="T27" fmla="*/ 23956 h 24816"/>
                <a:gd name="T28" fmla="*/ 2799 w 20899"/>
                <a:gd name="T29" fmla="*/ 23486 h 24816"/>
                <a:gd name="T30" fmla="*/ 869 w 20899"/>
                <a:gd name="T31" fmla="*/ 20931 h 24816"/>
                <a:gd name="T32" fmla="*/ 810 w 20899"/>
                <a:gd name="T33" fmla="*/ 10472 h 24816"/>
                <a:gd name="T34" fmla="*/ 893 w 20899"/>
                <a:gd name="T35" fmla="*/ 826 h 24816"/>
                <a:gd name="T36" fmla="*/ 4833 w 20899"/>
                <a:gd name="T37" fmla="*/ 721 h 24816"/>
                <a:gd name="T38" fmla="*/ 5743 w 20899"/>
                <a:gd name="T39" fmla="*/ 723 h 24816"/>
                <a:gd name="T40" fmla="*/ 8228 w 20899"/>
                <a:gd name="T41" fmla="*/ 1382 h 24816"/>
                <a:gd name="T42" fmla="*/ 10925 w 20899"/>
                <a:gd name="T43" fmla="*/ 3587 h 24816"/>
                <a:gd name="T44" fmla="*/ 14516 w 20899"/>
                <a:gd name="T45" fmla="*/ 6926 h 24816"/>
                <a:gd name="T46" fmla="*/ 15118 w 20899"/>
                <a:gd name="T47" fmla="*/ 7482 h 24816"/>
                <a:gd name="T48" fmla="*/ 15228 w 20899"/>
                <a:gd name="T49" fmla="*/ 7584 h 24816"/>
                <a:gd name="T50" fmla="*/ 17201 w 20899"/>
                <a:gd name="T51" fmla="*/ 9156 h 24816"/>
                <a:gd name="T52" fmla="*/ 19276 w 20899"/>
                <a:gd name="T53" fmla="*/ 10228 h 24816"/>
                <a:gd name="T54" fmla="*/ 20704 w 20899"/>
                <a:gd name="T55" fmla="*/ 10652 h 24816"/>
                <a:gd name="T56" fmla="*/ 19526 w 20899"/>
                <a:gd name="T57" fmla="*/ 10044 h 24816"/>
                <a:gd name="T58" fmla="*/ 15710 w 20899"/>
                <a:gd name="T59" fmla="*/ 7341 h 24816"/>
                <a:gd name="T60" fmla="*/ 15321 w 20899"/>
                <a:gd name="T61" fmla="*/ 6958 h 24816"/>
                <a:gd name="T62" fmla="*/ 14062 w 20899"/>
                <a:gd name="T63" fmla="*/ 5741 h 24816"/>
                <a:gd name="T64" fmla="*/ 9540 w 20899"/>
                <a:gd name="T65" fmla="*/ 1447 h 24816"/>
                <a:gd name="T66" fmla="*/ 7379 w 20899"/>
                <a:gd name="T67" fmla="*/ 317 h 24816"/>
                <a:gd name="T68" fmla="*/ 5592 w 20899"/>
                <a:gd name="T69" fmla="*/ 28 h 24816"/>
                <a:gd name="T70" fmla="*/ 5281 w 20899"/>
                <a:gd name="T71" fmla="*/ 25 h 24816"/>
                <a:gd name="T72" fmla="*/ 4025 w 20899"/>
                <a:gd name="T73" fmla="*/ 17 h 24816"/>
                <a:gd name="T74" fmla="*/ 47 w 20899"/>
                <a:gd name="T75" fmla="*/ 915 h 24816"/>
                <a:gd name="T76" fmla="*/ 2 w 20899"/>
                <a:gd name="T77" fmla="*/ 17555 h 24816"/>
                <a:gd name="T78" fmla="*/ 5 w 20899"/>
                <a:gd name="T79" fmla="*/ 20341 h 24816"/>
                <a:gd name="T80" fmla="*/ 6 w 20899"/>
                <a:gd name="T81" fmla="*/ 20923 h 24816"/>
                <a:gd name="T82" fmla="*/ 38 w 20899"/>
                <a:gd name="T83" fmla="*/ 21322 h 24816"/>
                <a:gd name="T84" fmla="*/ 944 w 20899"/>
                <a:gd name="T85" fmla="*/ 23148 h 24816"/>
                <a:gd name="T86" fmla="*/ 4388 w 20899"/>
                <a:gd name="T87" fmla="*/ 24811 h 24816"/>
                <a:gd name="T88" fmla="*/ 4856 w 20899"/>
                <a:gd name="T89" fmla="*/ 24816 h 24816"/>
                <a:gd name="T90" fmla="*/ 5756 w 20899"/>
                <a:gd name="T91" fmla="*/ 24796 h 24816"/>
                <a:gd name="T92" fmla="*/ 6291 w 20899"/>
                <a:gd name="T93" fmla="*/ 24757 h 24816"/>
                <a:gd name="T94" fmla="*/ 7234 w 20899"/>
                <a:gd name="T95" fmla="*/ 24266 h 24816"/>
                <a:gd name="T96" fmla="*/ 7330 w 20899"/>
                <a:gd name="T97" fmla="*/ 23437 h 24816"/>
                <a:gd name="T98" fmla="*/ 7330 w 20899"/>
                <a:gd name="T99" fmla="*/ 23186 h 24816"/>
                <a:gd name="T100" fmla="*/ 7299 w 20899"/>
                <a:gd name="T101" fmla="*/ 18175 h 24816"/>
                <a:gd name="T102" fmla="*/ 7621 w 20899"/>
                <a:gd name="T103" fmla="*/ 15253 h 24816"/>
                <a:gd name="T104" fmla="*/ 9653 w 20899"/>
                <a:gd name="T105" fmla="*/ 13652 h 24816"/>
                <a:gd name="T106" fmla="*/ 10936 w 20899"/>
                <a:gd name="T107" fmla="*/ 13607 h 24816"/>
                <a:gd name="T108" fmla="*/ 14288 w 20899"/>
                <a:gd name="T109" fmla="*/ 14941 h 24816"/>
                <a:gd name="T110" fmla="*/ 17357 w 20899"/>
                <a:gd name="T111" fmla="*/ 17469 h 24816"/>
                <a:gd name="T112" fmla="*/ 19639 w 20899"/>
                <a:gd name="T113" fmla="*/ 19376 h 24816"/>
                <a:gd name="T114" fmla="*/ 19270 w 20899"/>
                <a:gd name="T115" fmla="*/ 18677 h 24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899" h="24816">
                  <a:moveTo>
                    <a:pt x="19270" y="18677"/>
                  </a:moveTo>
                  <a:cubicBezTo>
                    <a:pt x="19104" y="18520"/>
                    <a:pt x="18922" y="18349"/>
                    <a:pt x="18726" y="18165"/>
                  </a:cubicBezTo>
                  <a:cubicBezTo>
                    <a:pt x="18527" y="17981"/>
                    <a:pt x="18315" y="17790"/>
                    <a:pt x="18099" y="17586"/>
                  </a:cubicBezTo>
                  <a:cubicBezTo>
                    <a:pt x="17662" y="17168"/>
                    <a:pt x="17188" y="16713"/>
                    <a:pt x="16704" y="16252"/>
                  </a:cubicBezTo>
                  <a:cubicBezTo>
                    <a:pt x="16133" y="15720"/>
                    <a:pt x="15543" y="15193"/>
                    <a:pt x="14905" y="14714"/>
                  </a:cubicBezTo>
                  <a:cubicBezTo>
                    <a:pt x="14267" y="14236"/>
                    <a:pt x="13579" y="13801"/>
                    <a:pt x="12823" y="13479"/>
                  </a:cubicBezTo>
                  <a:cubicBezTo>
                    <a:pt x="12070" y="13154"/>
                    <a:pt x="11228" y="12950"/>
                    <a:pt x="10381" y="12932"/>
                  </a:cubicBezTo>
                  <a:cubicBezTo>
                    <a:pt x="10169" y="12927"/>
                    <a:pt x="9940" y="12936"/>
                    <a:pt x="9723" y="12968"/>
                  </a:cubicBezTo>
                  <a:cubicBezTo>
                    <a:pt x="9505" y="13002"/>
                    <a:pt x="9290" y="13055"/>
                    <a:pt x="9083" y="13125"/>
                  </a:cubicBezTo>
                  <a:cubicBezTo>
                    <a:pt x="8669" y="13266"/>
                    <a:pt x="8286" y="13480"/>
                    <a:pt x="7957" y="13747"/>
                  </a:cubicBezTo>
                  <a:cubicBezTo>
                    <a:pt x="7315" y="14259"/>
                    <a:pt x="6820" y="15011"/>
                    <a:pt x="6630" y="15873"/>
                  </a:cubicBezTo>
                  <a:cubicBezTo>
                    <a:pt x="6582" y="16088"/>
                    <a:pt x="6553" y="16308"/>
                    <a:pt x="6544" y="16529"/>
                  </a:cubicBezTo>
                  <a:cubicBezTo>
                    <a:pt x="6540" y="16583"/>
                    <a:pt x="6539" y="16645"/>
                    <a:pt x="6539" y="16693"/>
                  </a:cubicBezTo>
                  <a:cubicBezTo>
                    <a:pt x="6538" y="16843"/>
                    <a:pt x="6538" y="16843"/>
                    <a:pt x="6538" y="16843"/>
                  </a:cubicBezTo>
                  <a:cubicBezTo>
                    <a:pt x="6537" y="16942"/>
                    <a:pt x="6536" y="17041"/>
                    <a:pt x="6535" y="17142"/>
                  </a:cubicBezTo>
                  <a:cubicBezTo>
                    <a:pt x="6532" y="17543"/>
                    <a:pt x="6529" y="17948"/>
                    <a:pt x="6526" y="18358"/>
                  </a:cubicBezTo>
                  <a:cubicBezTo>
                    <a:pt x="6516" y="19980"/>
                    <a:pt x="6506" y="21661"/>
                    <a:pt x="6496" y="23363"/>
                  </a:cubicBezTo>
                  <a:cubicBezTo>
                    <a:pt x="6495" y="23550"/>
                    <a:pt x="6495" y="23550"/>
                    <a:pt x="6495" y="23550"/>
                  </a:cubicBezTo>
                  <a:cubicBezTo>
                    <a:pt x="6494" y="23614"/>
                    <a:pt x="6492" y="23677"/>
                    <a:pt x="6471" y="23736"/>
                  </a:cubicBezTo>
                  <a:cubicBezTo>
                    <a:pt x="6452" y="23796"/>
                    <a:pt x="6407" y="23846"/>
                    <a:pt x="6349" y="23873"/>
                  </a:cubicBezTo>
                  <a:cubicBezTo>
                    <a:pt x="6292" y="23897"/>
                    <a:pt x="6228" y="23906"/>
                    <a:pt x="6166" y="23915"/>
                  </a:cubicBezTo>
                  <a:cubicBezTo>
                    <a:pt x="6104" y="23924"/>
                    <a:pt x="6041" y="23927"/>
                    <a:pt x="5979" y="23933"/>
                  </a:cubicBezTo>
                  <a:cubicBezTo>
                    <a:pt x="5885" y="23938"/>
                    <a:pt x="5885" y="23938"/>
                    <a:pt x="5885" y="23938"/>
                  </a:cubicBezTo>
                  <a:cubicBezTo>
                    <a:pt x="5730" y="23945"/>
                    <a:pt x="5730" y="23945"/>
                    <a:pt x="5730" y="23945"/>
                  </a:cubicBezTo>
                  <a:cubicBezTo>
                    <a:pt x="5521" y="23954"/>
                    <a:pt x="5309" y="23958"/>
                    <a:pt x="5096" y="23960"/>
                  </a:cubicBezTo>
                  <a:cubicBezTo>
                    <a:pt x="4774" y="23960"/>
                    <a:pt x="4774" y="23960"/>
                    <a:pt x="4774" y="23960"/>
                  </a:cubicBezTo>
                  <a:cubicBezTo>
                    <a:pt x="4615" y="23960"/>
                    <a:pt x="4615" y="23960"/>
                    <a:pt x="4615" y="23960"/>
                  </a:cubicBezTo>
                  <a:cubicBezTo>
                    <a:pt x="4567" y="23960"/>
                    <a:pt x="4520" y="23958"/>
                    <a:pt x="4472" y="23956"/>
                  </a:cubicBezTo>
                  <a:cubicBezTo>
                    <a:pt x="4282" y="23945"/>
                    <a:pt x="4091" y="23920"/>
                    <a:pt x="3901" y="23879"/>
                  </a:cubicBezTo>
                  <a:cubicBezTo>
                    <a:pt x="3522" y="23799"/>
                    <a:pt x="3148" y="23664"/>
                    <a:pt x="2799" y="23486"/>
                  </a:cubicBezTo>
                  <a:cubicBezTo>
                    <a:pt x="2104" y="23129"/>
                    <a:pt x="1490" y="22589"/>
                    <a:pt x="1146" y="21942"/>
                  </a:cubicBezTo>
                  <a:cubicBezTo>
                    <a:pt x="975" y="21621"/>
                    <a:pt x="876" y="21277"/>
                    <a:pt x="869" y="20931"/>
                  </a:cubicBezTo>
                  <a:cubicBezTo>
                    <a:pt x="865" y="20510"/>
                    <a:pt x="862" y="20094"/>
                    <a:pt x="859" y="19679"/>
                  </a:cubicBezTo>
                  <a:cubicBezTo>
                    <a:pt x="843" y="16677"/>
                    <a:pt x="827" y="13590"/>
                    <a:pt x="810" y="10472"/>
                  </a:cubicBezTo>
                  <a:cubicBezTo>
                    <a:pt x="801" y="7400"/>
                    <a:pt x="784" y="1744"/>
                    <a:pt x="784" y="1219"/>
                  </a:cubicBezTo>
                  <a:cubicBezTo>
                    <a:pt x="784" y="1042"/>
                    <a:pt x="826" y="889"/>
                    <a:pt x="893" y="826"/>
                  </a:cubicBezTo>
                  <a:cubicBezTo>
                    <a:pt x="963" y="760"/>
                    <a:pt x="1171" y="729"/>
                    <a:pt x="1271" y="729"/>
                  </a:cubicBezTo>
                  <a:cubicBezTo>
                    <a:pt x="1424" y="729"/>
                    <a:pt x="3653" y="724"/>
                    <a:pt x="4833" y="721"/>
                  </a:cubicBezTo>
                  <a:cubicBezTo>
                    <a:pt x="5295" y="720"/>
                    <a:pt x="5295" y="720"/>
                    <a:pt x="5295" y="720"/>
                  </a:cubicBezTo>
                  <a:cubicBezTo>
                    <a:pt x="5448" y="720"/>
                    <a:pt x="5605" y="716"/>
                    <a:pt x="5743" y="723"/>
                  </a:cubicBezTo>
                  <a:cubicBezTo>
                    <a:pt x="6032" y="736"/>
                    <a:pt x="6320" y="770"/>
                    <a:pt x="6604" y="823"/>
                  </a:cubicBezTo>
                  <a:cubicBezTo>
                    <a:pt x="7171" y="930"/>
                    <a:pt x="7719" y="1119"/>
                    <a:pt x="8228" y="1382"/>
                  </a:cubicBezTo>
                  <a:cubicBezTo>
                    <a:pt x="8737" y="1644"/>
                    <a:pt x="9203" y="1975"/>
                    <a:pt x="9619" y="2367"/>
                  </a:cubicBezTo>
                  <a:cubicBezTo>
                    <a:pt x="10057" y="2776"/>
                    <a:pt x="10493" y="3183"/>
                    <a:pt x="10925" y="3587"/>
                  </a:cubicBezTo>
                  <a:cubicBezTo>
                    <a:pt x="11791" y="4393"/>
                    <a:pt x="12646" y="5189"/>
                    <a:pt x="13487" y="5972"/>
                  </a:cubicBezTo>
                  <a:cubicBezTo>
                    <a:pt x="13843" y="6302"/>
                    <a:pt x="14186" y="6620"/>
                    <a:pt x="14516" y="6926"/>
                  </a:cubicBezTo>
                  <a:cubicBezTo>
                    <a:pt x="14681" y="7078"/>
                    <a:pt x="14843" y="7227"/>
                    <a:pt x="15000" y="7373"/>
                  </a:cubicBezTo>
                  <a:cubicBezTo>
                    <a:pt x="15040" y="7409"/>
                    <a:pt x="15079" y="7445"/>
                    <a:pt x="15118" y="7482"/>
                  </a:cubicBezTo>
                  <a:cubicBezTo>
                    <a:pt x="15171" y="7529"/>
                    <a:pt x="15171" y="7529"/>
                    <a:pt x="15171" y="7529"/>
                  </a:cubicBezTo>
                  <a:cubicBezTo>
                    <a:pt x="15228" y="7584"/>
                    <a:pt x="15228" y="7584"/>
                    <a:pt x="15228" y="7584"/>
                  </a:cubicBezTo>
                  <a:cubicBezTo>
                    <a:pt x="15305" y="7659"/>
                    <a:pt x="15381" y="7731"/>
                    <a:pt x="15458" y="7802"/>
                  </a:cubicBezTo>
                  <a:cubicBezTo>
                    <a:pt x="16071" y="8367"/>
                    <a:pt x="16670" y="8810"/>
                    <a:pt x="17201" y="9156"/>
                  </a:cubicBezTo>
                  <a:cubicBezTo>
                    <a:pt x="17732" y="9501"/>
                    <a:pt x="18195" y="9748"/>
                    <a:pt x="18552" y="9919"/>
                  </a:cubicBezTo>
                  <a:cubicBezTo>
                    <a:pt x="18909" y="10091"/>
                    <a:pt x="19159" y="10190"/>
                    <a:pt x="19276" y="10228"/>
                  </a:cubicBezTo>
                  <a:cubicBezTo>
                    <a:pt x="19727" y="10410"/>
                    <a:pt x="20068" y="10518"/>
                    <a:pt x="20309" y="10584"/>
                  </a:cubicBezTo>
                  <a:cubicBezTo>
                    <a:pt x="20549" y="10648"/>
                    <a:pt x="20681" y="10667"/>
                    <a:pt x="20704" y="10652"/>
                  </a:cubicBezTo>
                  <a:cubicBezTo>
                    <a:pt x="20728" y="10635"/>
                    <a:pt x="20641" y="10584"/>
                    <a:pt x="20445" y="10489"/>
                  </a:cubicBezTo>
                  <a:cubicBezTo>
                    <a:pt x="20247" y="10392"/>
                    <a:pt x="19988" y="10273"/>
                    <a:pt x="19526" y="10044"/>
                  </a:cubicBezTo>
                  <a:cubicBezTo>
                    <a:pt x="18945" y="9752"/>
                    <a:pt x="18115" y="9307"/>
                    <a:pt x="17174" y="8604"/>
                  </a:cubicBezTo>
                  <a:cubicBezTo>
                    <a:pt x="16703" y="8251"/>
                    <a:pt x="16207" y="7835"/>
                    <a:pt x="15710" y="7341"/>
                  </a:cubicBezTo>
                  <a:cubicBezTo>
                    <a:pt x="15647" y="7278"/>
                    <a:pt x="15583" y="7214"/>
                    <a:pt x="15519" y="7149"/>
                  </a:cubicBezTo>
                  <a:cubicBezTo>
                    <a:pt x="15453" y="7086"/>
                    <a:pt x="15388" y="7022"/>
                    <a:pt x="15321" y="6958"/>
                  </a:cubicBezTo>
                  <a:cubicBezTo>
                    <a:pt x="15188" y="6829"/>
                    <a:pt x="15053" y="6698"/>
                    <a:pt x="14916" y="6565"/>
                  </a:cubicBezTo>
                  <a:cubicBezTo>
                    <a:pt x="14640" y="6299"/>
                    <a:pt x="14355" y="6024"/>
                    <a:pt x="14062" y="5741"/>
                  </a:cubicBezTo>
                  <a:cubicBezTo>
                    <a:pt x="12879" y="4606"/>
                    <a:pt x="11557" y="3337"/>
                    <a:pt x="10126" y="1964"/>
                  </a:cubicBezTo>
                  <a:cubicBezTo>
                    <a:pt x="9948" y="1791"/>
                    <a:pt x="9748" y="1609"/>
                    <a:pt x="9540" y="1447"/>
                  </a:cubicBezTo>
                  <a:cubicBezTo>
                    <a:pt x="9332" y="1283"/>
                    <a:pt x="9112" y="1130"/>
                    <a:pt x="8881" y="990"/>
                  </a:cubicBezTo>
                  <a:cubicBezTo>
                    <a:pt x="8419" y="709"/>
                    <a:pt x="7914" y="480"/>
                    <a:pt x="7379" y="317"/>
                  </a:cubicBezTo>
                  <a:cubicBezTo>
                    <a:pt x="6844" y="152"/>
                    <a:pt x="6278" y="55"/>
                    <a:pt x="5702" y="30"/>
                  </a:cubicBezTo>
                  <a:cubicBezTo>
                    <a:pt x="5592" y="28"/>
                    <a:pt x="5592" y="28"/>
                    <a:pt x="5592" y="28"/>
                  </a:cubicBezTo>
                  <a:cubicBezTo>
                    <a:pt x="5488" y="27"/>
                    <a:pt x="5488" y="27"/>
                    <a:pt x="5488" y="27"/>
                  </a:cubicBezTo>
                  <a:cubicBezTo>
                    <a:pt x="5281" y="25"/>
                    <a:pt x="5281" y="25"/>
                    <a:pt x="5281" y="25"/>
                  </a:cubicBezTo>
                  <a:cubicBezTo>
                    <a:pt x="5143" y="24"/>
                    <a:pt x="5004" y="23"/>
                    <a:pt x="4865" y="22"/>
                  </a:cubicBezTo>
                  <a:cubicBezTo>
                    <a:pt x="4587" y="20"/>
                    <a:pt x="4306" y="19"/>
                    <a:pt x="4025" y="17"/>
                  </a:cubicBezTo>
                  <a:cubicBezTo>
                    <a:pt x="3027" y="11"/>
                    <a:pt x="1835" y="0"/>
                    <a:pt x="969" y="0"/>
                  </a:cubicBezTo>
                  <a:cubicBezTo>
                    <a:pt x="474" y="0"/>
                    <a:pt x="47" y="259"/>
                    <a:pt x="47" y="915"/>
                  </a:cubicBezTo>
                  <a:cubicBezTo>
                    <a:pt x="47" y="1282"/>
                    <a:pt x="42" y="2101"/>
                    <a:pt x="39" y="2693"/>
                  </a:cubicBezTo>
                  <a:cubicBezTo>
                    <a:pt x="12" y="7527"/>
                    <a:pt x="0" y="12582"/>
                    <a:pt x="2" y="17555"/>
                  </a:cubicBezTo>
                  <a:cubicBezTo>
                    <a:pt x="3" y="18177"/>
                    <a:pt x="3" y="18796"/>
                    <a:pt x="4" y="19416"/>
                  </a:cubicBezTo>
                  <a:cubicBezTo>
                    <a:pt x="5" y="19724"/>
                    <a:pt x="5" y="20033"/>
                    <a:pt x="5" y="20341"/>
                  </a:cubicBezTo>
                  <a:cubicBezTo>
                    <a:pt x="6" y="20803"/>
                    <a:pt x="6" y="20803"/>
                    <a:pt x="6" y="20803"/>
                  </a:cubicBezTo>
                  <a:cubicBezTo>
                    <a:pt x="6" y="20923"/>
                    <a:pt x="6" y="20923"/>
                    <a:pt x="6" y="20923"/>
                  </a:cubicBezTo>
                  <a:cubicBezTo>
                    <a:pt x="7" y="20967"/>
                    <a:pt x="8" y="21012"/>
                    <a:pt x="12" y="21057"/>
                  </a:cubicBezTo>
                  <a:cubicBezTo>
                    <a:pt x="16" y="21145"/>
                    <a:pt x="26" y="21233"/>
                    <a:pt x="38" y="21322"/>
                  </a:cubicBezTo>
                  <a:cubicBezTo>
                    <a:pt x="91" y="21673"/>
                    <a:pt x="206" y="22009"/>
                    <a:pt x="364" y="22315"/>
                  </a:cubicBezTo>
                  <a:cubicBezTo>
                    <a:pt x="521" y="22622"/>
                    <a:pt x="721" y="22900"/>
                    <a:pt x="944" y="23148"/>
                  </a:cubicBezTo>
                  <a:cubicBezTo>
                    <a:pt x="1393" y="23644"/>
                    <a:pt x="1935" y="24028"/>
                    <a:pt x="2519" y="24311"/>
                  </a:cubicBezTo>
                  <a:cubicBezTo>
                    <a:pt x="3103" y="24591"/>
                    <a:pt x="3734" y="24773"/>
                    <a:pt x="4388" y="24811"/>
                  </a:cubicBezTo>
                  <a:cubicBezTo>
                    <a:pt x="4469" y="24816"/>
                    <a:pt x="4551" y="24816"/>
                    <a:pt x="4633" y="24816"/>
                  </a:cubicBezTo>
                  <a:cubicBezTo>
                    <a:pt x="4856" y="24816"/>
                    <a:pt x="4856" y="24816"/>
                    <a:pt x="4856" y="24816"/>
                  </a:cubicBezTo>
                  <a:cubicBezTo>
                    <a:pt x="5006" y="24814"/>
                    <a:pt x="5156" y="24813"/>
                    <a:pt x="5305" y="24811"/>
                  </a:cubicBezTo>
                  <a:cubicBezTo>
                    <a:pt x="5455" y="24807"/>
                    <a:pt x="5605" y="24804"/>
                    <a:pt x="5756" y="24796"/>
                  </a:cubicBezTo>
                  <a:cubicBezTo>
                    <a:pt x="5998" y="24782"/>
                    <a:pt x="5998" y="24782"/>
                    <a:pt x="5998" y="24782"/>
                  </a:cubicBezTo>
                  <a:cubicBezTo>
                    <a:pt x="6096" y="24777"/>
                    <a:pt x="6194" y="24768"/>
                    <a:pt x="6291" y="24757"/>
                  </a:cubicBezTo>
                  <a:cubicBezTo>
                    <a:pt x="6485" y="24735"/>
                    <a:pt x="6675" y="24703"/>
                    <a:pt x="6843" y="24634"/>
                  </a:cubicBezTo>
                  <a:cubicBezTo>
                    <a:pt x="7012" y="24575"/>
                    <a:pt x="7164" y="24436"/>
                    <a:pt x="7234" y="24266"/>
                  </a:cubicBezTo>
                  <a:cubicBezTo>
                    <a:pt x="7306" y="24099"/>
                    <a:pt x="7327" y="23918"/>
                    <a:pt x="7327" y="23725"/>
                  </a:cubicBezTo>
                  <a:cubicBezTo>
                    <a:pt x="7330" y="23437"/>
                    <a:pt x="7330" y="23437"/>
                    <a:pt x="7330" y="23437"/>
                  </a:cubicBezTo>
                  <a:cubicBezTo>
                    <a:pt x="7331" y="23294"/>
                    <a:pt x="7331" y="23294"/>
                    <a:pt x="7331" y="23294"/>
                  </a:cubicBezTo>
                  <a:cubicBezTo>
                    <a:pt x="7330" y="23186"/>
                    <a:pt x="7330" y="23186"/>
                    <a:pt x="7330" y="23186"/>
                  </a:cubicBezTo>
                  <a:cubicBezTo>
                    <a:pt x="7327" y="22611"/>
                    <a:pt x="7324" y="22041"/>
                    <a:pt x="7321" y="21479"/>
                  </a:cubicBezTo>
                  <a:cubicBezTo>
                    <a:pt x="7313" y="20354"/>
                    <a:pt x="7306" y="19250"/>
                    <a:pt x="7299" y="18175"/>
                  </a:cubicBezTo>
                  <a:cubicBezTo>
                    <a:pt x="7295" y="17642"/>
                    <a:pt x="7291" y="17114"/>
                    <a:pt x="7287" y="16594"/>
                  </a:cubicBezTo>
                  <a:cubicBezTo>
                    <a:pt x="7293" y="16122"/>
                    <a:pt x="7411" y="15660"/>
                    <a:pt x="7621" y="15253"/>
                  </a:cubicBezTo>
                  <a:cubicBezTo>
                    <a:pt x="7829" y="14842"/>
                    <a:pt x="8128" y="14486"/>
                    <a:pt x="8479" y="14214"/>
                  </a:cubicBezTo>
                  <a:cubicBezTo>
                    <a:pt x="8830" y="13938"/>
                    <a:pt x="9235" y="13747"/>
                    <a:pt x="9653" y="13652"/>
                  </a:cubicBezTo>
                  <a:cubicBezTo>
                    <a:pt x="9862" y="13603"/>
                    <a:pt x="10074" y="13579"/>
                    <a:pt x="10285" y="13576"/>
                  </a:cubicBezTo>
                  <a:cubicBezTo>
                    <a:pt x="10504" y="13574"/>
                    <a:pt x="10722" y="13585"/>
                    <a:pt x="10936" y="13607"/>
                  </a:cubicBezTo>
                  <a:cubicBezTo>
                    <a:pt x="11364" y="13652"/>
                    <a:pt x="11777" y="13744"/>
                    <a:pt x="12171" y="13872"/>
                  </a:cubicBezTo>
                  <a:cubicBezTo>
                    <a:pt x="12959" y="14129"/>
                    <a:pt x="13662" y="14521"/>
                    <a:pt x="14288" y="14941"/>
                  </a:cubicBezTo>
                  <a:cubicBezTo>
                    <a:pt x="14916" y="15365"/>
                    <a:pt x="15471" y="15817"/>
                    <a:pt x="15976" y="16248"/>
                  </a:cubicBezTo>
                  <a:cubicBezTo>
                    <a:pt x="16481" y="16683"/>
                    <a:pt x="16937" y="17097"/>
                    <a:pt x="17357" y="17469"/>
                  </a:cubicBezTo>
                  <a:cubicBezTo>
                    <a:pt x="17774" y="17842"/>
                    <a:pt x="18164" y="18167"/>
                    <a:pt x="18503" y="18446"/>
                  </a:cubicBezTo>
                  <a:cubicBezTo>
                    <a:pt x="19023" y="18881"/>
                    <a:pt x="19326" y="19126"/>
                    <a:pt x="19639" y="19376"/>
                  </a:cubicBezTo>
                  <a:cubicBezTo>
                    <a:pt x="20570" y="20123"/>
                    <a:pt x="20899" y="20301"/>
                    <a:pt x="20529" y="19887"/>
                  </a:cubicBezTo>
                  <a:cubicBezTo>
                    <a:pt x="20142" y="19515"/>
                    <a:pt x="19773" y="19160"/>
                    <a:pt x="19270" y="18677"/>
                  </a:cubicBezTo>
                  <a:close/>
                </a:path>
              </a:pathLst>
            </a:custGeom>
            <a:solidFill>
              <a:srgbClr val="FFC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4" name="Freeform 38"/>
            <p:cNvSpPr>
              <a:spLocks/>
            </p:cNvSpPr>
            <p:nvPr userDrawn="1"/>
          </p:nvSpPr>
          <p:spPr bwMode="auto">
            <a:xfrm>
              <a:off x="-84872512" y="18689638"/>
              <a:ext cx="193840100" cy="97202625"/>
            </a:xfrm>
            <a:custGeom>
              <a:avLst/>
              <a:gdLst>
                <a:gd name="T0" fmla="*/ 51193 w 51688"/>
                <a:gd name="T1" fmla="*/ 12114 h 25918"/>
                <a:gd name="T2" fmla="*/ 50914 w 51688"/>
                <a:gd name="T3" fmla="*/ 20947 h 25918"/>
                <a:gd name="T4" fmla="*/ 50844 w 51688"/>
                <a:gd name="T5" fmla="*/ 23850 h 25918"/>
                <a:gd name="T6" fmla="*/ 50505 w 51688"/>
                <a:gd name="T7" fmla="*/ 24445 h 25918"/>
                <a:gd name="T8" fmla="*/ 48987 w 51688"/>
                <a:gd name="T9" fmla="*/ 24463 h 25918"/>
                <a:gd name="T10" fmla="*/ 45339 w 51688"/>
                <a:gd name="T11" fmla="*/ 21852 h 25918"/>
                <a:gd name="T12" fmla="*/ 45301 w 51688"/>
                <a:gd name="T13" fmla="*/ 21010 h 25918"/>
                <a:gd name="T14" fmla="*/ 45363 w 51688"/>
                <a:gd name="T15" fmla="*/ 17166 h 25918"/>
                <a:gd name="T16" fmla="*/ 43529 w 51688"/>
                <a:gd name="T17" fmla="*/ 13729 h 25918"/>
                <a:gd name="T18" fmla="*/ 37130 w 51688"/>
                <a:gd name="T19" fmla="*/ 14411 h 25918"/>
                <a:gd name="T20" fmla="*/ 30094 w 51688"/>
                <a:gd name="T21" fmla="*/ 20457 h 25918"/>
                <a:gd name="T22" fmla="*/ 23874 w 51688"/>
                <a:gd name="T23" fmla="*/ 21719 h 25918"/>
                <a:gd name="T24" fmla="*/ 17941 w 51688"/>
                <a:gd name="T25" fmla="*/ 16609 h 25918"/>
                <a:gd name="T26" fmla="*/ 10865 w 51688"/>
                <a:gd name="T27" fmla="*/ 12900 h 25918"/>
                <a:gd name="T28" fmla="*/ 6612 w 51688"/>
                <a:gd name="T29" fmla="*/ 16813 h 25918"/>
                <a:gd name="T30" fmla="*/ 6590 w 51688"/>
                <a:gd name="T31" fmla="*/ 20356 h 25918"/>
                <a:gd name="T32" fmla="*/ 6581 w 51688"/>
                <a:gd name="T33" fmla="*/ 23906 h 25918"/>
                <a:gd name="T34" fmla="*/ 6161 w 51688"/>
                <a:gd name="T35" fmla="*/ 23989 h 25918"/>
                <a:gd name="T36" fmla="*/ 4007 w 51688"/>
                <a:gd name="T37" fmla="*/ 23765 h 25918"/>
                <a:gd name="T38" fmla="*/ 1918 w 51688"/>
                <a:gd name="T39" fmla="*/ 21416 h 25918"/>
                <a:gd name="T40" fmla="*/ 1924 w 51688"/>
                <a:gd name="T41" fmla="*/ 17736 h 25918"/>
                <a:gd name="T42" fmla="*/ 5415 w 51688"/>
                <a:gd name="T43" fmla="*/ 1838 h 25918"/>
                <a:gd name="T44" fmla="*/ 8570 w 51688"/>
                <a:gd name="T45" fmla="*/ 2470 h 25918"/>
                <a:gd name="T46" fmla="*/ 10305 w 51688"/>
                <a:gd name="T47" fmla="*/ 3841 h 25918"/>
                <a:gd name="T48" fmla="*/ 15418 w 51688"/>
                <a:gd name="T49" fmla="*/ 8605 h 25918"/>
                <a:gd name="T50" fmla="*/ 18027 w 51688"/>
                <a:gd name="T51" fmla="*/ 10592 h 25918"/>
                <a:gd name="T52" fmla="*/ 31601 w 51688"/>
                <a:gd name="T53" fmla="*/ 11637 h 25918"/>
                <a:gd name="T54" fmla="*/ 37074 w 51688"/>
                <a:gd name="T55" fmla="*/ 7875 h 25918"/>
                <a:gd name="T56" fmla="*/ 43442 w 51688"/>
                <a:gd name="T57" fmla="*/ 1444 h 25918"/>
                <a:gd name="T58" fmla="*/ 44433 w 51688"/>
                <a:gd name="T59" fmla="*/ 867 h 25918"/>
                <a:gd name="T60" fmla="*/ 41873 w 51688"/>
                <a:gd name="T61" fmla="*/ 2007 h 25918"/>
                <a:gd name="T62" fmla="*/ 34512 w 51688"/>
                <a:gd name="T63" fmla="*/ 8591 h 25918"/>
                <a:gd name="T64" fmla="*/ 18064 w 51688"/>
                <a:gd name="T65" fmla="*/ 8699 h 25918"/>
                <a:gd name="T66" fmla="*/ 16455 w 51688"/>
                <a:gd name="T67" fmla="*/ 7314 h 25918"/>
                <a:gd name="T68" fmla="*/ 11277 w 51688"/>
                <a:gd name="T69" fmla="*/ 2358 h 25918"/>
                <a:gd name="T70" fmla="*/ 9968 w 51688"/>
                <a:gd name="T71" fmla="*/ 1251 h 25918"/>
                <a:gd name="T72" fmla="*/ 6274 w 51688"/>
                <a:gd name="T73" fmla="*/ 41 h 25918"/>
                <a:gd name="T74" fmla="*/ 1317 w 51688"/>
                <a:gd name="T75" fmla="*/ 0 h 25918"/>
                <a:gd name="T76" fmla="*/ 11 w 51688"/>
                <a:gd name="T77" fmla="*/ 17772 h 25918"/>
                <a:gd name="T78" fmla="*/ 0 w 51688"/>
                <a:gd name="T79" fmla="*/ 21416 h 25918"/>
                <a:gd name="T80" fmla="*/ 1005 w 51688"/>
                <a:gd name="T81" fmla="*/ 23958 h 25918"/>
                <a:gd name="T82" fmla="*/ 5092 w 51688"/>
                <a:gd name="T83" fmla="*/ 25916 h 25918"/>
                <a:gd name="T84" fmla="*/ 6511 w 51688"/>
                <a:gd name="T85" fmla="*/ 25895 h 25918"/>
                <a:gd name="T86" fmla="*/ 8198 w 51688"/>
                <a:gd name="T87" fmla="*/ 25276 h 25918"/>
                <a:gd name="T88" fmla="*/ 8502 w 51688"/>
                <a:gd name="T89" fmla="*/ 23762 h 25918"/>
                <a:gd name="T90" fmla="*/ 8557 w 51688"/>
                <a:gd name="T91" fmla="*/ 16688 h 25918"/>
                <a:gd name="T92" fmla="*/ 10853 w 51688"/>
                <a:gd name="T93" fmla="*/ 14797 h 25918"/>
                <a:gd name="T94" fmla="*/ 15826 w 51688"/>
                <a:gd name="T95" fmla="*/ 17211 h 25918"/>
                <a:gd name="T96" fmla="*/ 21145 w 51688"/>
                <a:gd name="T97" fmla="*/ 21991 h 25918"/>
                <a:gd name="T98" fmla="*/ 27122 w 51688"/>
                <a:gd name="T99" fmla="*/ 24126 h 25918"/>
                <a:gd name="T100" fmla="*/ 33687 w 51688"/>
                <a:gd name="T101" fmla="*/ 19580 h 25918"/>
                <a:gd name="T102" fmla="*/ 36635 w 51688"/>
                <a:gd name="T103" fmla="*/ 16860 h 25918"/>
                <a:gd name="T104" fmla="*/ 41719 w 51688"/>
                <a:gd name="T105" fmla="*/ 14653 h 25918"/>
                <a:gd name="T106" fmla="*/ 43934 w 51688"/>
                <a:gd name="T107" fmla="*/ 17121 h 25918"/>
                <a:gd name="T108" fmla="*/ 43997 w 51688"/>
                <a:gd name="T109" fmla="*/ 21110 h 25918"/>
                <a:gd name="T110" fmla="*/ 45236 w 51688"/>
                <a:gd name="T111" fmla="*/ 23985 h 25918"/>
                <a:gd name="T112" fmla="*/ 49854 w 51688"/>
                <a:gd name="T113" fmla="*/ 25433 h 25918"/>
                <a:gd name="T114" fmla="*/ 51257 w 51688"/>
                <a:gd name="T115" fmla="*/ 25177 h 25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688" h="25918">
                  <a:moveTo>
                    <a:pt x="51664" y="23906"/>
                  </a:moveTo>
                  <a:cubicBezTo>
                    <a:pt x="51635" y="23199"/>
                    <a:pt x="51608" y="22500"/>
                    <a:pt x="51578" y="21732"/>
                  </a:cubicBezTo>
                  <a:cubicBezTo>
                    <a:pt x="51484" y="19205"/>
                    <a:pt x="51403" y="14714"/>
                    <a:pt x="51323" y="12763"/>
                  </a:cubicBezTo>
                  <a:cubicBezTo>
                    <a:pt x="51279" y="11681"/>
                    <a:pt x="51235" y="11093"/>
                    <a:pt x="51193" y="12114"/>
                  </a:cubicBezTo>
                  <a:cubicBezTo>
                    <a:pt x="51175" y="12485"/>
                    <a:pt x="51163" y="12745"/>
                    <a:pt x="51144" y="13143"/>
                  </a:cubicBezTo>
                  <a:cubicBezTo>
                    <a:pt x="51083" y="14231"/>
                    <a:pt x="51046" y="17121"/>
                    <a:pt x="50983" y="18591"/>
                  </a:cubicBezTo>
                  <a:cubicBezTo>
                    <a:pt x="50979" y="18666"/>
                    <a:pt x="50977" y="18737"/>
                    <a:pt x="50975" y="18805"/>
                  </a:cubicBezTo>
                  <a:cubicBezTo>
                    <a:pt x="50955" y="19498"/>
                    <a:pt x="50936" y="20186"/>
                    <a:pt x="50914" y="20947"/>
                  </a:cubicBezTo>
                  <a:cubicBezTo>
                    <a:pt x="50910" y="21081"/>
                    <a:pt x="50907" y="21227"/>
                    <a:pt x="50903" y="21371"/>
                  </a:cubicBezTo>
                  <a:cubicBezTo>
                    <a:pt x="50891" y="21858"/>
                    <a:pt x="50880" y="22361"/>
                    <a:pt x="50867" y="22880"/>
                  </a:cubicBezTo>
                  <a:cubicBezTo>
                    <a:pt x="50860" y="23141"/>
                    <a:pt x="50854" y="23407"/>
                    <a:pt x="50847" y="23677"/>
                  </a:cubicBezTo>
                  <a:cubicBezTo>
                    <a:pt x="50846" y="23735"/>
                    <a:pt x="50845" y="23792"/>
                    <a:pt x="50844" y="23850"/>
                  </a:cubicBezTo>
                  <a:cubicBezTo>
                    <a:pt x="50842" y="23893"/>
                    <a:pt x="50840" y="23937"/>
                    <a:pt x="50838" y="23980"/>
                  </a:cubicBezTo>
                  <a:cubicBezTo>
                    <a:pt x="50835" y="24067"/>
                    <a:pt x="50836" y="24153"/>
                    <a:pt x="50817" y="24236"/>
                  </a:cubicBezTo>
                  <a:cubicBezTo>
                    <a:pt x="50800" y="24301"/>
                    <a:pt x="50763" y="24360"/>
                    <a:pt x="50703" y="24396"/>
                  </a:cubicBezTo>
                  <a:cubicBezTo>
                    <a:pt x="50644" y="24433"/>
                    <a:pt x="50571" y="24436"/>
                    <a:pt x="50505" y="24445"/>
                  </a:cubicBezTo>
                  <a:cubicBezTo>
                    <a:pt x="50435" y="24452"/>
                    <a:pt x="50366" y="24456"/>
                    <a:pt x="50297" y="24460"/>
                  </a:cubicBezTo>
                  <a:cubicBezTo>
                    <a:pt x="50213" y="24463"/>
                    <a:pt x="50126" y="24465"/>
                    <a:pt x="50040" y="24467"/>
                  </a:cubicBezTo>
                  <a:cubicBezTo>
                    <a:pt x="49814" y="24472"/>
                    <a:pt x="49582" y="24472"/>
                    <a:pt x="49345" y="24470"/>
                  </a:cubicBezTo>
                  <a:cubicBezTo>
                    <a:pt x="49226" y="24469"/>
                    <a:pt x="49107" y="24465"/>
                    <a:pt x="48987" y="24463"/>
                  </a:cubicBezTo>
                  <a:cubicBezTo>
                    <a:pt x="48880" y="24460"/>
                    <a:pt x="48772" y="24451"/>
                    <a:pt x="48662" y="24438"/>
                  </a:cubicBezTo>
                  <a:cubicBezTo>
                    <a:pt x="48222" y="24382"/>
                    <a:pt x="47767" y="24243"/>
                    <a:pt x="47328" y="24030"/>
                  </a:cubicBezTo>
                  <a:cubicBezTo>
                    <a:pt x="46890" y="23818"/>
                    <a:pt x="46466" y="23529"/>
                    <a:pt x="46109" y="23169"/>
                  </a:cubicBezTo>
                  <a:cubicBezTo>
                    <a:pt x="45741" y="22799"/>
                    <a:pt x="45445" y="22341"/>
                    <a:pt x="45339" y="21852"/>
                  </a:cubicBezTo>
                  <a:cubicBezTo>
                    <a:pt x="45312" y="21730"/>
                    <a:pt x="45297" y="21605"/>
                    <a:pt x="45295" y="21481"/>
                  </a:cubicBezTo>
                  <a:cubicBezTo>
                    <a:pt x="45294" y="21448"/>
                    <a:pt x="45295" y="21423"/>
                    <a:pt x="45295" y="21385"/>
                  </a:cubicBezTo>
                  <a:cubicBezTo>
                    <a:pt x="45297" y="21261"/>
                    <a:pt x="45297" y="21261"/>
                    <a:pt x="45297" y="21261"/>
                  </a:cubicBezTo>
                  <a:cubicBezTo>
                    <a:pt x="45298" y="21178"/>
                    <a:pt x="45299" y="21095"/>
                    <a:pt x="45301" y="21010"/>
                  </a:cubicBezTo>
                  <a:cubicBezTo>
                    <a:pt x="45307" y="20677"/>
                    <a:pt x="45313" y="20336"/>
                    <a:pt x="45319" y="19992"/>
                  </a:cubicBezTo>
                  <a:cubicBezTo>
                    <a:pt x="45330" y="19301"/>
                    <a:pt x="45341" y="18589"/>
                    <a:pt x="45353" y="17859"/>
                  </a:cubicBezTo>
                  <a:cubicBezTo>
                    <a:pt x="45355" y="17675"/>
                    <a:pt x="45359" y="17491"/>
                    <a:pt x="45361" y="17305"/>
                  </a:cubicBezTo>
                  <a:cubicBezTo>
                    <a:pt x="45363" y="17166"/>
                    <a:pt x="45363" y="17166"/>
                    <a:pt x="45363" y="17166"/>
                  </a:cubicBezTo>
                  <a:cubicBezTo>
                    <a:pt x="45364" y="17114"/>
                    <a:pt x="45364" y="17051"/>
                    <a:pt x="45361" y="16997"/>
                  </a:cubicBezTo>
                  <a:cubicBezTo>
                    <a:pt x="45359" y="16885"/>
                    <a:pt x="45351" y="16773"/>
                    <a:pt x="45337" y="16659"/>
                  </a:cubicBezTo>
                  <a:cubicBezTo>
                    <a:pt x="45286" y="16210"/>
                    <a:pt x="45157" y="15763"/>
                    <a:pt x="44951" y="15347"/>
                  </a:cubicBezTo>
                  <a:cubicBezTo>
                    <a:pt x="44641" y="14710"/>
                    <a:pt x="44153" y="14142"/>
                    <a:pt x="43529" y="13729"/>
                  </a:cubicBezTo>
                  <a:cubicBezTo>
                    <a:pt x="43217" y="13524"/>
                    <a:pt x="42870" y="13356"/>
                    <a:pt x="42500" y="13244"/>
                  </a:cubicBezTo>
                  <a:cubicBezTo>
                    <a:pt x="42132" y="13129"/>
                    <a:pt x="41736" y="13070"/>
                    <a:pt x="41345" y="13070"/>
                  </a:cubicBezTo>
                  <a:cubicBezTo>
                    <a:pt x="40618" y="13064"/>
                    <a:pt x="39871" y="13185"/>
                    <a:pt x="39158" y="13423"/>
                  </a:cubicBezTo>
                  <a:cubicBezTo>
                    <a:pt x="38444" y="13659"/>
                    <a:pt x="37766" y="14004"/>
                    <a:pt x="37130" y="14411"/>
                  </a:cubicBezTo>
                  <a:cubicBezTo>
                    <a:pt x="35856" y="15224"/>
                    <a:pt x="34747" y="16279"/>
                    <a:pt x="33632" y="17309"/>
                  </a:cubicBezTo>
                  <a:cubicBezTo>
                    <a:pt x="33352" y="17568"/>
                    <a:pt x="33076" y="17819"/>
                    <a:pt x="32788" y="18071"/>
                  </a:cubicBezTo>
                  <a:cubicBezTo>
                    <a:pt x="32489" y="18331"/>
                    <a:pt x="32193" y="18598"/>
                    <a:pt x="31896" y="18865"/>
                  </a:cubicBezTo>
                  <a:cubicBezTo>
                    <a:pt x="31302" y="19398"/>
                    <a:pt x="30707" y="19941"/>
                    <a:pt x="30094" y="20457"/>
                  </a:cubicBezTo>
                  <a:cubicBezTo>
                    <a:pt x="29605" y="20868"/>
                    <a:pt x="29109" y="21256"/>
                    <a:pt x="28599" y="21580"/>
                  </a:cubicBezTo>
                  <a:cubicBezTo>
                    <a:pt x="28089" y="21905"/>
                    <a:pt x="27564" y="22164"/>
                    <a:pt x="27036" y="22305"/>
                  </a:cubicBezTo>
                  <a:cubicBezTo>
                    <a:pt x="26508" y="22447"/>
                    <a:pt x="25974" y="22467"/>
                    <a:pt x="25446" y="22361"/>
                  </a:cubicBezTo>
                  <a:cubicBezTo>
                    <a:pt x="24916" y="22256"/>
                    <a:pt x="24388" y="22025"/>
                    <a:pt x="23874" y="21719"/>
                  </a:cubicBezTo>
                  <a:cubicBezTo>
                    <a:pt x="23359" y="21411"/>
                    <a:pt x="22857" y="21030"/>
                    <a:pt x="22363" y="20619"/>
                  </a:cubicBezTo>
                  <a:cubicBezTo>
                    <a:pt x="21869" y="20210"/>
                    <a:pt x="21381" y="19768"/>
                    <a:pt x="20890" y="19319"/>
                  </a:cubicBezTo>
                  <a:cubicBezTo>
                    <a:pt x="20399" y="18872"/>
                    <a:pt x="19902" y="18412"/>
                    <a:pt x="19394" y="17963"/>
                  </a:cubicBezTo>
                  <a:cubicBezTo>
                    <a:pt x="18914" y="17534"/>
                    <a:pt x="18435" y="17072"/>
                    <a:pt x="17941" y="16609"/>
                  </a:cubicBezTo>
                  <a:cubicBezTo>
                    <a:pt x="16954" y="15686"/>
                    <a:pt x="15906" y="14737"/>
                    <a:pt x="14638" y="13998"/>
                  </a:cubicBezTo>
                  <a:cubicBezTo>
                    <a:pt x="14005" y="13632"/>
                    <a:pt x="13313" y="13322"/>
                    <a:pt x="12574" y="13129"/>
                  </a:cubicBezTo>
                  <a:cubicBezTo>
                    <a:pt x="12205" y="13032"/>
                    <a:pt x="11825" y="12963"/>
                    <a:pt x="11442" y="12929"/>
                  </a:cubicBezTo>
                  <a:cubicBezTo>
                    <a:pt x="11250" y="12911"/>
                    <a:pt x="11058" y="12900"/>
                    <a:pt x="10865" y="12900"/>
                  </a:cubicBezTo>
                  <a:cubicBezTo>
                    <a:pt x="10658" y="12898"/>
                    <a:pt x="10440" y="12913"/>
                    <a:pt x="10229" y="12943"/>
                  </a:cubicBezTo>
                  <a:cubicBezTo>
                    <a:pt x="9381" y="13066"/>
                    <a:pt x="8585" y="13459"/>
                    <a:pt x="7970" y="14036"/>
                  </a:cubicBezTo>
                  <a:cubicBezTo>
                    <a:pt x="7353" y="14608"/>
                    <a:pt x="6907" y="15365"/>
                    <a:pt x="6712" y="16189"/>
                  </a:cubicBezTo>
                  <a:cubicBezTo>
                    <a:pt x="6663" y="16394"/>
                    <a:pt x="6630" y="16604"/>
                    <a:pt x="6612" y="16813"/>
                  </a:cubicBezTo>
                  <a:cubicBezTo>
                    <a:pt x="6603" y="16919"/>
                    <a:pt x="6597" y="17024"/>
                    <a:pt x="6597" y="17130"/>
                  </a:cubicBezTo>
                  <a:cubicBezTo>
                    <a:pt x="6596" y="17386"/>
                    <a:pt x="6596" y="17386"/>
                    <a:pt x="6596" y="17386"/>
                  </a:cubicBezTo>
                  <a:cubicBezTo>
                    <a:pt x="6594" y="17718"/>
                    <a:pt x="6594" y="18048"/>
                    <a:pt x="6594" y="18378"/>
                  </a:cubicBezTo>
                  <a:cubicBezTo>
                    <a:pt x="6592" y="19038"/>
                    <a:pt x="6591" y="19698"/>
                    <a:pt x="6590" y="20356"/>
                  </a:cubicBezTo>
                  <a:cubicBezTo>
                    <a:pt x="6587" y="22400"/>
                    <a:pt x="6587" y="22400"/>
                    <a:pt x="6587" y="22400"/>
                  </a:cubicBezTo>
                  <a:cubicBezTo>
                    <a:pt x="6585" y="23423"/>
                    <a:pt x="6585" y="23423"/>
                    <a:pt x="6585" y="23423"/>
                  </a:cubicBezTo>
                  <a:cubicBezTo>
                    <a:pt x="6584" y="23823"/>
                    <a:pt x="6584" y="23823"/>
                    <a:pt x="6584" y="23823"/>
                  </a:cubicBezTo>
                  <a:cubicBezTo>
                    <a:pt x="6583" y="23852"/>
                    <a:pt x="6585" y="23879"/>
                    <a:pt x="6581" y="23906"/>
                  </a:cubicBezTo>
                  <a:cubicBezTo>
                    <a:pt x="6578" y="23933"/>
                    <a:pt x="6560" y="23958"/>
                    <a:pt x="6533" y="23966"/>
                  </a:cubicBezTo>
                  <a:cubicBezTo>
                    <a:pt x="6507" y="23971"/>
                    <a:pt x="6479" y="23975"/>
                    <a:pt x="6452" y="23976"/>
                  </a:cubicBezTo>
                  <a:cubicBezTo>
                    <a:pt x="6398" y="23980"/>
                    <a:pt x="6398" y="23980"/>
                    <a:pt x="6398" y="23980"/>
                  </a:cubicBezTo>
                  <a:cubicBezTo>
                    <a:pt x="6161" y="23989"/>
                    <a:pt x="6161" y="23989"/>
                    <a:pt x="6161" y="23989"/>
                  </a:cubicBezTo>
                  <a:cubicBezTo>
                    <a:pt x="6002" y="23994"/>
                    <a:pt x="5839" y="23998"/>
                    <a:pt x="5674" y="23998"/>
                  </a:cubicBezTo>
                  <a:cubicBezTo>
                    <a:pt x="5178" y="23998"/>
                    <a:pt x="5178" y="23998"/>
                    <a:pt x="5178" y="23998"/>
                  </a:cubicBezTo>
                  <a:cubicBezTo>
                    <a:pt x="5051" y="23998"/>
                    <a:pt x="4922" y="23987"/>
                    <a:pt x="4791" y="23969"/>
                  </a:cubicBezTo>
                  <a:cubicBezTo>
                    <a:pt x="4530" y="23933"/>
                    <a:pt x="4264" y="23863"/>
                    <a:pt x="4007" y="23765"/>
                  </a:cubicBezTo>
                  <a:cubicBezTo>
                    <a:pt x="3492" y="23572"/>
                    <a:pt x="3005" y="23268"/>
                    <a:pt x="2631" y="22893"/>
                  </a:cubicBezTo>
                  <a:cubicBezTo>
                    <a:pt x="2256" y="22519"/>
                    <a:pt x="2002" y="22078"/>
                    <a:pt x="1938" y="21654"/>
                  </a:cubicBezTo>
                  <a:cubicBezTo>
                    <a:pt x="1929" y="21602"/>
                    <a:pt x="1923" y="21548"/>
                    <a:pt x="1920" y="21495"/>
                  </a:cubicBezTo>
                  <a:cubicBezTo>
                    <a:pt x="1919" y="21468"/>
                    <a:pt x="1918" y="21441"/>
                    <a:pt x="1918" y="21416"/>
                  </a:cubicBezTo>
                  <a:cubicBezTo>
                    <a:pt x="1917" y="21299"/>
                    <a:pt x="1917" y="21299"/>
                    <a:pt x="1917" y="21299"/>
                  </a:cubicBezTo>
                  <a:cubicBezTo>
                    <a:pt x="1919" y="20789"/>
                    <a:pt x="1919" y="20789"/>
                    <a:pt x="1919" y="20789"/>
                  </a:cubicBezTo>
                  <a:cubicBezTo>
                    <a:pt x="1920" y="19772"/>
                    <a:pt x="1920" y="19772"/>
                    <a:pt x="1920" y="19772"/>
                  </a:cubicBezTo>
                  <a:cubicBezTo>
                    <a:pt x="1922" y="19092"/>
                    <a:pt x="1923" y="18412"/>
                    <a:pt x="1924" y="17736"/>
                  </a:cubicBezTo>
                  <a:cubicBezTo>
                    <a:pt x="1930" y="12447"/>
                    <a:pt x="1943" y="2086"/>
                    <a:pt x="1943" y="1975"/>
                  </a:cubicBezTo>
                  <a:cubicBezTo>
                    <a:pt x="1943" y="1864"/>
                    <a:pt x="2000" y="1839"/>
                    <a:pt x="2090" y="1839"/>
                  </a:cubicBezTo>
                  <a:cubicBezTo>
                    <a:pt x="2180" y="1839"/>
                    <a:pt x="3474" y="1839"/>
                    <a:pt x="4171" y="1838"/>
                  </a:cubicBezTo>
                  <a:cubicBezTo>
                    <a:pt x="4586" y="1838"/>
                    <a:pt x="5001" y="1838"/>
                    <a:pt x="5415" y="1838"/>
                  </a:cubicBezTo>
                  <a:cubicBezTo>
                    <a:pt x="6036" y="1837"/>
                    <a:pt x="6036" y="1837"/>
                    <a:pt x="6036" y="1837"/>
                  </a:cubicBezTo>
                  <a:cubicBezTo>
                    <a:pt x="6152" y="1836"/>
                    <a:pt x="6213" y="1838"/>
                    <a:pt x="6307" y="1843"/>
                  </a:cubicBezTo>
                  <a:cubicBezTo>
                    <a:pt x="6395" y="1847"/>
                    <a:pt x="6483" y="1854"/>
                    <a:pt x="6571" y="1863"/>
                  </a:cubicBezTo>
                  <a:cubicBezTo>
                    <a:pt x="7271" y="1932"/>
                    <a:pt x="7952" y="2139"/>
                    <a:pt x="8570" y="2470"/>
                  </a:cubicBezTo>
                  <a:cubicBezTo>
                    <a:pt x="8879" y="2635"/>
                    <a:pt x="9171" y="2831"/>
                    <a:pt x="9442" y="3052"/>
                  </a:cubicBezTo>
                  <a:cubicBezTo>
                    <a:pt x="9510" y="3106"/>
                    <a:pt x="9579" y="3165"/>
                    <a:pt x="9640" y="3220"/>
                  </a:cubicBezTo>
                  <a:cubicBezTo>
                    <a:pt x="9854" y="3419"/>
                    <a:pt x="9854" y="3419"/>
                    <a:pt x="9854" y="3419"/>
                  </a:cubicBezTo>
                  <a:cubicBezTo>
                    <a:pt x="10305" y="3841"/>
                    <a:pt x="10305" y="3841"/>
                    <a:pt x="10305" y="3841"/>
                  </a:cubicBezTo>
                  <a:cubicBezTo>
                    <a:pt x="11970" y="5399"/>
                    <a:pt x="13645" y="6958"/>
                    <a:pt x="15279" y="8472"/>
                  </a:cubicBezTo>
                  <a:cubicBezTo>
                    <a:pt x="15297" y="8489"/>
                    <a:pt x="15297" y="8489"/>
                    <a:pt x="15297" y="8489"/>
                  </a:cubicBezTo>
                  <a:cubicBezTo>
                    <a:pt x="15338" y="8528"/>
                    <a:pt x="15338" y="8528"/>
                    <a:pt x="15338" y="8528"/>
                  </a:cubicBezTo>
                  <a:cubicBezTo>
                    <a:pt x="15418" y="8605"/>
                    <a:pt x="15418" y="8605"/>
                    <a:pt x="15418" y="8605"/>
                  </a:cubicBezTo>
                  <a:cubicBezTo>
                    <a:pt x="15580" y="8758"/>
                    <a:pt x="15580" y="8758"/>
                    <a:pt x="15580" y="8758"/>
                  </a:cubicBezTo>
                  <a:cubicBezTo>
                    <a:pt x="15688" y="8859"/>
                    <a:pt x="15797" y="8959"/>
                    <a:pt x="15909" y="9055"/>
                  </a:cubicBezTo>
                  <a:cubicBezTo>
                    <a:pt x="16131" y="9250"/>
                    <a:pt x="16359" y="9436"/>
                    <a:pt x="16590" y="9615"/>
                  </a:cubicBezTo>
                  <a:cubicBezTo>
                    <a:pt x="17053" y="9974"/>
                    <a:pt x="17535" y="10299"/>
                    <a:pt x="18027" y="10592"/>
                  </a:cubicBezTo>
                  <a:cubicBezTo>
                    <a:pt x="19012" y="11180"/>
                    <a:pt x="20042" y="11634"/>
                    <a:pt x="21073" y="11966"/>
                  </a:cubicBezTo>
                  <a:cubicBezTo>
                    <a:pt x="22104" y="12297"/>
                    <a:pt x="23135" y="12505"/>
                    <a:pt x="24130" y="12613"/>
                  </a:cubicBezTo>
                  <a:cubicBezTo>
                    <a:pt x="25126" y="12720"/>
                    <a:pt x="26085" y="12731"/>
                    <a:pt x="26986" y="12667"/>
                  </a:cubicBezTo>
                  <a:cubicBezTo>
                    <a:pt x="28794" y="12547"/>
                    <a:pt x="30366" y="12128"/>
                    <a:pt x="31601" y="11637"/>
                  </a:cubicBezTo>
                  <a:cubicBezTo>
                    <a:pt x="32764" y="11180"/>
                    <a:pt x="33788" y="10609"/>
                    <a:pt x="34694" y="9965"/>
                  </a:cubicBezTo>
                  <a:cubicBezTo>
                    <a:pt x="35147" y="9644"/>
                    <a:pt x="35570" y="9301"/>
                    <a:pt x="35966" y="8944"/>
                  </a:cubicBezTo>
                  <a:cubicBezTo>
                    <a:pt x="36164" y="8767"/>
                    <a:pt x="36361" y="8576"/>
                    <a:pt x="36536" y="8402"/>
                  </a:cubicBezTo>
                  <a:cubicBezTo>
                    <a:pt x="36717" y="8227"/>
                    <a:pt x="36895" y="8051"/>
                    <a:pt x="37074" y="7875"/>
                  </a:cubicBezTo>
                  <a:cubicBezTo>
                    <a:pt x="39465" y="5534"/>
                    <a:pt x="41336" y="3664"/>
                    <a:pt x="42185" y="2767"/>
                  </a:cubicBezTo>
                  <a:cubicBezTo>
                    <a:pt x="42609" y="2330"/>
                    <a:pt x="42961" y="1961"/>
                    <a:pt x="43246" y="1655"/>
                  </a:cubicBezTo>
                  <a:cubicBezTo>
                    <a:pt x="43282" y="1615"/>
                    <a:pt x="43319" y="1576"/>
                    <a:pt x="43355" y="1537"/>
                  </a:cubicBezTo>
                  <a:cubicBezTo>
                    <a:pt x="43384" y="1506"/>
                    <a:pt x="43413" y="1474"/>
                    <a:pt x="43442" y="1444"/>
                  </a:cubicBezTo>
                  <a:cubicBezTo>
                    <a:pt x="43455" y="1429"/>
                    <a:pt x="43468" y="1415"/>
                    <a:pt x="43482" y="1400"/>
                  </a:cubicBezTo>
                  <a:cubicBezTo>
                    <a:pt x="43492" y="1388"/>
                    <a:pt x="43502" y="1377"/>
                    <a:pt x="43511" y="1366"/>
                  </a:cubicBezTo>
                  <a:cubicBezTo>
                    <a:pt x="43547" y="1323"/>
                    <a:pt x="43909" y="1105"/>
                    <a:pt x="43958" y="1079"/>
                  </a:cubicBezTo>
                  <a:cubicBezTo>
                    <a:pt x="43981" y="1066"/>
                    <a:pt x="44373" y="898"/>
                    <a:pt x="44433" y="867"/>
                  </a:cubicBezTo>
                  <a:cubicBezTo>
                    <a:pt x="44584" y="783"/>
                    <a:pt x="44236" y="653"/>
                    <a:pt x="43958" y="663"/>
                  </a:cubicBezTo>
                  <a:cubicBezTo>
                    <a:pt x="43680" y="672"/>
                    <a:pt x="43386" y="771"/>
                    <a:pt x="43286" y="836"/>
                  </a:cubicBezTo>
                  <a:cubicBezTo>
                    <a:pt x="43096" y="959"/>
                    <a:pt x="42853" y="1201"/>
                    <a:pt x="42699" y="1324"/>
                  </a:cubicBezTo>
                  <a:cubicBezTo>
                    <a:pt x="42464" y="1515"/>
                    <a:pt x="42189" y="1742"/>
                    <a:pt x="41873" y="2007"/>
                  </a:cubicBezTo>
                  <a:cubicBezTo>
                    <a:pt x="41042" y="2692"/>
                    <a:pt x="38675" y="4850"/>
                    <a:pt x="35671" y="7622"/>
                  </a:cubicBezTo>
                  <a:cubicBezTo>
                    <a:pt x="35575" y="7710"/>
                    <a:pt x="35487" y="7792"/>
                    <a:pt x="35393" y="7874"/>
                  </a:cubicBezTo>
                  <a:cubicBezTo>
                    <a:pt x="35301" y="7956"/>
                    <a:pt x="35207" y="8038"/>
                    <a:pt x="35110" y="8118"/>
                  </a:cubicBezTo>
                  <a:cubicBezTo>
                    <a:pt x="34918" y="8281"/>
                    <a:pt x="34719" y="8437"/>
                    <a:pt x="34512" y="8591"/>
                  </a:cubicBezTo>
                  <a:cubicBezTo>
                    <a:pt x="34100" y="8897"/>
                    <a:pt x="33661" y="9186"/>
                    <a:pt x="33199" y="9450"/>
                  </a:cubicBezTo>
                  <a:cubicBezTo>
                    <a:pt x="32274" y="9980"/>
                    <a:pt x="31253" y="10412"/>
                    <a:pt x="30179" y="10717"/>
                  </a:cubicBezTo>
                  <a:cubicBezTo>
                    <a:pt x="28032" y="11330"/>
                    <a:pt x="25667" y="11418"/>
                    <a:pt x="23498" y="11014"/>
                  </a:cubicBezTo>
                  <a:cubicBezTo>
                    <a:pt x="21528" y="10648"/>
                    <a:pt x="19660" y="9859"/>
                    <a:pt x="18064" y="8699"/>
                  </a:cubicBezTo>
                  <a:cubicBezTo>
                    <a:pt x="17665" y="8409"/>
                    <a:pt x="17283" y="8097"/>
                    <a:pt x="16920" y="7763"/>
                  </a:cubicBezTo>
                  <a:cubicBezTo>
                    <a:pt x="16830" y="7680"/>
                    <a:pt x="16740" y="7595"/>
                    <a:pt x="16652" y="7510"/>
                  </a:cubicBezTo>
                  <a:cubicBezTo>
                    <a:pt x="16521" y="7380"/>
                    <a:pt x="16521" y="7380"/>
                    <a:pt x="16521" y="7380"/>
                  </a:cubicBezTo>
                  <a:cubicBezTo>
                    <a:pt x="16455" y="7314"/>
                    <a:pt x="16455" y="7314"/>
                    <a:pt x="16455" y="7314"/>
                  </a:cubicBezTo>
                  <a:cubicBezTo>
                    <a:pt x="16370" y="7232"/>
                    <a:pt x="16370" y="7232"/>
                    <a:pt x="16370" y="7232"/>
                  </a:cubicBezTo>
                  <a:cubicBezTo>
                    <a:pt x="15807" y="6693"/>
                    <a:pt x="15807" y="6693"/>
                    <a:pt x="15807" y="6693"/>
                  </a:cubicBezTo>
                  <a:cubicBezTo>
                    <a:pt x="15055" y="5974"/>
                    <a:pt x="14303" y="5254"/>
                    <a:pt x="13548" y="4532"/>
                  </a:cubicBezTo>
                  <a:cubicBezTo>
                    <a:pt x="12794" y="3811"/>
                    <a:pt x="12037" y="3086"/>
                    <a:pt x="11277" y="2358"/>
                  </a:cubicBezTo>
                  <a:cubicBezTo>
                    <a:pt x="10992" y="2085"/>
                    <a:pt x="10992" y="2085"/>
                    <a:pt x="10992" y="2085"/>
                  </a:cubicBezTo>
                  <a:cubicBezTo>
                    <a:pt x="10842" y="1945"/>
                    <a:pt x="10842" y="1945"/>
                    <a:pt x="10842" y="1945"/>
                  </a:cubicBezTo>
                  <a:cubicBezTo>
                    <a:pt x="10784" y="1890"/>
                    <a:pt x="10730" y="1842"/>
                    <a:pt x="10674" y="1792"/>
                  </a:cubicBezTo>
                  <a:cubicBezTo>
                    <a:pt x="10451" y="1598"/>
                    <a:pt x="10215" y="1417"/>
                    <a:pt x="9968" y="1251"/>
                  </a:cubicBezTo>
                  <a:cubicBezTo>
                    <a:pt x="9475" y="920"/>
                    <a:pt x="8938" y="648"/>
                    <a:pt x="8374" y="447"/>
                  </a:cubicBezTo>
                  <a:cubicBezTo>
                    <a:pt x="7808" y="246"/>
                    <a:pt x="7215" y="116"/>
                    <a:pt x="6613" y="63"/>
                  </a:cubicBezTo>
                  <a:cubicBezTo>
                    <a:pt x="6539" y="57"/>
                    <a:pt x="6463" y="50"/>
                    <a:pt x="6388" y="46"/>
                  </a:cubicBezTo>
                  <a:cubicBezTo>
                    <a:pt x="6274" y="41"/>
                    <a:pt x="6274" y="41"/>
                    <a:pt x="6274" y="41"/>
                  </a:cubicBezTo>
                  <a:cubicBezTo>
                    <a:pt x="6155" y="37"/>
                    <a:pt x="6155" y="37"/>
                    <a:pt x="6155" y="37"/>
                  </a:cubicBezTo>
                  <a:cubicBezTo>
                    <a:pt x="5751" y="33"/>
                    <a:pt x="5751" y="33"/>
                    <a:pt x="5751" y="33"/>
                  </a:cubicBezTo>
                  <a:cubicBezTo>
                    <a:pt x="5482" y="31"/>
                    <a:pt x="5212" y="29"/>
                    <a:pt x="4942" y="27"/>
                  </a:cubicBezTo>
                  <a:cubicBezTo>
                    <a:pt x="3743" y="18"/>
                    <a:pt x="2484" y="0"/>
                    <a:pt x="1317" y="0"/>
                  </a:cubicBezTo>
                  <a:cubicBezTo>
                    <a:pt x="151" y="0"/>
                    <a:pt x="96" y="874"/>
                    <a:pt x="96" y="1210"/>
                  </a:cubicBezTo>
                  <a:cubicBezTo>
                    <a:pt x="96" y="1545"/>
                    <a:pt x="82" y="3462"/>
                    <a:pt x="75" y="4603"/>
                  </a:cubicBezTo>
                  <a:cubicBezTo>
                    <a:pt x="60" y="7453"/>
                    <a:pt x="44" y="10331"/>
                    <a:pt x="28" y="13349"/>
                  </a:cubicBezTo>
                  <a:cubicBezTo>
                    <a:pt x="23" y="14793"/>
                    <a:pt x="17" y="16270"/>
                    <a:pt x="11" y="17772"/>
                  </a:cubicBezTo>
                  <a:cubicBezTo>
                    <a:pt x="9" y="18522"/>
                    <a:pt x="6" y="19281"/>
                    <a:pt x="4" y="20044"/>
                  </a:cubicBezTo>
                  <a:cubicBezTo>
                    <a:pt x="2" y="20426"/>
                    <a:pt x="1" y="20810"/>
                    <a:pt x="0" y="21196"/>
                  </a:cubicBezTo>
                  <a:cubicBezTo>
                    <a:pt x="0" y="21340"/>
                    <a:pt x="0" y="21340"/>
                    <a:pt x="0" y="21340"/>
                  </a:cubicBezTo>
                  <a:cubicBezTo>
                    <a:pt x="0" y="21416"/>
                    <a:pt x="0" y="21416"/>
                    <a:pt x="0" y="21416"/>
                  </a:cubicBezTo>
                  <a:cubicBezTo>
                    <a:pt x="1" y="21517"/>
                    <a:pt x="1" y="21517"/>
                    <a:pt x="1" y="21517"/>
                  </a:cubicBezTo>
                  <a:cubicBezTo>
                    <a:pt x="6" y="21650"/>
                    <a:pt x="19" y="21782"/>
                    <a:pt x="37" y="21914"/>
                  </a:cubicBezTo>
                  <a:cubicBezTo>
                    <a:pt x="76" y="22177"/>
                    <a:pt x="143" y="22433"/>
                    <a:pt x="235" y="22675"/>
                  </a:cubicBezTo>
                  <a:cubicBezTo>
                    <a:pt x="417" y="23161"/>
                    <a:pt x="689" y="23591"/>
                    <a:pt x="1005" y="23958"/>
                  </a:cubicBezTo>
                  <a:cubicBezTo>
                    <a:pt x="1321" y="24328"/>
                    <a:pt x="1682" y="24642"/>
                    <a:pt x="2071" y="24909"/>
                  </a:cubicBezTo>
                  <a:cubicBezTo>
                    <a:pt x="2460" y="25172"/>
                    <a:pt x="2878" y="25390"/>
                    <a:pt x="3320" y="25559"/>
                  </a:cubicBezTo>
                  <a:cubicBezTo>
                    <a:pt x="3761" y="25725"/>
                    <a:pt x="4229" y="25844"/>
                    <a:pt x="4719" y="25893"/>
                  </a:cubicBezTo>
                  <a:cubicBezTo>
                    <a:pt x="4843" y="25906"/>
                    <a:pt x="4967" y="25915"/>
                    <a:pt x="5092" y="25916"/>
                  </a:cubicBezTo>
                  <a:cubicBezTo>
                    <a:pt x="5413" y="25918"/>
                    <a:pt x="5413" y="25918"/>
                    <a:pt x="5413" y="25918"/>
                  </a:cubicBezTo>
                  <a:cubicBezTo>
                    <a:pt x="5616" y="25918"/>
                    <a:pt x="5822" y="25918"/>
                    <a:pt x="6032" y="25913"/>
                  </a:cubicBezTo>
                  <a:cubicBezTo>
                    <a:pt x="6349" y="25902"/>
                    <a:pt x="6349" y="25902"/>
                    <a:pt x="6349" y="25902"/>
                  </a:cubicBezTo>
                  <a:cubicBezTo>
                    <a:pt x="6511" y="25895"/>
                    <a:pt x="6511" y="25895"/>
                    <a:pt x="6511" y="25895"/>
                  </a:cubicBezTo>
                  <a:cubicBezTo>
                    <a:pt x="6643" y="25888"/>
                    <a:pt x="6643" y="25888"/>
                    <a:pt x="6643" y="25888"/>
                  </a:cubicBezTo>
                  <a:cubicBezTo>
                    <a:pt x="6783" y="25877"/>
                    <a:pt x="6783" y="25877"/>
                    <a:pt x="6783" y="25877"/>
                  </a:cubicBezTo>
                  <a:cubicBezTo>
                    <a:pt x="7156" y="25844"/>
                    <a:pt x="7534" y="25788"/>
                    <a:pt x="7817" y="25615"/>
                  </a:cubicBezTo>
                  <a:cubicBezTo>
                    <a:pt x="7959" y="25532"/>
                    <a:pt x="8094" y="25415"/>
                    <a:pt x="8198" y="25276"/>
                  </a:cubicBezTo>
                  <a:cubicBezTo>
                    <a:pt x="8303" y="25137"/>
                    <a:pt x="8375" y="24986"/>
                    <a:pt x="8425" y="24824"/>
                  </a:cubicBezTo>
                  <a:cubicBezTo>
                    <a:pt x="8449" y="24743"/>
                    <a:pt x="8467" y="24656"/>
                    <a:pt x="8480" y="24568"/>
                  </a:cubicBezTo>
                  <a:cubicBezTo>
                    <a:pt x="8491" y="24478"/>
                    <a:pt x="8487" y="24382"/>
                    <a:pt x="8491" y="24288"/>
                  </a:cubicBezTo>
                  <a:cubicBezTo>
                    <a:pt x="8502" y="23762"/>
                    <a:pt x="8502" y="23762"/>
                    <a:pt x="8502" y="23762"/>
                  </a:cubicBezTo>
                  <a:cubicBezTo>
                    <a:pt x="8502" y="23360"/>
                    <a:pt x="8503" y="22958"/>
                    <a:pt x="8503" y="22556"/>
                  </a:cubicBezTo>
                  <a:cubicBezTo>
                    <a:pt x="8505" y="20944"/>
                    <a:pt x="8506" y="19323"/>
                    <a:pt x="8507" y="17700"/>
                  </a:cubicBezTo>
                  <a:cubicBezTo>
                    <a:pt x="8508" y="17114"/>
                    <a:pt x="8508" y="17114"/>
                    <a:pt x="8508" y="17114"/>
                  </a:cubicBezTo>
                  <a:cubicBezTo>
                    <a:pt x="8511" y="16971"/>
                    <a:pt x="8527" y="16829"/>
                    <a:pt x="8557" y="16688"/>
                  </a:cubicBezTo>
                  <a:cubicBezTo>
                    <a:pt x="8615" y="16409"/>
                    <a:pt x="8725" y="16138"/>
                    <a:pt x="8881" y="15895"/>
                  </a:cubicBezTo>
                  <a:cubicBezTo>
                    <a:pt x="9190" y="15408"/>
                    <a:pt x="9681" y="15035"/>
                    <a:pt x="10225" y="14883"/>
                  </a:cubicBezTo>
                  <a:cubicBezTo>
                    <a:pt x="10360" y="14844"/>
                    <a:pt x="10499" y="14819"/>
                    <a:pt x="10639" y="14806"/>
                  </a:cubicBezTo>
                  <a:cubicBezTo>
                    <a:pt x="10710" y="14799"/>
                    <a:pt x="10777" y="14797"/>
                    <a:pt x="10853" y="14797"/>
                  </a:cubicBezTo>
                  <a:cubicBezTo>
                    <a:pt x="10937" y="14797"/>
                    <a:pt x="11022" y="14799"/>
                    <a:pt x="11106" y="14804"/>
                  </a:cubicBezTo>
                  <a:cubicBezTo>
                    <a:pt x="11443" y="14822"/>
                    <a:pt x="11778" y="14874"/>
                    <a:pt x="12109" y="14963"/>
                  </a:cubicBezTo>
                  <a:cubicBezTo>
                    <a:pt x="12771" y="15136"/>
                    <a:pt x="13415" y="15442"/>
                    <a:pt x="14033" y="15836"/>
                  </a:cubicBezTo>
                  <a:cubicBezTo>
                    <a:pt x="14652" y="16228"/>
                    <a:pt x="15245" y="16701"/>
                    <a:pt x="15826" y="17211"/>
                  </a:cubicBezTo>
                  <a:cubicBezTo>
                    <a:pt x="16408" y="17720"/>
                    <a:pt x="16977" y="18268"/>
                    <a:pt x="17572" y="18816"/>
                  </a:cubicBezTo>
                  <a:cubicBezTo>
                    <a:pt x="17865" y="19090"/>
                    <a:pt x="18186" y="19371"/>
                    <a:pt x="18471" y="19624"/>
                  </a:cubicBezTo>
                  <a:cubicBezTo>
                    <a:pt x="18763" y="19887"/>
                    <a:pt x="19055" y="20148"/>
                    <a:pt x="19346" y="20412"/>
                  </a:cubicBezTo>
                  <a:cubicBezTo>
                    <a:pt x="19931" y="20940"/>
                    <a:pt x="20520" y="21474"/>
                    <a:pt x="21145" y="21991"/>
                  </a:cubicBezTo>
                  <a:cubicBezTo>
                    <a:pt x="21771" y="22505"/>
                    <a:pt x="22434" y="23006"/>
                    <a:pt x="23192" y="23423"/>
                  </a:cubicBezTo>
                  <a:cubicBezTo>
                    <a:pt x="23571" y="23630"/>
                    <a:pt x="23975" y="23814"/>
                    <a:pt x="24404" y="23955"/>
                  </a:cubicBezTo>
                  <a:cubicBezTo>
                    <a:pt x="24833" y="24094"/>
                    <a:pt x="25289" y="24189"/>
                    <a:pt x="25751" y="24218"/>
                  </a:cubicBezTo>
                  <a:cubicBezTo>
                    <a:pt x="26212" y="24249"/>
                    <a:pt x="26677" y="24214"/>
                    <a:pt x="27122" y="24126"/>
                  </a:cubicBezTo>
                  <a:cubicBezTo>
                    <a:pt x="27565" y="24036"/>
                    <a:pt x="27988" y="23893"/>
                    <a:pt x="28379" y="23720"/>
                  </a:cubicBezTo>
                  <a:cubicBezTo>
                    <a:pt x="29164" y="23372"/>
                    <a:pt x="29831" y="22916"/>
                    <a:pt x="30440" y="22446"/>
                  </a:cubicBezTo>
                  <a:cubicBezTo>
                    <a:pt x="31050" y="21975"/>
                    <a:pt x="31603" y="21484"/>
                    <a:pt x="32136" y="21001"/>
                  </a:cubicBezTo>
                  <a:cubicBezTo>
                    <a:pt x="32660" y="20522"/>
                    <a:pt x="33177" y="20047"/>
                    <a:pt x="33687" y="19580"/>
                  </a:cubicBezTo>
                  <a:cubicBezTo>
                    <a:pt x="33815" y="19465"/>
                    <a:pt x="33943" y="19352"/>
                    <a:pt x="34070" y="19236"/>
                  </a:cubicBezTo>
                  <a:cubicBezTo>
                    <a:pt x="34200" y="19117"/>
                    <a:pt x="34329" y="18998"/>
                    <a:pt x="34459" y="18879"/>
                  </a:cubicBezTo>
                  <a:cubicBezTo>
                    <a:pt x="34710" y="18643"/>
                    <a:pt x="34957" y="18407"/>
                    <a:pt x="35204" y="18174"/>
                  </a:cubicBezTo>
                  <a:cubicBezTo>
                    <a:pt x="35690" y="17712"/>
                    <a:pt x="36160" y="17269"/>
                    <a:pt x="36635" y="16860"/>
                  </a:cubicBezTo>
                  <a:cubicBezTo>
                    <a:pt x="37578" y="16043"/>
                    <a:pt x="38544" y="15368"/>
                    <a:pt x="39540" y="14993"/>
                  </a:cubicBezTo>
                  <a:cubicBezTo>
                    <a:pt x="40038" y="14804"/>
                    <a:pt x="40538" y="14689"/>
                    <a:pt x="41035" y="14649"/>
                  </a:cubicBezTo>
                  <a:cubicBezTo>
                    <a:pt x="41158" y="14640"/>
                    <a:pt x="41287" y="14633"/>
                    <a:pt x="41402" y="14633"/>
                  </a:cubicBezTo>
                  <a:cubicBezTo>
                    <a:pt x="41509" y="14633"/>
                    <a:pt x="41616" y="14640"/>
                    <a:pt x="41719" y="14653"/>
                  </a:cubicBezTo>
                  <a:cubicBezTo>
                    <a:pt x="41929" y="14680"/>
                    <a:pt x="42132" y="14736"/>
                    <a:pt x="42326" y="14813"/>
                  </a:cubicBezTo>
                  <a:cubicBezTo>
                    <a:pt x="42712" y="14970"/>
                    <a:pt x="43051" y="15224"/>
                    <a:pt x="43312" y="15531"/>
                  </a:cubicBezTo>
                  <a:cubicBezTo>
                    <a:pt x="43575" y="15839"/>
                    <a:pt x="43757" y="16198"/>
                    <a:pt x="43853" y="16566"/>
                  </a:cubicBezTo>
                  <a:cubicBezTo>
                    <a:pt x="43900" y="16750"/>
                    <a:pt x="43927" y="16939"/>
                    <a:pt x="43934" y="17121"/>
                  </a:cubicBezTo>
                  <a:cubicBezTo>
                    <a:pt x="43938" y="17357"/>
                    <a:pt x="43941" y="17592"/>
                    <a:pt x="43945" y="17822"/>
                  </a:cubicBezTo>
                  <a:cubicBezTo>
                    <a:pt x="43951" y="18291"/>
                    <a:pt x="43959" y="18749"/>
                    <a:pt x="43965" y="19195"/>
                  </a:cubicBezTo>
                  <a:cubicBezTo>
                    <a:pt x="43972" y="19640"/>
                    <a:pt x="43979" y="20073"/>
                    <a:pt x="43987" y="20491"/>
                  </a:cubicBezTo>
                  <a:cubicBezTo>
                    <a:pt x="43990" y="20700"/>
                    <a:pt x="43994" y="20908"/>
                    <a:pt x="43997" y="21110"/>
                  </a:cubicBezTo>
                  <a:cubicBezTo>
                    <a:pt x="43999" y="21212"/>
                    <a:pt x="44001" y="21313"/>
                    <a:pt x="44003" y="21414"/>
                  </a:cubicBezTo>
                  <a:cubicBezTo>
                    <a:pt x="44005" y="21542"/>
                    <a:pt x="44016" y="21667"/>
                    <a:pt x="44033" y="21791"/>
                  </a:cubicBezTo>
                  <a:cubicBezTo>
                    <a:pt x="44102" y="22278"/>
                    <a:pt x="44279" y="22709"/>
                    <a:pt x="44495" y="23069"/>
                  </a:cubicBezTo>
                  <a:cubicBezTo>
                    <a:pt x="44711" y="23432"/>
                    <a:pt x="44969" y="23733"/>
                    <a:pt x="45236" y="23985"/>
                  </a:cubicBezTo>
                  <a:cubicBezTo>
                    <a:pt x="45772" y="24492"/>
                    <a:pt x="46343" y="24824"/>
                    <a:pt x="46894" y="25058"/>
                  </a:cubicBezTo>
                  <a:cubicBezTo>
                    <a:pt x="47447" y="25289"/>
                    <a:pt x="47986" y="25417"/>
                    <a:pt x="48500" y="25462"/>
                  </a:cubicBezTo>
                  <a:cubicBezTo>
                    <a:pt x="48756" y="25486"/>
                    <a:pt x="49022" y="25478"/>
                    <a:pt x="49226" y="25468"/>
                  </a:cubicBezTo>
                  <a:cubicBezTo>
                    <a:pt x="49441" y="25458"/>
                    <a:pt x="49650" y="25448"/>
                    <a:pt x="49854" y="25433"/>
                  </a:cubicBezTo>
                  <a:cubicBezTo>
                    <a:pt x="49956" y="25424"/>
                    <a:pt x="50056" y="25417"/>
                    <a:pt x="50155" y="25408"/>
                  </a:cubicBezTo>
                  <a:cubicBezTo>
                    <a:pt x="50216" y="25403"/>
                    <a:pt x="50276" y="25397"/>
                    <a:pt x="50335" y="25392"/>
                  </a:cubicBezTo>
                  <a:cubicBezTo>
                    <a:pt x="50402" y="25385"/>
                    <a:pt x="50470" y="25377"/>
                    <a:pt x="50537" y="25370"/>
                  </a:cubicBezTo>
                  <a:cubicBezTo>
                    <a:pt x="50803" y="25338"/>
                    <a:pt x="51055" y="25289"/>
                    <a:pt x="51257" y="25177"/>
                  </a:cubicBezTo>
                  <a:cubicBezTo>
                    <a:pt x="51359" y="25121"/>
                    <a:pt x="51451" y="25037"/>
                    <a:pt x="51516" y="24937"/>
                  </a:cubicBezTo>
                  <a:cubicBezTo>
                    <a:pt x="51581" y="24838"/>
                    <a:pt x="51618" y="24728"/>
                    <a:pt x="51641" y="24616"/>
                  </a:cubicBezTo>
                  <a:cubicBezTo>
                    <a:pt x="51688" y="24393"/>
                    <a:pt x="51664" y="24142"/>
                    <a:pt x="51664" y="23906"/>
                  </a:cubicBezTo>
                  <a:close/>
                </a:path>
              </a:pathLst>
            </a:custGeom>
            <a:solidFill>
              <a:srgbClr val="FFC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5" name="Freeform 39"/>
            <p:cNvSpPr>
              <a:spLocks/>
            </p:cNvSpPr>
            <p:nvPr userDrawn="1"/>
          </p:nvSpPr>
          <p:spPr bwMode="auto">
            <a:xfrm>
              <a:off x="-84412137" y="19151600"/>
              <a:ext cx="192400238" cy="96275525"/>
            </a:xfrm>
            <a:custGeom>
              <a:avLst/>
              <a:gdLst>
                <a:gd name="T0" fmla="*/ 51227 w 51304"/>
                <a:gd name="T1" fmla="*/ 21984 h 25671"/>
                <a:gd name="T2" fmla="*/ 50896 w 51304"/>
                <a:gd name="T3" fmla="*/ 22934 h 25671"/>
                <a:gd name="T4" fmla="*/ 50845 w 51304"/>
                <a:gd name="T5" fmla="*/ 23767 h 25671"/>
                <a:gd name="T6" fmla="*/ 50418 w 51304"/>
                <a:gd name="T7" fmla="*/ 24434 h 25671"/>
                <a:gd name="T8" fmla="*/ 48957 w 51304"/>
                <a:gd name="T9" fmla="*/ 24450 h 25671"/>
                <a:gd name="T10" fmla="*/ 47352 w 51304"/>
                <a:gd name="T11" fmla="*/ 24093 h 25671"/>
                <a:gd name="T12" fmla="*/ 45066 w 51304"/>
                <a:gd name="T13" fmla="*/ 20519 h 25671"/>
                <a:gd name="T14" fmla="*/ 45007 w 51304"/>
                <a:gd name="T15" fmla="*/ 16059 h 25671"/>
                <a:gd name="T16" fmla="*/ 41247 w 51304"/>
                <a:gd name="T17" fmla="*/ 13062 h 25671"/>
                <a:gd name="T18" fmla="*/ 32977 w 51304"/>
                <a:gd name="T19" fmla="*/ 17784 h 25671"/>
                <a:gd name="T20" fmla="*/ 28720 w 51304"/>
                <a:gd name="T21" fmla="*/ 21371 h 25671"/>
                <a:gd name="T22" fmla="*/ 23145 w 51304"/>
                <a:gd name="T23" fmla="*/ 21262 h 25671"/>
                <a:gd name="T24" fmla="*/ 18779 w 51304"/>
                <a:gd name="T25" fmla="*/ 17460 h 25671"/>
                <a:gd name="T26" fmla="*/ 12183 w 51304"/>
                <a:gd name="T27" fmla="*/ 12999 h 25671"/>
                <a:gd name="T28" fmla="*/ 8276 w 51304"/>
                <a:gd name="T29" fmla="*/ 13641 h 25671"/>
                <a:gd name="T30" fmla="*/ 6547 w 51304"/>
                <a:gd name="T31" fmla="*/ 17003 h 25671"/>
                <a:gd name="T32" fmla="*/ 6558 w 51304"/>
                <a:gd name="T33" fmla="*/ 23790 h 25671"/>
                <a:gd name="T34" fmla="*/ 6182 w 51304"/>
                <a:gd name="T35" fmla="*/ 23963 h 25671"/>
                <a:gd name="T36" fmla="*/ 4939 w 51304"/>
                <a:gd name="T37" fmla="*/ 23978 h 25671"/>
                <a:gd name="T38" fmla="*/ 1686 w 51304"/>
                <a:gd name="T39" fmla="*/ 21486 h 25671"/>
                <a:gd name="T40" fmla="*/ 1670 w 51304"/>
                <a:gd name="T41" fmla="*/ 18403 h 25671"/>
                <a:gd name="T42" fmla="*/ 5462 w 51304"/>
                <a:gd name="T43" fmla="*/ 1545 h 25671"/>
                <a:gd name="T44" fmla="*/ 6853 w 51304"/>
                <a:gd name="T45" fmla="*/ 1621 h 25671"/>
                <a:gd name="T46" fmla="*/ 10321 w 51304"/>
                <a:gd name="T47" fmla="*/ 3594 h 25671"/>
                <a:gd name="T48" fmla="*/ 15079 w 51304"/>
                <a:gd name="T49" fmla="*/ 8001 h 25671"/>
                <a:gd name="T50" fmla="*/ 22415 w 51304"/>
                <a:gd name="T51" fmla="*/ 12022 h 25671"/>
                <a:gd name="T52" fmla="*/ 35193 w 51304"/>
                <a:gd name="T53" fmla="*/ 9144 h 25671"/>
                <a:gd name="T54" fmla="*/ 38644 w 51304"/>
                <a:gd name="T55" fmla="*/ 5676 h 25671"/>
                <a:gd name="T56" fmla="*/ 38608 w 51304"/>
                <a:gd name="T57" fmla="*/ 5316 h 25671"/>
                <a:gd name="T58" fmla="*/ 35007 w 51304"/>
                <a:gd name="T59" fmla="*/ 8337 h 25671"/>
                <a:gd name="T60" fmla="*/ 19876 w 51304"/>
                <a:gd name="T61" fmla="*/ 9816 h 25671"/>
                <a:gd name="T62" fmla="*/ 10700 w 51304"/>
                <a:gd name="T63" fmla="*/ 1961 h 25671"/>
                <a:gd name="T64" fmla="*/ 1246 w 51304"/>
                <a:gd name="T65" fmla="*/ 0 h 25671"/>
                <a:gd name="T66" fmla="*/ 1 w 51304"/>
                <a:gd name="T67" fmla="*/ 20794 h 25671"/>
                <a:gd name="T68" fmla="*/ 2175 w 51304"/>
                <a:gd name="T69" fmla="*/ 24786 h 25671"/>
                <a:gd name="T70" fmla="*/ 5478 w 51304"/>
                <a:gd name="T71" fmla="*/ 25671 h 25671"/>
                <a:gd name="T72" fmla="*/ 6619 w 51304"/>
                <a:gd name="T73" fmla="*/ 25631 h 25671"/>
                <a:gd name="T74" fmla="*/ 8202 w 51304"/>
                <a:gd name="T75" fmla="*/ 24575 h 25671"/>
                <a:gd name="T76" fmla="*/ 8252 w 51304"/>
                <a:gd name="T77" fmla="*/ 23446 h 25671"/>
                <a:gd name="T78" fmla="*/ 8253 w 51304"/>
                <a:gd name="T79" fmla="*/ 17036 h 25671"/>
                <a:gd name="T80" fmla="*/ 9588 w 51304"/>
                <a:gd name="T81" fmla="*/ 14825 h 25671"/>
                <a:gd name="T82" fmla="*/ 11057 w 51304"/>
                <a:gd name="T83" fmla="*/ 14549 h 25671"/>
                <a:gd name="T84" fmla="*/ 17864 w 51304"/>
                <a:gd name="T85" fmla="*/ 18877 h 25671"/>
                <a:gd name="T86" fmla="*/ 24961 w 51304"/>
                <a:gd name="T87" fmla="*/ 23846 h 25671"/>
                <a:gd name="T88" fmla="*/ 31626 w 51304"/>
                <a:gd name="T89" fmla="*/ 20994 h 25671"/>
                <a:gd name="T90" fmla="*/ 36096 w 51304"/>
                <a:gd name="T91" fmla="*/ 16843 h 25671"/>
                <a:gd name="T92" fmla="*/ 41234 w 51304"/>
                <a:gd name="T93" fmla="*/ 14288 h 25671"/>
                <a:gd name="T94" fmla="*/ 43955 w 51304"/>
                <a:gd name="T95" fmla="*/ 16317 h 25671"/>
                <a:gd name="T96" fmla="*/ 44179 w 51304"/>
                <a:gd name="T97" fmla="*/ 21228 h 25671"/>
                <a:gd name="T98" fmla="*/ 44984 w 51304"/>
                <a:gd name="T99" fmla="*/ 23266 h 25671"/>
                <a:gd name="T100" fmla="*/ 49556 w 51304"/>
                <a:gd name="T101" fmla="*/ 25025 h 25671"/>
                <a:gd name="T102" fmla="*/ 50989 w 51304"/>
                <a:gd name="T103" fmla="*/ 24822 h 25671"/>
                <a:gd name="T104" fmla="*/ 51278 w 51304"/>
                <a:gd name="T105" fmla="*/ 23556 h 25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304" h="25671">
                  <a:moveTo>
                    <a:pt x="51278" y="23556"/>
                  </a:moveTo>
                  <a:cubicBezTo>
                    <a:pt x="51276" y="23471"/>
                    <a:pt x="51273" y="23386"/>
                    <a:pt x="51271" y="23303"/>
                  </a:cubicBezTo>
                  <a:cubicBezTo>
                    <a:pt x="51266" y="23139"/>
                    <a:pt x="51261" y="22979"/>
                    <a:pt x="51256" y="22826"/>
                  </a:cubicBezTo>
                  <a:cubicBezTo>
                    <a:pt x="51246" y="22523"/>
                    <a:pt x="51236" y="22240"/>
                    <a:pt x="51227" y="21984"/>
                  </a:cubicBezTo>
                  <a:cubicBezTo>
                    <a:pt x="51186" y="20902"/>
                    <a:pt x="51143" y="20417"/>
                    <a:pt x="51103" y="20693"/>
                  </a:cubicBezTo>
                  <a:cubicBezTo>
                    <a:pt x="51083" y="20839"/>
                    <a:pt x="51061" y="20754"/>
                    <a:pt x="51042" y="20886"/>
                  </a:cubicBezTo>
                  <a:cubicBezTo>
                    <a:pt x="51006" y="21032"/>
                    <a:pt x="50975" y="21493"/>
                    <a:pt x="50943" y="22050"/>
                  </a:cubicBezTo>
                  <a:cubicBezTo>
                    <a:pt x="50928" y="22335"/>
                    <a:pt x="50912" y="22634"/>
                    <a:pt x="50896" y="22934"/>
                  </a:cubicBezTo>
                  <a:cubicBezTo>
                    <a:pt x="50887" y="23083"/>
                    <a:pt x="50879" y="23231"/>
                    <a:pt x="50870" y="23379"/>
                  </a:cubicBezTo>
                  <a:cubicBezTo>
                    <a:pt x="50867" y="23449"/>
                    <a:pt x="50862" y="23522"/>
                    <a:pt x="50858" y="23592"/>
                  </a:cubicBezTo>
                  <a:cubicBezTo>
                    <a:pt x="50856" y="23624"/>
                    <a:pt x="50854" y="23659"/>
                    <a:pt x="50851" y="23691"/>
                  </a:cubicBezTo>
                  <a:cubicBezTo>
                    <a:pt x="50850" y="23716"/>
                    <a:pt x="50847" y="23742"/>
                    <a:pt x="50845" y="23767"/>
                  </a:cubicBezTo>
                  <a:cubicBezTo>
                    <a:pt x="50841" y="23826"/>
                    <a:pt x="50840" y="23882"/>
                    <a:pt x="50836" y="23938"/>
                  </a:cubicBezTo>
                  <a:cubicBezTo>
                    <a:pt x="50830" y="24063"/>
                    <a:pt x="50832" y="24192"/>
                    <a:pt x="50759" y="24297"/>
                  </a:cubicBezTo>
                  <a:cubicBezTo>
                    <a:pt x="50722" y="24347"/>
                    <a:pt x="50670" y="24387"/>
                    <a:pt x="50607" y="24403"/>
                  </a:cubicBezTo>
                  <a:cubicBezTo>
                    <a:pt x="50546" y="24420"/>
                    <a:pt x="50481" y="24427"/>
                    <a:pt x="50418" y="24434"/>
                  </a:cubicBezTo>
                  <a:cubicBezTo>
                    <a:pt x="50353" y="24439"/>
                    <a:pt x="50288" y="24443"/>
                    <a:pt x="50223" y="24445"/>
                  </a:cubicBezTo>
                  <a:cubicBezTo>
                    <a:pt x="50155" y="24448"/>
                    <a:pt x="50086" y="24450"/>
                    <a:pt x="50016" y="24450"/>
                  </a:cubicBezTo>
                  <a:cubicBezTo>
                    <a:pt x="49830" y="24456"/>
                    <a:pt x="49637" y="24457"/>
                    <a:pt x="49433" y="24456"/>
                  </a:cubicBezTo>
                  <a:cubicBezTo>
                    <a:pt x="49287" y="24454"/>
                    <a:pt x="49116" y="24450"/>
                    <a:pt x="48957" y="24450"/>
                  </a:cubicBezTo>
                  <a:cubicBezTo>
                    <a:pt x="48885" y="24448"/>
                    <a:pt x="48822" y="24447"/>
                    <a:pt x="48757" y="24441"/>
                  </a:cubicBezTo>
                  <a:cubicBezTo>
                    <a:pt x="48692" y="24438"/>
                    <a:pt x="48627" y="24432"/>
                    <a:pt x="48561" y="24425"/>
                  </a:cubicBezTo>
                  <a:cubicBezTo>
                    <a:pt x="48429" y="24410"/>
                    <a:pt x="48296" y="24385"/>
                    <a:pt x="48162" y="24356"/>
                  </a:cubicBezTo>
                  <a:cubicBezTo>
                    <a:pt x="47893" y="24297"/>
                    <a:pt x="47621" y="24209"/>
                    <a:pt x="47352" y="24093"/>
                  </a:cubicBezTo>
                  <a:cubicBezTo>
                    <a:pt x="46815" y="23861"/>
                    <a:pt x="46284" y="23520"/>
                    <a:pt x="45848" y="23064"/>
                  </a:cubicBezTo>
                  <a:cubicBezTo>
                    <a:pt x="45541" y="22743"/>
                    <a:pt x="45289" y="22362"/>
                    <a:pt x="45156" y="21951"/>
                  </a:cubicBezTo>
                  <a:cubicBezTo>
                    <a:pt x="45090" y="21746"/>
                    <a:pt x="45055" y="21533"/>
                    <a:pt x="45055" y="21318"/>
                  </a:cubicBezTo>
                  <a:cubicBezTo>
                    <a:pt x="45058" y="21055"/>
                    <a:pt x="45063" y="20790"/>
                    <a:pt x="45066" y="20519"/>
                  </a:cubicBezTo>
                  <a:cubicBezTo>
                    <a:pt x="45083" y="19430"/>
                    <a:pt x="45101" y="18293"/>
                    <a:pt x="45119" y="17110"/>
                  </a:cubicBezTo>
                  <a:cubicBezTo>
                    <a:pt x="45120" y="17041"/>
                    <a:pt x="45122" y="16942"/>
                    <a:pt x="45119" y="16856"/>
                  </a:cubicBezTo>
                  <a:cubicBezTo>
                    <a:pt x="45115" y="16767"/>
                    <a:pt x="45109" y="16679"/>
                    <a:pt x="45100" y="16591"/>
                  </a:cubicBezTo>
                  <a:cubicBezTo>
                    <a:pt x="45081" y="16412"/>
                    <a:pt x="45050" y="16235"/>
                    <a:pt x="45007" y="16059"/>
                  </a:cubicBezTo>
                  <a:cubicBezTo>
                    <a:pt x="44918" y="15707"/>
                    <a:pt x="44781" y="15363"/>
                    <a:pt x="44596" y="15042"/>
                  </a:cubicBezTo>
                  <a:cubicBezTo>
                    <a:pt x="44226" y="14398"/>
                    <a:pt x="43662" y="13843"/>
                    <a:pt x="42966" y="13487"/>
                  </a:cubicBezTo>
                  <a:cubicBezTo>
                    <a:pt x="42619" y="13309"/>
                    <a:pt x="42239" y="13181"/>
                    <a:pt x="41846" y="13114"/>
                  </a:cubicBezTo>
                  <a:cubicBezTo>
                    <a:pt x="41648" y="13082"/>
                    <a:pt x="41447" y="13064"/>
                    <a:pt x="41247" y="13062"/>
                  </a:cubicBezTo>
                  <a:cubicBezTo>
                    <a:pt x="41060" y="13060"/>
                    <a:pt x="40872" y="13066"/>
                    <a:pt x="40685" y="13080"/>
                  </a:cubicBezTo>
                  <a:cubicBezTo>
                    <a:pt x="39934" y="13134"/>
                    <a:pt x="39188" y="13327"/>
                    <a:pt x="38493" y="13619"/>
                  </a:cubicBezTo>
                  <a:cubicBezTo>
                    <a:pt x="37442" y="14059"/>
                    <a:pt x="36487" y="14717"/>
                    <a:pt x="35592" y="15451"/>
                  </a:cubicBezTo>
                  <a:cubicBezTo>
                    <a:pt x="34695" y="16183"/>
                    <a:pt x="33852" y="17005"/>
                    <a:pt x="32977" y="17784"/>
                  </a:cubicBezTo>
                  <a:cubicBezTo>
                    <a:pt x="32751" y="17981"/>
                    <a:pt x="32524" y="18181"/>
                    <a:pt x="32295" y="18381"/>
                  </a:cubicBezTo>
                  <a:cubicBezTo>
                    <a:pt x="32066" y="18585"/>
                    <a:pt x="31835" y="18790"/>
                    <a:pt x="31603" y="18998"/>
                  </a:cubicBezTo>
                  <a:cubicBezTo>
                    <a:pt x="31141" y="19411"/>
                    <a:pt x="30676" y="19827"/>
                    <a:pt x="30198" y="20233"/>
                  </a:cubicBezTo>
                  <a:cubicBezTo>
                    <a:pt x="29720" y="20637"/>
                    <a:pt x="29232" y="21028"/>
                    <a:pt x="28720" y="21371"/>
                  </a:cubicBezTo>
                  <a:cubicBezTo>
                    <a:pt x="28209" y="21713"/>
                    <a:pt x="27674" y="22005"/>
                    <a:pt x="27122" y="22182"/>
                  </a:cubicBezTo>
                  <a:cubicBezTo>
                    <a:pt x="26680" y="22321"/>
                    <a:pt x="26231" y="22382"/>
                    <a:pt x="25783" y="22355"/>
                  </a:cubicBezTo>
                  <a:cubicBezTo>
                    <a:pt x="25335" y="22326"/>
                    <a:pt x="24888" y="22207"/>
                    <a:pt x="24446" y="22016"/>
                  </a:cubicBezTo>
                  <a:cubicBezTo>
                    <a:pt x="24005" y="21823"/>
                    <a:pt x="23570" y="21562"/>
                    <a:pt x="23145" y="21262"/>
                  </a:cubicBezTo>
                  <a:cubicBezTo>
                    <a:pt x="22720" y="20961"/>
                    <a:pt x="22303" y="20622"/>
                    <a:pt x="21890" y="20269"/>
                  </a:cubicBezTo>
                  <a:cubicBezTo>
                    <a:pt x="21064" y="19557"/>
                    <a:pt x="20248" y="18779"/>
                    <a:pt x="19395" y="18019"/>
                  </a:cubicBezTo>
                  <a:cubicBezTo>
                    <a:pt x="19083" y="17739"/>
                    <a:pt x="19083" y="17739"/>
                    <a:pt x="19083" y="17739"/>
                  </a:cubicBezTo>
                  <a:cubicBezTo>
                    <a:pt x="18779" y="17460"/>
                    <a:pt x="18779" y="17460"/>
                    <a:pt x="18779" y="17460"/>
                  </a:cubicBezTo>
                  <a:cubicBezTo>
                    <a:pt x="18167" y="16886"/>
                    <a:pt x="18167" y="16886"/>
                    <a:pt x="18167" y="16886"/>
                  </a:cubicBezTo>
                  <a:cubicBezTo>
                    <a:pt x="17756" y="16499"/>
                    <a:pt x="17338" y="16104"/>
                    <a:pt x="16902" y="15718"/>
                  </a:cubicBezTo>
                  <a:cubicBezTo>
                    <a:pt x="16029" y="14950"/>
                    <a:pt x="15078" y="14200"/>
                    <a:pt x="13963" y="13641"/>
                  </a:cubicBezTo>
                  <a:cubicBezTo>
                    <a:pt x="13406" y="13363"/>
                    <a:pt x="12809" y="13138"/>
                    <a:pt x="12183" y="12999"/>
                  </a:cubicBezTo>
                  <a:cubicBezTo>
                    <a:pt x="11870" y="12930"/>
                    <a:pt x="11551" y="12882"/>
                    <a:pt x="11231" y="12858"/>
                  </a:cubicBezTo>
                  <a:cubicBezTo>
                    <a:pt x="11070" y="12846"/>
                    <a:pt x="10909" y="12838"/>
                    <a:pt x="10748" y="12837"/>
                  </a:cubicBezTo>
                  <a:cubicBezTo>
                    <a:pt x="10578" y="12835"/>
                    <a:pt x="10396" y="12846"/>
                    <a:pt x="10221" y="12867"/>
                  </a:cubicBezTo>
                  <a:cubicBezTo>
                    <a:pt x="9515" y="12950"/>
                    <a:pt x="8839" y="13226"/>
                    <a:pt x="8276" y="13641"/>
                  </a:cubicBezTo>
                  <a:cubicBezTo>
                    <a:pt x="7712" y="14055"/>
                    <a:pt x="7256" y="14607"/>
                    <a:pt x="6956" y="15236"/>
                  </a:cubicBezTo>
                  <a:cubicBezTo>
                    <a:pt x="6806" y="15550"/>
                    <a:pt x="6695" y="15884"/>
                    <a:pt x="6628" y="16226"/>
                  </a:cubicBezTo>
                  <a:cubicBezTo>
                    <a:pt x="6594" y="16398"/>
                    <a:pt x="6570" y="16569"/>
                    <a:pt x="6558" y="16744"/>
                  </a:cubicBezTo>
                  <a:cubicBezTo>
                    <a:pt x="6552" y="16829"/>
                    <a:pt x="6548" y="16917"/>
                    <a:pt x="6547" y="17003"/>
                  </a:cubicBezTo>
                  <a:cubicBezTo>
                    <a:pt x="6547" y="17220"/>
                    <a:pt x="6547" y="17220"/>
                    <a:pt x="6547" y="17220"/>
                  </a:cubicBezTo>
                  <a:cubicBezTo>
                    <a:pt x="6548" y="17773"/>
                    <a:pt x="6549" y="18325"/>
                    <a:pt x="6549" y="18875"/>
                  </a:cubicBezTo>
                  <a:cubicBezTo>
                    <a:pt x="6552" y="20269"/>
                    <a:pt x="6554" y="21668"/>
                    <a:pt x="6556" y="23069"/>
                  </a:cubicBezTo>
                  <a:cubicBezTo>
                    <a:pt x="6556" y="23311"/>
                    <a:pt x="6557" y="23549"/>
                    <a:pt x="6558" y="23790"/>
                  </a:cubicBezTo>
                  <a:cubicBezTo>
                    <a:pt x="6558" y="23832"/>
                    <a:pt x="6555" y="23880"/>
                    <a:pt x="6521" y="23911"/>
                  </a:cubicBezTo>
                  <a:cubicBezTo>
                    <a:pt x="6487" y="23940"/>
                    <a:pt x="6440" y="23942"/>
                    <a:pt x="6397" y="23949"/>
                  </a:cubicBezTo>
                  <a:cubicBezTo>
                    <a:pt x="6333" y="23954"/>
                    <a:pt x="6333" y="23954"/>
                    <a:pt x="6333" y="23954"/>
                  </a:cubicBezTo>
                  <a:cubicBezTo>
                    <a:pt x="6182" y="23963"/>
                    <a:pt x="6182" y="23963"/>
                    <a:pt x="6182" y="23963"/>
                  </a:cubicBezTo>
                  <a:cubicBezTo>
                    <a:pt x="6018" y="23971"/>
                    <a:pt x="5850" y="23976"/>
                    <a:pt x="5681" y="23978"/>
                  </a:cubicBezTo>
                  <a:cubicBezTo>
                    <a:pt x="5166" y="23981"/>
                    <a:pt x="5166" y="23981"/>
                    <a:pt x="5166" y="23981"/>
                  </a:cubicBezTo>
                  <a:cubicBezTo>
                    <a:pt x="5042" y="23981"/>
                    <a:pt x="5042" y="23981"/>
                    <a:pt x="5042" y="23981"/>
                  </a:cubicBezTo>
                  <a:cubicBezTo>
                    <a:pt x="5007" y="23981"/>
                    <a:pt x="4973" y="23980"/>
                    <a:pt x="4939" y="23978"/>
                  </a:cubicBezTo>
                  <a:cubicBezTo>
                    <a:pt x="4870" y="23974"/>
                    <a:pt x="4801" y="23971"/>
                    <a:pt x="4731" y="23962"/>
                  </a:cubicBezTo>
                  <a:cubicBezTo>
                    <a:pt x="4173" y="23900"/>
                    <a:pt x="3599" y="23689"/>
                    <a:pt x="3100" y="23379"/>
                  </a:cubicBezTo>
                  <a:cubicBezTo>
                    <a:pt x="2601" y="23071"/>
                    <a:pt x="2172" y="22654"/>
                    <a:pt x="1921" y="22193"/>
                  </a:cubicBezTo>
                  <a:cubicBezTo>
                    <a:pt x="1796" y="21962"/>
                    <a:pt x="1715" y="21724"/>
                    <a:pt x="1686" y="21486"/>
                  </a:cubicBezTo>
                  <a:cubicBezTo>
                    <a:pt x="1678" y="21426"/>
                    <a:pt x="1673" y="21367"/>
                    <a:pt x="1673" y="21307"/>
                  </a:cubicBezTo>
                  <a:cubicBezTo>
                    <a:pt x="1672" y="21057"/>
                    <a:pt x="1672" y="21057"/>
                    <a:pt x="1672" y="21057"/>
                  </a:cubicBezTo>
                  <a:cubicBezTo>
                    <a:pt x="1672" y="20527"/>
                    <a:pt x="1672" y="20527"/>
                    <a:pt x="1672" y="20527"/>
                  </a:cubicBezTo>
                  <a:cubicBezTo>
                    <a:pt x="1671" y="19818"/>
                    <a:pt x="1671" y="19111"/>
                    <a:pt x="1670" y="18403"/>
                  </a:cubicBezTo>
                  <a:cubicBezTo>
                    <a:pt x="1665" y="12851"/>
                    <a:pt x="1656" y="2017"/>
                    <a:pt x="1656" y="1785"/>
                  </a:cubicBezTo>
                  <a:cubicBezTo>
                    <a:pt x="1656" y="1552"/>
                    <a:pt x="1756" y="1551"/>
                    <a:pt x="1888" y="1551"/>
                  </a:cubicBezTo>
                  <a:cubicBezTo>
                    <a:pt x="2019" y="1551"/>
                    <a:pt x="3257" y="1549"/>
                    <a:pt x="3939" y="1548"/>
                  </a:cubicBezTo>
                  <a:cubicBezTo>
                    <a:pt x="4446" y="1547"/>
                    <a:pt x="4954" y="1546"/>
                    <a:pt x="5462" y="1545"/>
                  </a:cubicBezTo>
                  <a:cubicBezTo>
                    <a:pt x="5842" y="1544"/>
                    <a:pt x="5842" y="1544"/>
                    <a:pt x="5842" y="1544"/>
                  </a:cubicBezTo>
                  <a:cubicBezTo>
                    <a:pt x="6032" y="1544"/>
                    <a:pt x="6032" y="1544"/>
                    <a:pt x="6032" y="1544"/>
                  </a:cubicBezTo>
                  <a:cubicBezTo>
                    <a:pt x="6191" y="1549"/>
                    <a:pt x="6191" y="1549"/>
                    <a:pt x="6191" y="1549"/>
                  </a:cubicBezTo>
                  <a:cubicBezTo>
                    <a:pt x="6413" y="1559"/>
                    <a:pt x="6634" y="1584"/>
                    <a:pt x="6853" y="1621"/>
                  </a:cubicBezTo>
                  <a:cubicBezTo>
                    <a:pt x="7727" y="1767"/>
                    <a:pt x="8561" y="2128"/>
                    <a:pt x="9264" y="2656"/>
                  </a:cubicBezTo>
                  <a:cubicBezTo>
                    <a:pt x="9353" y="2721"/>
                    <a:pt x="9439" y="2790"/>
                    <a:pt x="9523" y="2861"/>
                  </a:cubicBezTo>
                  <a:cubicBezTo>
                    <a:pt x="9610" y="2934"/>
                    <a:pt x="9677" y="2994"/>
                    <a:pt x="9774" y="3086"/>
                  </a:cubicBezTo>
                  <a:cubicBezTo>
                    <a:pt x="9957" y="3255"/>
                    <a:pt x="10139" y="3425"/>
                    <a:pt x="10321" y="3594"/>
                  </a:cubicBezTo>
                  <a:cubicBezTo>
                    <a:pt x="10685" y="3931"/>
                    <a:pt x="11047" y="4267"/>
                    <a:pt x="11407" y="4602"/>
                  </a:cubicBezTo>
                  <a:cubicBezTo>
                    <a:pt x="12126" y="5268"/>
                    <a:pt x="12837" y="5926"/>
                    <a:pt x="13534" y="6573"/>
                  </a:cubicBezTo>
                  <a:cubicBezTo>
                    <a:pt x="13882" y="6895"/>
                    <a:pt x="14227" y="7215"/>
                    <a:pt x="14570" y="7531"/>
                  </a:cubicBezTo>
                  <a:cubicBezTo>
                    <a:pt x="14740" y="7689"/>
                    <a:pt x="14910" y="7846"/>
                    <a:pt x="15079" y="8001"/>
                  </a:cubicBezTo>
                  <a:cubicBezTo>
                    <a:pt x="15158" y="8075"/>
                    <a:pt x="15237" y="8148"/>
                    <a:pt x="15316" y="8221"/>
                  </a:cubicBezTo>
                  <a:cubicBezTo>
                    <a:pt x="15402" y="8304"/>
                    <a:pt x="15489" y="8387"/>
                    <a:pt x="15577" y="8470"/>
                  </a:cubicBezTo>
                  <a:cubicBezTo>
                    <a:pt x="16277" y="9122"/>
                    <a:pt x="17026" y="9687"/>
                    <a:pt x="17793" y="10161"/>
                  </a:cubicBezTo>
                  <a:cubicBezTo>
                    <a:pt x="19329" y="11113"/>
                    <a:pt x="20932" y="11699"/>
                    <a:pt x="22415" y="12022"/>
                  </a:cubicBezTo>
                  <a:cubicBezTo>
                    <a:pt x="23690" y="12299"/>
                    <a:pt x="24941" y="12404"/>
                    <a:pt x="26148" y="12379"/>
                  </a:cubicBezTo>
                  <a:cubicBezTo>
                    <a:pt x="27356" y="12352"/>
                    <a:pt x="28527" y="12195"/>
                    <a:pt x="29650" y="11913"/>
                  </a:cubicBezTo>
                  <a:cubicBezTo>
                    <a:pt x="30847" y="11614"/>
                    <a:pt x="31924" y="11185"/>
                    <a:pt x="32850" y="10698"/>
                  </a:cubicBezTo>
                  <a:cubicBezTo>
                    <a:pt x="33779" y="10211"/>
                    <a:pt x="34558" y="9669"/>
                    <a:pt x="35193" y="9144"/>
                  </a:cubicBezTo>
                  <a:cubicBezTo>
                    <a:pt x="35510" y="8882"/>
                    <a:pt x="35791" y="8626"/>
                    <a:pt x="36040" y="8381"/>
                  </a:cubicBezTo>
                  <a:cubicBezTo>
                    <a:pt x="36276" y="8145"/>
                    <a:pt x="36493" y="7927"/>
                    <a:pt x="36689" y="7728"/>
                  </a:cubicBezTo>
                  <a:cubicBezTo>
                    <a:pt x="37071" y="7341"/>
                    <a:pt x="37356" y="7044"/>
                    <a:pt x="37531" y="6852"/>
                  </a:cubicBezTo>
                  <a:cubicBezTo>
                    <a:pt x="38004" y="6364"/>
                    <a:pt x="38370" y="5976"/>
                    <a:pt x="38644" y="5676"/>
                  </a:cubicBezTo>
                  <a:cubicBezTo>
                    <a:pt x="38679" y="5636"/>
                    <a:pt x="38713" y="5598"/>
                    <a:pt x="38746" y="5561"/>
                  </a:cubicBezTo>
                  <a:cubicBezTo>
                    <a:pt x="38977" y="5305"/>
                    <a:pt x="39127" y="5124"/>
                    <a:pt x="39197" y="5020"/>
                  </a:cubicBezTo>
                  <a:cubicBezTo>
                    <a:pt x="39268" y="4915"/>
                    <a:pt x="39277" y="4867"/>
                    <a:pt x="39161" y="4935"/>
                  </a:cubicBezTo>
                  <a:cubicBezTo>
                    <a:pt x="39027" y="5015"/>
                    <a:pt x="38866" y="5119"/>
                    <a:pt x="38608" y="5316"/>
                  </a:cubicBezTo>
                  <a:cubicBezTo>
                    <a:pt x="38279" y="5567"/>
                    <a:pt x="37834" y="5929"/>
                    <a:pt x="37244" y="6429"/>
                  </a:cubicBezTo>
                  <a:cubicBezTo>
                    <a:pt x="36951" y="6679"/>
                    <a:pt x="36619" y="6963"/>
                    <a:pt x="36249" y="7286"/>
                  </a:cubicBezTo>
                  <a:cubicBezTo>
                    <a:pt x="36062" y="7448"/>
                    <a:pt x="35866" y="7619"/>
                    <a:pt x="35661" y="7797"/>
                  </a:cubicBezTo>
                  <a:cubicBezTo>
                    <a:pt x="35459" y="7975"/>
                    <a:pt x="35241" y="8155"/>
                    <a:pt x="35007" y="8337"/>
                  </a:cubicBezTo>
                  <a:cubicBezTo>
                    <a:pt x="34067" y="9063"/>
                    <a:pt x="32846" y="9823"/>
                    <a:pt x="31255" y="10402"/>
                  </a:cubicBezTo>
                  <a:cubicBezTo>
                    <a:pt x="29669" y="10978"/>
                    <a:pt x="27703" y="11362"/>
                    <a:pt x="25427" y="11242"/>
                  </a:cubicBezTo>
                  <a:cubicBezTo>
                    <a:pt x="25081" y="11207"/>
                    <a:pt x="24334" y="11158"/>
                    <a:pt x="23346" y="10965"/>
                  </a:cubicBezTo>
                  <a:cubicBezTo>
                    <a:pt x="22359" y="10774"/>
                    <a:pt x="21130" y="10426"/>
                    <a:pt x="19876" y="9816"/>
                  </a:cubicBezTo>
                  <a:cubicBezTo>
                    <a:pt x="19250" y="9514"/>
                    <a:pt x="18620" y="9147"/>
                    <a:pt x="18014" y="8720"/>
                  </a:cubicBezTo>
                  <a:cubicBezTo>
                    <a:pt x="17408" y="8294"/>
                    <a:pt x="16826" y="7807"/>
                    <a:pt x="16294" y="7273"/>
                  </a:cubicBezTo>
                  <a:cubicBezTo>
                    <a:pt x="15142" y="6181"/>
                    <a:pt x="13996" y="5093"/>
                    <a:pt x="12954" y="4106"/>
                  </a:cubicBezTo>
                  <a:cubicBezTo>
                    <a:pt x="12195" y="3383"/>
                    <a:pt x="11444" y="2669"/>
                    <a:pt x="10700" y="1961"/>
                  </a:cubicBezTo>
                  <a:cubicBezTo>
                    <a:pt x="9873" y="1181"/>
                    <a:pt x="8868" y="610"/>
                    <a:pt x="7785" y="303"/>
                  </a:cubicBezTo>
                  <a:cubicBezTo>
                    <a:pt x="7243" y="149"/>
                    <a:pt x="6687" y="61"/>
                    <a:pt x="6124" y="39"/>
                  </a:cubicBezTo>
                  <a:cubicBezTo>
                    <a:pt x="5614" y="35"/>
                    <a:pt x="5104" y="30"/>
                    <a:pt x="4593" y="25"/>
                  </a:cubicBezTo>
                  <a:cubicBezTo>
                    <a:pt x="3479" y="18"/>
                    <a:pt x="2118" y="0"/>
                    <a:pt x="1246" y="0"/>
                  </a:cubicBezTo>
                  <a:cubicBezTo>
                    <a:pt x="374" y="0"/>
                    <a:pt x="97" y="503"/>
                    <a:pt x="97" y="1138"/>
                  </a:cubicBezTo>
                  <a:cubicBezTo>
                    <a:pt x="97" y="1773"/>
                    <a:pt x="76" y="4185"/>
                    <a:pt x="67" y="5741"/>
                  </a:cubicBezTo>
                  <a:cubicBezTo>
                    <a:pt x="54" y="8177"/>
                    <a:pt x="41" y="10618"/>
                    <a:pt x="27" y="13148"/>
                  </a:cubicBezTo>
                  <a:cubicBezTo>
                    <a:pt x="19" y="15633"/>
                    <a:pt x="10" y="18190"/>
                    <a:pt x="1" y="20794"/>
                  </a:cubicBezTo>
                  <a:cubicBezTo>
                    <a:pt x="1" y="20958"/>
                    <a:pt x="1" y="21120"/>
                    <a:pt x="0" y="21286"/>
                  </a:cubicBezTo>
                  <a:cubicBezTo>
                    <a:pt x="1" y="21502"/>
                    <a:pt x="21" y="21720"/>
                    <a:pt x="64" y="21931"/>
                  </a:cubicBezTo>
                  <a:cubicBezTo>
                    <a:pt x="145" y="22357"/>
                    <a:pt x="307" y="22755"/>
                    <a:pt x="515" y="23110"/>
                  </a:cubicBezTo>
                  <a:cubicBezTo>
                    <a:pt x="936" y="23823"/>
                    <a:pt x="1524" y="24369"/>
                    <a:pt x="2175" y="24786"/>
                  </a:cubicBezTo>
                  <a:cubicBezTo>
                    <a:pt x="2830" y="25198"/>
                    <a:pt x="3559" y="25489"/>
                    <a:pt x="4348" y="25613"/>
                  </a:cubicBezTo>
                  <a:cubicBezTo>
                    <a:pt x="4545" y="25644"/>
                    <a:pt x="4746" y="25662"/>
                    <a:pt x="4951" y="25669"/>
                  </a:cubicBezTo>
                  <a:cubicBezTo>
                    <a:pt x="5223" y="25671"/>
                    <a:pt x="5223" y="25671"/>
                    <a:pt x="5223" y="25671"/>
                  </a:cubicBezTo>
                  <a:cubicBezTo>
                    <a:pt x="5478" y="25671"/>
                    <a:pt x="5478" y="25671"/>
                    <a:pt x="5478" y="25671"/>
                  </a:cubicBezTo>
                  <a:cubicBezTo>
                    <a:pt x="5650" y="25669"/>
                    <a:pt x="5823" y="25667"/>
                    <a:pt x="5997" y="25662"/>
                  </a:cubicBezTo>
                  <a:cubicBezTo>
                    <a:pt x="6262" y="25653"/>
                    <a:pt x="6262" y="25653"/>
                    <a:pt x="6262" y="25653"/>
                  </a:cubicBezTo>
                  <a:cubicBezTo>
                    <a:pt x="6398" y="25646"/>
                    <a:pt x="6398" y="25646"/>
                    <a:pt x="6398" y="25646"/>
                  </a:cubicBezTo>
                  <a:cubicBezTo>
                    <a:pt x="6471" y="25642"/>
                    <a:pt x="6546" y="25637"/>
                    <a:pt x="6619" y="25631"/>
                  </a:cubicBezTo>
                  <a:cubicBezTo>
                    <a:pt x="6912" y="25606"/>
                    <a:pt x="7209" y="25570"/>
                    <a:pt x="7459" y="25467"/>
                  </a:cubicBezTo>
                  <a:cubicBezTo>
                    <a:pt x="7583" y="25415"/>
                    <a:pt x="7696" y="25350"/>
                    <a:pt x="7800" y="25262"/>
                  </a:cubicBezTo>
                  <a:cubicBezTo>
                    <a:pt x="7904" y="25173"/>
                    <a:pt x="7994" y="25065"/>
                    <a:pt x="8059" y="24948"/>
                  </a:cubicBezTo>
                  <a:cubicBezTo>
                    <a:pt x="8125" y="24832"/>
                    <a:pt x="8170" y="24708"/>
                    <a:pt x="8202" y="24575"/>
                  </a:cubicBezTo>
                  <a:cubicBezTo>
                    <a:pt x="8217" y="24510"/>
                    <a:pt x="8229" y="24441"/>
                    <a:pt x="8237" y="24369"/>
                  </a:cubicBezTo>
                  <a:cubicBezTo>
                    <a:pt x="8240" y="24297"/>
                    <a:pt x="8241" y="24223"/>
                    <a:pt x="8242" y="24149"/>
                  </a:cubicBezTo>
                  <a:cubicBezTo>
                    <a:pt x="8252" y="23709"/>
                    <a:pt x="8252" y="23709"/>
                    <a:pt x="8252" y="23709"/>
                  </a:cubicBezTo>
                  <a:cubicBezTo>
                    <a:pt x="8252" y="23446"/>
                    <a:pt x="8252" y="23446"/>
                    <a:pt x="8252" y="23446"/>
                  </a:cubicBezTo>
                  <a:cubicBezTo>
                    <a:pt x="8253" y="22775"/>
                    <a:pt x="8253" y="22106"/>
                    <a:pt x="8254" y="21434"/>
                  </a:cubicBezTo>
                  <a:cubicBezTo>
                    <a:pt x="8254" y="20094"/>
                    <a:pt x="8253" y="18751"/>
                    <a:pt x="8253" y="17409"/>
                  </a:cubicBezTo>
                  <a:cubicBezTo>
                    <a:pt x="8253" y="17159"/>
                    <a:pt x="8253" y="17159"/>
                    <a:pt x="8253" y="17159"/>
                  </a:cubicBezTo>
                  <a:cubicBezTo>
                    <a:pt x="8253" y="17036"/>
                    <a:pt x="8253" y="17036"/>
                    <a:pt x="8253" y="17036"/>
                  </a:cubicBezTo>
                  <a:cubicBezTo>
                    <a:pt x="8254" y="17005"/>
                    <a:pt x="8254" y="16975"/>
                    <a:pt x="8255" y="16944"/>
                  </a:cubicBezTo>
                  <a:cubicBezTo>
                    <a:pt x="8261" y="16818"/>
                    <a:pt x="8275" y="16695"/>
                    <a:pt x="8298" y="16573"/>
                  </a:cubicBezTo>
                  <a:cubicBezTo>
                    <a:pt x="8346" y="16327"/>
                    <a:pt x="8430" y="16091"/>
                    <a:pt x="8547" y="15871"/>
                  </a:cubicBezTo>
                  <a:cubicBezTo>
                    <a:pt x="8781" y="15429"/>
                    <a:pt x="9152" y="15058"/>
                    <a:pt x="9588" y="14825"/>
                  </a:cubicBezTo>
                  <a:cubicBezTo>
                    <a:pt x="9806" y="14708"/>
                    <a:pt x="10040" y="14625"/>
                    <a:pt x="10280" y="14580"/>
                  </a:cubicBezTo>
                  <a:cubicBezTo>
                    <a:pt x="10399" y="14557"/>
                    <a:pt x="10521" y="14544"/>
                    <a:pt x="10643" y="14540"/>
                  </a:cubicBezTo>
                  <a:cubicBezTo>
                    <a:pt x="10700" y="14539"/>
                    <a:pt x="10774" y="14539"/>
                    <a:pt x="10845" y="14540"/>
                  </a:cubicBezTo>
                  <a:cubicBezTo>
                    <a:pt x="10915" y="14542"/>
                    <a:pt x="10986" y="14544"/>
                    <a:pt x="11057" y="14549"/>
                  </a:cubicBezTo>
                  <a:cubicBezTo>
                    <a:pt x="11622" y="14587"/>
                    <a:pt x="12181" y="14723"/>
                    <a:pt x="12720" y="14939"/>
                  </a:cubicBezTo>
                  <a:cubicBezTo>
                    <a:pt x="13804" y="15372"/>
                    <a:pt x="14799" y="16113"/>
                    <a:pt x="15742" y="16933"/>
                  </a:cubicBezTo>
                  <a:cubicBezTo>
                    <a:pt x="16215" y="17346"/>
                    <a:pt x="16679" y="17779"/>
                    <a:pt x="17149" y="18219"/>
                  </a:cubicBezTo>
                  <a:cubicBezTo>
                    <a:pt x="17384" y="18437"/>
                    <a:pt x="17622" y="18659"/>
                    <a:pt x="17864" y="18877"/>
                  </a:cubicBezTo>
                  <a:cubicBezTo>
                    <a:pt x="18104" y="19090"/>
                    <a:pt x="18342" y="19301"/>
                    <a:pt x="18580" y="19512"/>
                  </a:cubicBezTo>
                  <a:cubicBezTo>
                    <a:pt x="19519" y="20346"/>
                    <a:pt x="20434" y="21212"/>
                    <a:pt x="21439" y="22011"/>
                  </a:cubicBezTo>
                  <a:cubicBezTo>
                    <a:pt x="21944" y="22407"/>
                    <a:pt x="22473" y="22790"/>
                    <a:pt x="23055" y="23116"/>
                  </a:cubicBezTo>
                  <a:cubicBezTo>
                    <a:pt x="23634" y="23440"/>
                    <a:pt x="24275" y="23711"/>
                    <a:pt x="24961" y="23846"/>
                  </a:cubicBezTo>
                  <a:cubicBezTo>
                    <a:pt x="25645" y="23985"/>
                    <a:pt x="26367" y="23976"/>
                    <a:pt x="27032" y="23830"/>
                  </a:cubicBezTo>
                  <a:cubicBezTo>
                    <a:pt x="27702" y="23686"/>
                    <a:pt x="28308" y="23421"/>
                    <a:pt x="28852" y="23112"/>
                  </a:cubicBezTo>
                  <a:cubicBezTo>
                    <a:pt x="29396" y="22804"/>
                    <a:pt x="29883" y="22452"/>
                    <a:pt x="30339" y="22092"/>
                  </a:cubicBezTo>
                  <a:cubicBezTo>
                    <a:pt x="30793" y="21731"/>
                    <a:pt x="31217" y="21361"/>
                    <a:pt x="31626" y="20994"/>
                  </a:cubicBezTo>
                  <a:cubicBezTo>
                    <a:pt x="32034" y="20626"/>
                    <a:pt x="32426" y="20262"/>
                    <a:pt x="32811" y="19905"/>
                  </a:cubicBezTo>
                  <a:cubicBezTo>
                    <a:pt x="33002" y="19728"/>
                    <a:pt x="33193" y="19553"/>
                    <a:pt x="33382" y="19378"/>
                  </a:cubicBezTo>
                  <a:cubicBezTo>
                    <a:pt x="33574" y="19205"/>
                    <a:pt x="33765" y="19030"/>
                    <a:pt x="33954" y="18859"/>
                  </a:cubicBezTo>
                  <a:cubicBezTo>
                    <a:pt x="34720" y="18152"/>
                    <a:pt x="35408" y="17460"/>
                    <a:pt x="36096" y="16843"/>
                  </a:cubicBezTo>
                  <a:cubicBezTo>
                    <a:pt x="36740" y="16264"/>
                    <a:pt x="37383" y="15749"/>
                    <a:pt x="38041" y="15336"/>
                  </a:cubicBezTo>
                  <a:cubicBezTo>
                    <a:pt x="38697" y="14923"/>
                    <a:pt x="39367" y="14620"/>
                    <a:pt x="40031" y="14454"/>
                  </a:cubicBezTo>
                  <a:cubicBezTo>
                    <a:pt x="40358" y="14371"/>
                    <a:pt x="40681" y="14320"/>
                    <a:pt x="40998" y="14299"/>
                  </a:cubicBezTo>
                  <a:cubicBezTo>
                    <a:pt x="41077" y="14295"/>
                    <a:pt x="41155" y="14290"/>
                    <a:pt x="41234" y="14288"/>
                  </a:cubicBezTo>
                  <a:cubicBezTo>
                    <a:pt x="41309" y="14288"/>
                    <a:pt x="41376" y="14288"/>
                    <a:pt x="41447" y="14292"/>
                  </a:cubicBezTo>
                  <a:cubicBezTo>
                    <a:pt x="41586" y="14299"/>
                    <a:pt x="41724" y="14319"/>
                    <a:pt x="41859" y="14346"/>
                  </a:cubicBezTo>
                  <a:cubicBezTo>
                    <a:pt x="42394" y="14461"/>
                    <a:pt x="42865" y="14737"/>
                    <a:pt x="43221" y="15092"/>
                  </a:cubicBezTo>
                  <a:cubicBezTo>
                    <a:pt x="43579" y="15446"/>
                    <a:pt x="43825" y="15877"/>
                    <a:pt x="43955" y="16317"/>
                  </a:cubicBezTo>
                  <a:cubicBezTo>
                    <a:pt x="44020" y="16536"/>
                    <a:pt x="44057" y="16762"/>
                    <a:pt x="44068" y="16982"/>
                  </a:cubicBezTo>
                  <a:cubicBezTo>
                    <a:pt x="44074" y="17238"/>
                    <a:pt x="44081" y="17489"/>
                    <a:pt x="44087" y="17737"/>
                  </a:cubicBezTo>
                  <a:cubicBezTo>
                    <a:pt x="44114" y="18733"/>
                    <a:pt x="44138" y="19658"/>
                    <a:pt x="44161" y="20559"/>
                  </a:cubicBezTo>
                  <a:cubicBezTo>
                    <a:pt x="44167" y="20783"/>
                    <a:pt x="44174" y="21006"/>
                    <a:pt x="44179" y="21228"/>
                  </a:cubicBezTo>
                  <a:cubicBezTo>
                    <a:pt x="44181" y="21279"/>
                    <a:pt x="44183" y="21351"/>
                    <a:pt x="44188" y="21412"/>
                  </a:cubicBezTo>
                  <a:cubicBezTo>
                    <a:pt x="44192" y="21475"/>
                    <a:pt x="44199" y="21540"/>
                    <a:pt x="44208" y="21603"/>
                  </a:cubicBezTo>
                  <a:cubicBezTo>
                    <a:pt x="44226" y="21729"/>
                    <a:pt x="44251" y="21854"/>
                    <a:pt x="44286" y="21975"/>
                  </a:cubicBezTo>
                  <a:cubicBezTo>
                    <a:pt x="44421" y="22461"/>
                    <a:pt x="44673" y="22894"/>
                    <a:pt x="44984" y="23266"/>
                  </a:cubicBezTo>
                  <a:cubicBezTo>
                    <a:pt x="45504" y="23884"/>
                    <a:pt x="46224" y="24380"/>
                    <a:pt x="47027" y="24697"/>
                  </a:cubicBezTo>
                  <a:cubicBezTo>
                    <a:pt x="47430" y="24856"/>
                    <a:pt x="47855" y="24969"/>
                    <a:pt x="48288" y="25022"/>
                  </a:cubicBezTo>
                  <a:cubicBezTo>
                    <a:pt x="48505" y="25047"/>
                    <a:pt x="48728" y="25056"/>
                    <a:pt x="48940" y="25049"/>
                  </a:cubicBezTo>
                  <a:cubicBezTo>
                    <a:pt x="49147" y="25043"/>
                    <a:pt x="49351" y="25036"/>
                    <a:pt x="49556" y="25025"/>
                  </a:cubicBezTo>
                  <a:cubicBezTo>
                    <a:pt x="49657" y="25020"/>
                    <a:pt x="49759" y="25014"/>
                    <a:pt x="49861" y="25009"/>
                  </a:cubicBezTo>
                  <a:cubicBezTo>
                    <a:pt x="49965" y="25000"/>
                    <a:pt x="50070" y="24993"/>
                    <a:pt x="50174" y="24986"/>
                  </a:cubicBezTo>
                  <a:cubicBezTo>
                    <a:pt x="50405" y="24964"/>
                    <a:pt x="50636" y="24939"/>
                    <a:pt x="50841" y="24879"/>
                  </a:cubicBezTo>
                  <a:cubicBezTo>
                    <a:pt x="50892" y="24863"/>
                    <a:pt x="50942" y="24845"/>
                    <a:pt x="50989" y="24822"/>
                  </a:cubicBezTo>
                  <a:cubicBezTo>
                    <a:pt x="51036" y="24798"/>
                    <a:pt x="51079" y="24764"/>
                    <a:pt x="51117" y="24726"/>
                  </a:cubicBezTo>
                  <a:cubicBezTo>
                    <a:pt x="51193" y="24650"/>
                    <a:pt x="51237" y="24549"/>
                    <a:pt x="51260" y="24450"/>
                  </a:cubicBezTo>
                  <a:cubicBezTo>
                    <a:pt x="51304" y="24248"/>
                    <a:pt x="51285" y="24035"/>
                    <a:pt x="51284" y="23835"/>
                  </a:cubicBezTo>
                  <a:cubicBezTo>
                    <a:pt x="51281" y="23742"/>
                    <a:pt x="51280" y="23648"/>
                    <a:pt x="51278" y="23556"/>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6" name="Freeform 40"/>
            <p:cNvSpPr>
              <a:spLocks/>
            </p:cNvSpPr>
            <p:nvPr userDrawn="1"/>
          </p:nvSpPr>
          <p:spPr bwMode="auto">
            <a:xfrm>
              <a:off x="-83958112" y="19589750"/>
              <a:ext cx="174477363" cy="95365887"/>
            </a:xfrm>
            <a:custGeom>
              <a:avLst/>
              <a:gdLst>
                <a:gd name="T0" fmla="*/ 45081 w 46525"/>
                <a:gd name="T1" fmla="*/ 22916 h 25428"/>
                <a:gd name="T2" fmla="*/ 44338 w 46525"/>
                <a:gd name="T3" fmla="*/ 21302 h 25428"/>
                <a:gd name="T4" fmla="*/ 44248 w 46525"/>
                <a:gd name="T5" fmla="*/ 18713 h 25428"/>
                <a:gd name="T6" fmla="*/ 44198 w 46525"/>
                <a:gd name="T7" fmla="*/ 16820 h 25428"/>
                <a:gd name="T8" fmla="*/ 43209 w 46525"/>
                <a:gd name="T9" fmla="*/ 14732 h 25428"/>
                <a:gd name="T10" fmla="*/ 41000 w 46525"/>
                <a:gd name="T11" fmla="*/ 13928 h 25428"/>
                <a:gd name="T12" fmla="*/ 36673 w 46525"/>
                <a:gd name="T13" fmla="*/ 15821 h 25428"/>
                <a:gd name="T14" fmla="*/ 31594 w 46525"/>
                <a:gd name="T15" fmla="*/ 20500 h 25428"/>
                <a:gd name="T16" fmla="*/ 27186 w 46525"/>
                <a:gd name="T17" fmla="*/ 23435 h 25428"/>
                <a:gd name="T18" fmla="*/ 22870 w 46525"/>
                <a:gd name="T19" fmla="*/ 22741 h 25428"/>
                <a:gd name="T20" fmla="*/ 18427 w 46525"/>
                <a:gd name="T21" fmla="*/ 19131 h 25428"/>
                <a:gd name="T22" fmla="*/ 15190 w 46525"/>
                <a:gd name="T23" fmla="*/ 16239 h 25428"/>
                <a:gd name="T24" fmla="*/ 10883 w 46525"/>
                <a:gd name="T25" fmla="*/ 14279 h 25428"/>
                <a:gd name="T26" fmla="*/ 9150 w 46525"/>
                <a:gd name="T27" fmla="*/ 14730 h 25428"/>
                <a:gd name="T28" fmla="*/ 7993 w 46525"/>
                <a:gd name="T29" fmla="*/ 16935 h 25428"/>
                <a:gd name="T30" fmla="*/ 7995 w 46525"/>
                <a:gd name="T31" fmla="*/ 18300 h 25428"/>
                <a:gd name="T32" fmla="*/ 8002 w 46525"/>
                <a:gd name="T33" fmla="*/ 23415 h 25428"/>
                <a:gd name="T34" fmla="*/ 8001 w 46525"/>
                <a:gd name="T35" fmla="*/ 23646 h 25428"/>
                <a:gd name="T36" fmla="*/ 7908 w 46525"/>
                <a:gd name="T37" fmla="*/ 24587 h 25428"/>
                <a:gd name="T38" fmla="*/ 6120 w 46525"/>
                <a:gd name="T39" fmla="*/ 25410 h 25428"/>
                <a:gd name="T40" fmla="*/ 5092 w 46525"/>
                <a:gd name="T41" fmla="*/ 25428 h 25428"/>
                <a:gd name="T42" fmla="*/ 3723 w 46525"/>
                <a:gd name="T43" fmla="*/ 25264 h 25428"/>
                <a:gd name="T44" fmla="*/ 232 w 46525"/>
                <a:gd name="T45" fmla="*/ 22380 h 25428"/>
                <a:gd name="T46" fmla="*/ 0 w 46525"/>
                <a:gd name="T47" fmla="*/ 21138 h 25428"/>
                <a:gd name="T48" fmla="*/ 3 w 46525"/>
                <a:gd name="T49" fmla="*/ 19732 h 25428"/>
                <a:gd name="T50" fmla="*/ 1172 w 46525"/>
                <a:gd name="T51" fmla="*/ 0 h 25428"/>
                <a:gd name="T52" fmla="*/ 6138 w 46525"/>
                <a:gd name="T53" fmla="*/ 40 h 25428"/>
                <a:gd name="T54" fmla="*/ 7478 w 46525"/>
                <a:gd name="T55" fmla="*/ 250 h 25428"/>
                <a:gd name="T56" fmla="*/ 10550 w 46525"/>
                <a:gd name="T57" fmla="*/ 1974 h 25428"/>
                <a:gd name="T58" fmla="*/ 12103 w 46525"/>
                <a:gd name="T59" fmla="*/ 3460 h 25428"/>
                <a:gd name="T60" fmla="*/ 15899 w 46525"/>
                <a:gd name="T61" fmla="*/ 7099 h 25428"/>
                <a:gd name="T62" fmla="*/ 16518 w 46525"/>
                <a:gd name="T63" fmla="*/ 7699 h 25428"/>
                <a:gd name="T64" fmla="*/ 24413 w 46525"/>
                <a:gd name="T65" fmla="*/ 11240 h 25428"/>
                <a:gd name="T66" fmla="*/ 33252 w 46525"/>
                <a:gd name="T67" fmla="*/ 9663 h 25428"/>
                <a:gd name="T68" fmla="*/ 31776 w 46525"/>
                <a:gd name="T69" fmla="*/ 10761 h 25428"/>
                <a:gd name="T70" fmla="*/ 24737 w 46525"/>
                <a:gd name="T71" fmla="*/ 12098 h 25428"/>
                <a:gd name="T72" fmla="*/ 15373 w 46525"/>
                <a:gd name="T73" fmla="*/ 8037 h 25428"/>
                <a:gd name="T74" fmla="*/ 15133 w 46525"/>
                <a:gd name="T75" fmla="*/ 7811 h 25428"/>
                <a:gd name="T76" fmla="*/ 11552 w 46525"/>
                <a:gd name="T77" fmla="*/ 4476 h 25428"/>
                <a:gd name="T78" fmla="*/ 9726 w 46525"/>
                <a:gd name="T79" fmla="*/ 2773 h 25428"/>
                <a:gd name="T80" fmla="*/ 9481 w 46525"/>
                <a:gd name="T81" fmla="*/ 2558 h 25428"/>
                <a:gd name="T82" fmla="*/ 4383 w 46525"/>
                <a:gd name="T83" fmla="*/ 1236 h 25428"/>
                <a:gd name="T84" fmla="*/ 1401 w 46525"/>
                <a:gd name="T85" fmla="*/ 19072 h 25428"/>
                <a:gd name="T86" fmla="*/ 1408 w 46525"/>
                <a:gd name="T87" fmla="*/ 21014 h 25428"/>
                <a:gd name="T88" fmla="*/ 2150 w 46525"/>
                <a:gd name="T89" fmla="*/ 22770 h 25428"/>
                <a:gd name="T90" fmla="*/ 4852 w 46525"/>
                <a:gd name="T91" fmla="*/ 23987 h 25428"/>
                <a:gd name="T92" fmla="*/ 5638 w 46525"/>
                <a:gd name="T93" fmla="*/ 23980 h 25428"/>
                <a:gd name="T94" fmla="*/ 6271 w 46525"/>
                <a:gd name="T95" fmla="*/ 23951 h 25428"/>
                <a:gd name="T96" fmla="*/ 6527 w 46525"/>
                <a:gd name="T97" fmla="*/ 23854 h 25428"/>
                <a:gd name="T98" fmla="*/ 6511 w 46525"/>
                <a:gd name="T99" fmla="*/ 17404 h 25428"/>
                <a:gd name="T100" fmla="*/ 7014 w 46525"/>
                <a:gd name="T101" fmla="*/ 14932 h 25428"/>
                <a:gd name="T102" fmla="*/ 10633 w 46525"/>
                <a:gd name="T103" fmla="*/ 12779 h 25428"/>
                <a:gd name="T104" fmla="*/ 13931 w 46525"/>
                <a:gd name="T105" fmla="*/ 13628 h 25428"/>
                <a:gd name="T106" fmla="*/ 18455 w 46525"/>
                <a:gd name="T107" fmla="*/ 17222 h 25428"/>
                <a:gd name="T108" fmla="*/ 20887 w 46525"/>
                <a:gd name="T109" fmla="*/ 19441 h 25428"/>
                <a:gd name="T110" fmla="*/ 25829 w 46525"/>
                <a:gd name="T111" fmla="*/ 22317 h 25428"/>
                <a:gd name="T112" fmla="*/ 30470 w 46525"/>
                <a:gd name="T113" fmla="*/ 19910 h 25428"/>
                <a:gd name="T114" fmla="*/ 32789 w 46525"/>
                <a:gd name="T115" fmla="*/ 17876 h 25428"/>
                <a:gd name="T116" fmla="*/ 37500 w 46525"/>
                <a:gd name="T117" fmla="*/ 14056 h 25428"/>
                <a:gd name="T118" fmla="*/ 43119 w 46525"/>
                <a:gd name="T119" fmla="*/ 13639 h 25428"/>
                <a:gd name="T120" fmla="*/ 44875 w 46525"/>
                <a:gd name="T121" fmla="*/ 19688 h 25428"/>
                <a:gd name="T122" fmla="*/ 44856 w 46525"/>
                <a:gd name="T123" fmla="*/ 21421 h 25428"/>
                <a:gd name="T124" fmla="*/ 46280 w 46525"/>
                <a:gd name="T125" fmla="*/ 23599 h 25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525" h="25428">
                  <a:moveTo>
                    <a:pt x="46364" y="23837"/>
                  </a:moveTo>
                  <a:cubicBezTo>
                    <a:pt x="46254" y="23799"/>
                    <a:pt x="46079" y="23720"/>
                    <a:pt x="45856" y="23578"/>
                  </a:cubicBezTo>
                  <a:cubicBezTo>
                    <a:pt x="45634" y="23433"/>
                    <a:pt x="45359" y="23228"/>
                    <a:pt x="45081" y="22916"/>
                  </a:cubicBezTo>
                  <a:cubicBezTo>
                    <a:pt x="44896" y="22707"/>
                    <a:pt x="44709" y="22451"/>
                    <a:pt x="44563" y="22128"/>
                  </a:cubicBezTo>
                  <a:cubicBezTo>
                    <a:pt x="44490" y="21968"/>
                    <a:pt x="44428" y="21791"/>
                    <a:pt x="44385" y="21600"/>
                  </a:cubicBezTo>
                  <a:cubicBezTo>
                    <a:pt x="44364" y="21504"/>
                    <a:pt x="44348" y="21405"/>
                    <a:pt x="44338" y="21302"/>
                  </a:cubicBezTo>
                  <a:cubicBezTo>
                    <a:pt x="44331" y="21252"/>
                    <a:pt x="44330" y="21198"/>
                    <a:pt x="44326" y="21145"/>
                  </a:cubicBezTo>
                  <a:cubicBezTo>
                    <a:pt x="44323" y="21095"/>
                    <a:pt x="44321" y="21044"/>
                    <a:pt x="44320" y="20994"/>
                  </a:cubicBezTo>
                  <a:cubicBezTo>
                    <a:pt x="44296" y="20334"/>
                    <a:pt x="44271" y="19571"/>
                    <a:pt x="44248" y="18713"/>
                  </a:cubicBezTo>
                  <a:cubicBezTo>
                    <a:pt x="44237" y="18282"/>
                    <a:pt x="44226" y="17829"/>
                    <a:pt x="44213" y="17357"/>
                  </a:cubicBezTo>
                  <a:cubicBezTo>
                    <a:pt x="44210" y="17236"/>
                    <a:pt x="44207" y="17115"/>
                    <a:pt x="44204" y="16995"/>
                  </a:cubicBezTo>
                  <a:cubicBezTo>
                    <a:pt x="44202" y="16932"/>
                    <a:pt x="44201" y="16876"/>
                    <a:pt x="44198" y="16820"/>
                  </a:cubicBezTo>
                  <a:cubicBezTo>
                    <a:pt x="44194" y="16762"/>
                    <a:pt x="44190" y="16706"/>
                    <a:pt x="44183" y="16648"/>
                  </a:cubicBezTo>
                  <a:cubicBezTo>
                    <a:pt x="44155" y="16419"/>
                    <a:pt x="44103" y="16189"/>
                    <a:pt x="44022" y="15963"/>
                  </a:cubicBezTo>
                  <a:cubicBezTo>
                    <a:pt x="43862" y="15513"/>
                    <a:pt x="43586" y="15082"/>
                    <a:pt x="43209" y="14732"/>
                  </a:cubicBezTo>
                  <a:cubicBezTo>
                    <a:pt x="42834" y="14380"/>
                    <a:pt x="42356" y="14113"/>
                    <a:pt x="41826" y="13994"/>
                  </a:cubicBezTo>
                  <a:cubicBezTo>
                    <a:pt x="41694" y="13964"/>
                    <a:pt x="41559" y="13944"/>
                    <a:pt x="41422" y="13931"/>
                  </a:cubicBezTo>
                  <a:cubicBezTo>
                    <a:pt x="41283" y="13920"/>
                    <a:pt x="41151" y="13920"/>
                    <a:pt x="41000" y="13928"/>
                  </a:cubicBezTo>
                  <a:cubicBezTo>
                    <a:pt x="40706" y="13940"/>
                    <a:pt x="40409" y="13976"/>
                    <a:pt x="40113" y="14038"/>
                  </a:cubicBezTo>
                  <a:cubicBezTo>
                    <a:pt x="39518" y="14158"/>
                    <a:pt x="38927" y="14382"/>
                    <a:pt x="38351" y="14688"/>
                  </a:cubicBezTo>
                  <a:cubicBezTo>
                    <a:pt x="37776" y="14995"/>
                    <a:pt x="37219" y="15381"/>
                    <a:pt x="36673" y="15821"/>
                  </a:cubicBezTo>
                  <a:cubicBezTo>
                    <a:pt x="36126" y="16259"/>
                    <a:pt x="35593" y="16751"/>
                    <a:pt x="35052" y="17267"/>
                  </a:cubicBezTo>
                  <a:cubicBezTo>
                    <a:pt x="34509" y="17783"/>
                    <a:pt x="33955" y="18333"/>
                    <a:pt x="33362" y="18866"/>
                  </a:cubicBezTo>
                  <a:cubicBezTo>
                    <a:pt x="32783" y="19391"/>
                    <a:pt x="32201" y="19943"/>
                    <a:pt x="31594" y="20500"/>
                  </a:cubicBezTo>
                  <a:cubicBezTo>
                    <a:pt x="30985" y="21057"/>
                    <a:pt x="30351" y="21621"/>
                    <a:pt x="29641" y="22148"/>
                  </a:cubicBezTo>
                  <a:cubicBezTo>
                    <a:pt x="29286" y="22411"/>
                    <a:pt x="28909" y="22662"/>
                    <a:pt x="28503" y="22885"/>
                  </a:cubicBezTo>
                  <a:cubicBezTo>
                    <a:pt x="28095" y="23107"/>
                    <a:pt x="27657" y="23300"/>
                    <a:pt x="27186" y="23435"/>
                  </a:cubicBezTo>
                  <a:cubicBezTo>
                    <a:pt x="26714" y="23570"/>
                    <a:pt x="26211" y="23639"/>
                    <a:pt x="25705" y="23626"/>
                  </a:cubicBezTo>
                  <a:cubicBezTo>
                    <a:pt x="25199" y="23616"/>
                    <a:pt x="24694" y="23520"/>
                    <a:pt x="24218" y="23361"/>
                  </a:cubicBezTo>
                  <a:cubicBezTo>
                    <a:pt x="23741" y="23204"/>
                    <a:pt x="23291" y="22988"/>
                    <a:pt x="22870" y="22741"/>
                  </a:cubicBezTo>
                  <a:cubicBezTo>
                    <a:pt x="22447" y="22494"/>
                    <a:pt x="22050" y="22216"/>
                    <a:pt x="21668" y="21926"/>
                  </a:cubicBezTo>
                  <a:cubicBezTo>
                    <a:pt x="20903" y="21345"/>
                    <a:pt x="20195" y="20711"/>
                    <a:pt x="19488" y="20080"/>
                  </a:cubicBezTo>
                  <a:cubicBezTo>
                    <a:pt x="19136" y="19764"/>
                    <a:pt x="18782" y="19449"/>
                    <a:pt x="18427" y="19131"/>
                  </a:cubicBezTo>
                  <a:cubicBezTo>
                    <a:pt x="18246" y="18973"/>
                    <a:pt x="18065" y="18812"/>
                    <a:pt x="17884" y="18654"/>
                  </a:cubicBezTo>
                  <a:cubicBezTo>
                    <a:pt x="17700" y="18489"/>
                    <a:pt x="17520" y="18325"/>
                    <a:pt x="17342" y="18159"/>
                  </a:cubicBezTo>
                  <a:cubicBezTo>
                    <a:pt x="16627" y="17500"/>
                    <a:pt x="15928" y="16836"/>
                    <a:pt x="15190" y="16239"/>
                  </a:cubicBezTo>
                  <a:cubicBezTo>
                    <a:pt x="14453" y="15644"/>
                    <a:pt x="13673" y="15112"/>
                    <a:pt x="12836" y="14752"/>
                  </a:cubicBezTo>
                  <a:cubicBezTo>
                    <a:pt x="12418" y="14571"/>
                    <a:pt x="11987" y="14436"/>
                    <a:pt x="11547" y="14357"/>
                  </a:cubicBezTo>
                  <a:cubicBezTo>
                    <a:pt x="11328" y="14317"/>
                    <a:pt x="11106" y="14290"/>
                    <a:pt x="10883" y="14279"/>
                  </a:cubicBezTo>
                  <a:cubicBezTo>
                    <a:pt x="10774" y="14272"/>
                    <a:pt x="10655" y="14270"/>
                    <a:pt x="10553" y="14272"/>
                  </a:cubicBezTo>
                  <a:cubicBezTo>
                    <a:pt x="10454" y="14276"/>
                    <a:pt x="10355" y="14283"/>
                    <a:pt x="10257" y="14295"/>
                  </a:cubicBezTo>
                  <a:cubicBezTo>
                    <a:pt x="9863" y="14351"/>
                    <a:pt x="9482" y="14501"/>
                    <a:pt x="9150" y="14730"/>
                  </a:cubicBezTo>
                  <a:cubicBezTo>
                    <a:pt x="8818" y="14961"/>
                    <a:pt x="8536" y="15269"/>
                    <a:pt x="8335" y="15623"/>
                  </a:cubicBezTo>
                  <a:cubicBezTo>
                    <a:pt x="8135" y="15978"/>
                    <a:pt x="8018" y="16376"/>
                    <a:pt x="7997" y="16782"/>
                  </a:cubicBezTo>
                  <a:cubicBezTo>
                    <a:pt x="7994" y="16834"/>
                    <a:pt x="7993" y="16883"/>
                    <a:pt x="7993" y="16935"/>
                  </a:cubicBezTo>
                  <a:cubicBezTo>
                    <a:pt x="7993" y="17130"/>
                    <a:pt x="7993" y="17130"/>
                    <a:pt x="7993" y="17130"/>
                  </a:cubicBezTo>
                  <a:cubicBezTo>
                    <a:pt x="7994" y="17519"/>
                    <a:pt x="7994" y="17519"/>
                    <a:pt x="7994" y="17519"/>
                  </a:cubicBezTo>
                  <a:cubicBezTo>
                    <a:pt x="7995" y="17779"/>
                    <a:pt x="7995" y="18040"/>
                    <a:pt x="7995" y="18300"/>
                  </a:cubicBezTo>
                  <a:cubicBezTo>
                    <a:pt x="7998" y="19342"/>
                    <a:pt x="7999" y="20388"/>
                    <a:pt x="8001" y="21439"/>
                  </a:cubicBezTo>
                  <a:cubicBezTo>
                    <a:pt x="8001" y="21966"/>
                    <a:pt x="8002" y="22492"/>
                    <a:pt x="8002" y="23019"/>
                  </a:cubicBezTo>
                  <a:cubicBezTo>
                    <a:pt x="8002" y="23415"/>
                    <a:pt x="8002" y="23415"/>
                    <a:pt x="8002" y="23415"/>
                  </a:cubicBezTo>
                  <a:cubicBezTo>
                    <a:pt x="8002" y="23515"/>
                    <a:pt x="8002" y="23515"/>
                    <a:pt x="8002" y="23515"/>
                  </a:cubicBezTo>
                  <a:cubicBezTo>
                    <a:pt x="8002" y="23563"/>
                    <a:pt x="8002" y="23563"/>
                    <a:pt x="8002" y="23563"/>
                  </a:cubicBezTo>
                  <a:cubicBezTo>
                    <a:pt x="8001" y="23646"/>
                    <a:pt x="8001" y="23646"/>
                    <a:pt x="8001" y="23646"/>
                  </a:cubicBezTo>
                  <a:cubicBezTo>
                    <a:pt x="7995" y="23973"/>
                    <a:pt x="7995" y="23973"/>
                    <a:pt x="7995" y="23973"/>
                  </a:cubicBezTo>
                  <a:cubicBezTo>
                    <a:pt x="7990" y="24079"/>
                    <a:pt x="7997" y="24193"/>
                    <a:pt x="7979" y="24293"/>
                  </a:cubicBezTo>
                  <a:cubicBezTo>
                    <a:pt x="7964" y="24396"/>
                    <a:pt x="7940" y="24494"/>
                    <a:pt x="7908" y="24587"/>
                  </a:cubicBezTo>
                  <a:cubicBezTo>
                    <a:pt x="7844" y="24771"/>
                    <a:pt x="7726" y="24950"/>
                    <a:pt x="7563" y="25074"/>
                  </a:cubicBezTo>
                  <a:cubicBezTo>
                    <a:pt x="7252" y="25318"/>
                    <a:pt x="6804" y="25365"/>
                    <a:pt x="6368" y="25395"/>
                  </a:cubicBezTo>
                  <a:cubicBezTo>
                    <a:pt x="6120" y="25410"/>
                    <a:pt x="6120" y="25410"/>
                    <a:pt x="6120" y="25410"/>
                  </a:cubicBezTo>
                  <a:cubicBezTo>
                    <a:pt x="5911" y="25417"/>
                    <a:pt x="5911" y="25417"/>
                    <a:pt x="5911" y="25417"/>
                  </a:cubicBezTo>
                  <a:cubicBezTo>
                    <a:pt x="5773" y="25422"/>
                    <a:pt x="5636" y="25424"/>
                    <a:pt x="5499" y="25426"/>
                  </a:cubicBezTo>
                  <a:cubicBezTo>
                    <a:pt x="5092" y="25428"/>
                    <a:pt x="5092" y="25428"/>
                    <a:pt x="5092" y="25428"/>
                  </a:cubicBezTo>
                  <a:cubicBezTo>
                    <a:pt x="4881" y="25426"/>
                    <a:pt x="4881" y="25426"/>
                    <a:pt x="4881" y="25426"/>
                  </a:cubicBezTo>
                  <a:cubicBezTo>
                    <a:pt x="4802" y="25426"/>
                    <a:pt x="4722" y="25422"/>
                    <a:pt x="4644" y="25417"/>
                  </a:cubicBezTo>
                  <a:cubicBezTo>
                    <a:pt x="4329" y="25395"/>
                    <a:pt x="4021" y="25341"/>
                    <a:pt x="3723" y="25264"/>
                  </a:cubicBezTo>
                  <a:cubicBezTo>
                    <a:pt x="3127" y="25108"/>
                    <a:pt x="2567" y="24856"/>
                    <a:pt x="2054" y="24521"/>
                  </a:cubicBezTo>
                  <a:cubicBezTo>
                    <a:pt x="1543" y="24185"/>
                    <a:pt x="1074" y="23765"/>
                    <a:pt x="700" y="23242"/>
                  </a:cubicBezTo>
                  <a:cubicBezTo>
                    <a:pt x="514" y="22981"/>
                    <a:pt x="353" y="22692"/>
                    <a:pt x="232" y="22380"/>
                  </a:cubicBezTo>
                  <a:cubicBezTo>
                    <a:pt x="111" y="22069"/>
                    <a:pt x="32" y="21733"/>
                    <a:pt x="8" y="21391"/>
                  </a:cubicBezTo>
                  <a:cubicBezTo>
                    <a:pt x="2" y="21261"/>
                    <a:pt x="2" y="21261"/>
                    <a:pt x="2" y="21261"/>
                  </a:cubicBezTo>
                  <a:cubicBezTo>
                    <a:pt x="0" y="21138"/>
                    <a:pt x="0" y="21138"/>
                    <a:pt x="0" y="21138"/>
                  </a:cubicBezTo>
                  <a:cubicBezTo>
                    <a:pt x="0" y="20938"/>
                    <a:pt x="0" y="20938"/>
                    <a:pt x="0" y="20938"/>
                  </a:cubicBezTo>
                  <a:cubicBezTo>
                    <a:pt x="2" y="20536"/>
                    <a:pt x="2" y="20536"/>
                    <a:pt x="2" y="20536"/>
                  </a:cubicBezTo>
                  <a:cubicBezTo>
                    <a:pt x="3" y="19732"/>
                    <a:pt x="3" y="19732"/>
                    <a:pt x="3" y="19732"/>
                  </a:cubicBezTo>
                  <a:cubicBezTo>
                    <a:pt x="14" y="15444"/>
                    <a:pt x="33" y="11144"/>
                    <a:pt x="61" y="6888"/>
                  </a:cubicBezTo>
                  <a:cubicBezTo>
                    <a:pt x="72" y="4925"/>
                    <a:pt x="93" y="1497"/>
                    <a:pt x="93" y="1070"/>
                  </a:cubicBezTo>
                  <a:cubicBezTo>
                    <a:pt x="93" y="643"/>
                    <a:pt x="258" y="0"/>
                    <a:pt x="1172" y="0"/>
                  </a:cubicBezTo>
                  <a:cubicBezTo>
                    <a:pt x="2081" y="0"/>
                    <a:pt x="3400" y="13"/>
                    <a:pt x="4482" y="21"/>
                  </a:cubicBezTo>
                  <a:cubicBezTo>
                    <a:pt x="4972" y="25"/>
                    <a:pt x="5456" y="28"/>
                    <a:pt x="5937" y="32"/>
                  </a:cubicBezTo>
                  <a:cubicBezTo>
                    <a:pt x="6009" y="33"/>
                    <a:pt x="6073" y="37"/>
                    <a:pt x="6138" y="40"/>
                  </a:cubicBezTo>
                  <a:cubicBezTo>
                    <a:pt x="6203" y="44"/>
                    <a:pt x="6268" y="48"/>
                    <a:pt x="6333" y="54"/>
                  </a:cubicBezTo>
                  <a:cubicBezTo>
                    <a:pt x="6462" y="66"/>
                    <a:pt x="6591" y="80"/>
                    <a:pt x="6720" y="98"/>
                  </a:cubicBezTo>
                  <a:cubicBezTo>
                    <a:pt x="6976" y="135"/>
                    <a:pt x="7229" y="186"/>
                    <a:pt x="7478" y="250"/>
                  </a:cubicBezTo>
                  <a:cubicBezTo>
                    <a:pt x="8474" y="507"/>
                    <a:pt x="9385" y="984"/>
                    <a:pt x="10142" y="1610"/>
                  </a:cubicBezTo>
                  <a:cubicBezTo>
                    <a:pt x="10237" y="1688"/>
                    <a:pt x="10328" y="1768"/>
                    <a:pt x="10420" y="1852"/>
                  </a:cubicBezTo>
                  <a:cubicBezTo>
                    <a:pt x="10550" y="1974"/>
                    <a:pt x="10550" y="1974"/>
                    <a:pt x="10550" y="1974"/>
                  </a:cubicBezTo>
                  <a:cubicBezTo>
                    <a:pt x="10671" y="2090"/>
                    <a:pt x="10671" y="2090"/>
                    <a:pt x="10671" y="2090"/>
                  </a:cubicBezTo>
                  <a:cubicBezTo>
                    <a:pt x="10832" y="2245"/>
                    <a:pt x="10994" y="2398"/>
                    <a:pt x="11153" y="2551"/>
                  </a:cubicBezTo>
                  <a:cubicBezTo>
                    <a:pt x="11473" y="2857"/>
                    <a:pt x="11790" y="3160"/>
                    <a:pt x="12103" y="3460"/>
                  </a:cubicBezTo>
                  <a:cubicBezTo>
                    <a:pt x="12728" y="4059"/>
                    <a:pt x="13340" y="4645"/>
                    <a:pt x="13938" y="5217"/>
                  </a:cubicBezTo>
                  <a:cubicBezTo>
                    <a:pt x="14535" y="5789"/>
                    <a:pt x="15118" y="6349"/>
                    <a:pt x="15687" y="6895"/>
                  </a:cubicBezTo>
                  <a:cubicBezTo>
                    <a:pt x="15758" y="6962"/>
                    <a:pt x="15828" y="7031"/>
                    <a:pt x="15899" y="7099"/>
                  </a:cubicBezTo>
                  <a:cubicBezTo>
                    <a:pt x="16005" y="7200"/>
                    <a:pt x="16005" y="7200"/>
                    <a:pt x="16005" y="7200"/>
                  </a:cubicBezTo>
                  <a:cubicBezTo>
                    <a:pt x="16056" y="7250"/>
                    <a:pt x="16080" y="7275"/>
                    <a:pt x="16115" y="7310"/>
                  </a:cubicBezTo>
                  <a:cubicBezTo>
                    <a:pt x="16247" y="7444"/>
                    <a:pt x="16382" y="7573"/>
                    <a:pt x="16518" y="7699"/>
                  </a:cubicBezTo>
                  <a:cubicBezTo>
                    <a:pt x="16791" y="7950"/>
                    <a:pt x="17069" y="8187"/>
                    <a:pt x="17354" y="8408"/>
                  </a:cubicBezTo>
                  <a:cubicBezTo>
                    <a:pt x="18492" y="9297"/>
                    <a:pt x="19712" y="9948"/>
                    <a:pt x="20914" y="10403"/>
                  </a:cubicBezTo>
                  <a:cubicBezTo>
                    <a:pt x="22117" y="10855"/>
                    <a:pt x="23303" y="11115"/>
                    <a:pt x="24413" y="11240"/>
                  </a:cubicBezTo>
                  <a:cubicBezTo>
                    <a:pt x="25523" y="11365"/>
                    <a:pt x="26559" y="11363"/>
                    <a:pt x="27492" y="11284"/>
                  </a:cubicBezTo>
                  <a:cubicBezTo>
                    <a:pt x="29363" y="11127"/>
                    <a:pt x="30811" y="10669"/>
                    <a:pt x="31821" y="10275"/>
                  </a:cubicBezTo>
                  <a:cubicBezTo>
                    <a:pt x="32482" y="10020"/>
                    <a:pt x="32949" y="9799"/>
                    <a:pt x="33252" y="9663"/>
                  </a:cubicBezTo>
                  <a:cubicBezTo>
                    <a:pt x="33555" y="9526"/>
                    <a:pt x="33699" y="9474"/>
                    <a:pt x="33698" y="9519"/>
                  </a:cubicBezTo>
                  <a:cubicBezTo>
                    <a:pt x="33694" y="9562"/>
                    <a:pt x="33543" y="9703"/>
                    <a:pt x="33234" y="9920"/>
                  </a:cubicBezTo>
                  <a:cubicBezTo>
                    <a:pt x="32926" y="10137"/>
                    <a:pt x="32457" y="10434"/>
                    <a:pt x="31776" y="10761"/>
                  </a:cubicBezTo>
                  <a:cubicBezTo>
                    <a:pt x="31610" y="10855"/>
                    <a:pt x="31233" y="11043"/>
                    <a:pt x="30648" y="11259"/>
                  </a:cubicBezTo>
                  <a:cubicBezTo>
                    <a:pt x="30063" y="11475"/>
                    <a:pt x="29266" y="11719"/>
                    <a:pt x="28270" y="11894"/>
                  </a:cubicBezTo>
                  <a:cubicBezTo>
                    <a:pt x="27276" y="12069"/>
                    <a:pt x="26083" y="12171"/>
                    <a:pt x="24737" y="12098"/>
                  </a:cubicBezTo>
                  <a:cubicBezTo>
                    <a:pt x="23394" y="12022"/>
                    <a:pt x="21893" y="11762"/>
                    <a:pt x="20355" y="11189"/>
                  </a:cubicBezTo>
                  <a:cubicBezTo>
                    <a:pt x="18655" y="10556"/>
                    <a:pt x="17026" y="9579"/>
                    <a:pt x="15632" y="8284"/>
                  </a:cubicBezTo>
                  <a:cubicBezTo>
                    <a:pt x="15545" y="8203"/>
                    <a:pt x="15459" y="8121"/>
                    <a:pt x="15373" y="8037"/>
                  </a:cubicBezTo>
                  <a:cubicBezTo>
                    <a:pt x="15310" y="7975"/>
                    <a:pt x="15310" y="7975"/>
                    <a:pt x="15310" y="7975"/>
                  </a:cubicBezTo>
                  <a:cubicBezTo>
                    <a:pt x="15258" y="7928"/>
                    <a:pt x="15258" y="7928"/>
                    <a:pt x="15258" y="7928"/>
                  </a:cubicBezTo>
                  <a:cubicBezTo>
                    <a:pt x="15133" y="7811"/>
                    <a:pt x="15133" y="7811"/>
                    <a:pt x="15133" y="7811"/>
                  </a:cubicBezTo>
                  <a:cubicBezTo>
                    <a:pt x="14965" y="7655"/>
                    <a:pt x="14797" y="7498"/>
                    <a:pt x="14628" y="7341"/>
                  </a:cubicBezTo>
                  <a:cubicBezTo>
                    <a:pt x="14290" y="7026"/>
                    <a:pt x="13951" y="6711"/>
                    <a:pt x="13611" y="6393"/>
                  </a:cubicBezTo>
                  <a:cubicBezTo>
                    <a:pt x="12930" y="5760"/>
                    <a:pt x="12244" y="5120"/>
                    <a:pt x="11552" y="4476"/>
                  </a:cubicBezTo>
                  <a:cubicBezTo>
                    <a:pt x="11206" y="4153"/>
                    <a:pt x="10859" y="3829"/>
                    <a:pt x="10511" y="3505"/>
                  </a:cubicBezTo>
                  <a:cubicBezTo>
                    <a:pt x="10337" y="3343"/>
                    <a:pt x="10163" y="3179"/>
                    <a:pt x="9988" y="3016"/>
                  </a:cubicBezTo>
                  <a:cubicBezTo>
                    <a:pt x="9726" y="2773"/>
                    <a:pt x="9726" y="2773"/>
                    <a:pt x="9726" y="2773"/>
                  </a:cubicBezTo>
                  <a:cubicBezTo>
                    <a:pt x="9664" y="2716"/>
                    <a:pt x="9664" y="2716"/>
                    <a:pt x="9664" y="2716"/>
                  </a:cubicBezTo>
                  <a:cubicBezTo>
                    <a:pt x="9605" y="2664"/>
                    <a:pt x="9605" y="2664"/>
                    <a:pt x="9605" y="2664"/>
                  </a:cubicBezTo>
                  <a:cubicBezTo>
                    <a:pt x="9481" y="2558"/>
                    <a:pt x="9481" y="2558"/>
                    <a:pt x="9481" y="2558"/>
                  </a:cubicBezTo>
                  <a:cubicBezTo>
                    <a:pt x="8812" y="2003"/>
                    <a:pt x="8011" y="1596"/>
                    <a:pt x="7158" y="1391"/>
                  </a:cubicBezTo>
                  <a:cubicBezTo>
                    <a:pt x="6731" y="1288"/>
                    <a:pt x="6290" y="1232"/>
                    <a:pt x="5849" y="1231"/>
                  </a:cubicBezTo>
                  <a:cubicBezTo>
                    <a:pt x="5362" y="1232"/>
                    <a:pt x="4873" y="1234"/>
                    <a:pt x="4383" y="1236"/>
                  </a:cubicBezTo>
                  <a:cubicBezTo>
                    <a:pt x="3489" y="1238"/>
                    <a:pt x="2017" y="1245"/>
                    <a:pt x="1688" y="1245"/>
                  </a:cubicBezTo>
                  <a:cubicBezTo>
                    <a:pt x="1360" y="1245"/>
                    <a:pt x="1347" y="1468"/>
                    <a:pt x="1347" y="1590"/>
                  </a:cubicBezTo>
                  <a:cubicBezTo>
                    <a:pt x="1347" y="1712"/>
                    <a:pt x="1383" y="13232"/>
                    <a:pt x="1401" y="19072"/>
                  </a:cubicBezTo>
                  <a:cubicBezTo>
                    <a:pt x="1402" y="19441"/>
                    <a:pt x="1403" y="19813"/>
                    <a:pt x="1405" y="20182"/>
                  </a:cubicBezTo>
                  <a:cubicBezTo>
                    <a:pt x="1407" y="20736"/>
                    <a:pt x="1407" y="20736"/>
                    <a:pt x="1407" y="20736"/>
                  </a:cubicBezTo>
                  <a:cubicBezTo>
                    <a:pt x="1408" y="21014"/>
                    <a:pt x="1408" y="21014"/>
                    <a:pt x="1408" y="21014"/>
                  </a:cubicBezTo>
                  <a:cubicBezTo>
                    <a:pt x="1408" y="21153"/>
                    <a:pt x="1408" y="21153"/>
                    <a:pt x="1408" y="21153"/>
                  </a:cubicBezTo>
                  <a:cubicBezTo>
                    <a:pt x="1409" y="21189"/>
                    <a:pt x="1409" y="21219"/>
                    <a:pt x="1412" y="21255"/>
                  </a:cubicBezTo>
                  <a:cubicBezTo>
                    <a:pt x="1439" y="21791"/>
                    <a:pt x="1721" y="22330"/>
                    <a:pt x="2150" y="22770"/>
                  </a:cubicBezTo>
                  <a:cubicBezTo>
                    <a:pt x="2577" y="23210"/>
                    <a:pt x="3136" y="23556"/>
                    <a:pt x="3727" y="23767"/>
                  </a:cubicBezTo>
                  <a:cubicBezTo>
                    <a:pt x="4023" y="23872"/>
                    <a:pt x="4328" y="23944"/>
                    <a:pt x="4629" y="23973"/>
                  </a:cubicBezTo>
                  <a:cubicBezTo>
                    <a:pt x="4703" y="23980"/>
                    <a:pt x="4778" y="23985"/>
                    <a:pt x="4852" y="23987"/>
                  </a:cubicBezTo>
                  <a:cubicBezTo>
                    <a:pt x="4891" y="23987"/>
                    <a:pt x="4922" y="23987"/>
                    <a:pt x="4967" y="23987"/>
                  </a:cubicBezTo>
                  <a:cubicBezTo>
                    <a:pt x="5103" y="23987"/>
                    <a:pt x="5103" y="23987"/>
                    <a:pt x="5103" y="23987"/>
                  </a:cubicBezTo>
                  <a:cubicBezTo>
                    <a:pt x="5283" y="23987"/>
                    <a:pt x="5461" y="23983"/>
                    <a:pt x="5638" y="23980"/>
                  </a:cubicBezTo>
                  <a:cubicBezTo>
                    <a:pt x="5814" y="23976"/>
                    <a:pt x="5988" y="23969"/>
                    <a:pt x="6158" y="23960"/>
                  </a:cubicBezTo>
                  <a:cubicBezTo>
                    <a:pt x="6222" y="23954"/>
                    <a:pt x="6222" y="23954"/>
                    <a:pt x="6222" y="23954"/>
                  </a:cubicBezTo>
                  <a:cubicBezTo>
                    <a:pt x="6271" y="23951"/>
                    <a:pt x="6271" y="23951"/>
                    <a:pt x="6271" y="23951"/>
                  </a:cubicBezTo>
                  <a:cubicBezTo>
                    <a:pt x="6303" y="23947"/>
                    <a:pt x="6334" y="23944"/>
                    <a:pt x="6366" y="23938"/>
                  </a:cubicBezTo>
                  <a:cubicBezTo>
                    <a:pt x="6397" y="23933"/>
                    <a:pt x="6428" y="23928"/>
                    <a:pt x="6458" y="23917"/>
                  </a:cubicBezTo>
                  <a:cubicBezTo>
                    <a:pt x="6488" y="23904"/>
                    <a:pt x="6513" y="23881"/>
                    <a:pt x="6527" y="23854"/>
                  </a:cubicBezTo>
                  <a:cubicBezTo>
                    <a:pt x="6556" y="23794"/>
                    <a:pt x="6548" y="23727"/>
                    <a:pt x="6548" y="23664"/>
                  </a:cubicBezTo>
                  <a:cubicBezTo>
                    <a:pt x="6545" y="23002"/>
                    <a:pt x="6541" y="22344"/>
                    <a:pt x="6537" y="21686"/>
                  </a:cubicBezTo>
                  <a:cubicBezTo>
                    <a:pt x="6528" y="20247"/>
                    <a:pt x="6520" y="18819"/>
                    <a:pt x="6511" y="17404"/>
                  </a:cubicBezTo>
                  <a:cubicBezTo>
                    <a:pt x="6510" y="17218"/>
                    <a:pt x="6509" y="17034"/>
                    <a:pt x="6508" y="16849"/>
                  </a:cubicBezTo>
                  <a:cubicBezTo>
                    <a:pt x="6511" y="16629"/>
                    <a:pt x="6533" y="16407"/>
                    <a:pt x="6571" y="16189"/>
                  </a:cubicBezTo>
                  <a:cubicBezTo>
                    <a:pt x="6649" y="15752"/>
                    <a:pt x="6799" y="15325"/>
                    <a:pt x="7014" y="14932"/>
                  </a:cubicBezTo>
                  <a:cubicBezTo>
                    <a:pt x="7441" y="14148"/>
                    <a:pt x="8130" y="13500"/>
                    <a:pt x="8964" y="13129"/>
                  </a:cubicBezTo>
                  <a:cubicBezTo>
                    <a:pt x="9381" y="12943"/>
                    <a:pt x="9833" y="12826"/>
                    <a:pt x="10292" y="12792"/>
                  </a:cubicBezTo>
                  <a:cubicBezTo>
                    <a:pt x="10405" y="12783"/>
                    <a:pt x="10526" y="12779"/>
                    <a:pt x="10633" y="12779"/>
                  </a:cubicBezTo>
                  <a:cubicBezTo>
                    <a:pt x="10738" y="12781"/>
                    <a:pt x="10843" y="12783"/>
                    <a:pt x="10948" y="12788"/>
                  </a:cubicBezTo>
                  <a:cubicBezTo>
                    <a:pt x="11158" y="12799"/>
                    <a:pt x="11367" y="12821"/>
                    <a:pt x="11575" y="12851"/>
                  </a:cubicBezTo>
                  <a:cubicBezTo>
                    <a:pt x="12409" y="12972"/>
                    <a:pt x="13207" y="13255"/>
                    <a:pt x="13931" y="13628"/>
                  </a:cubicBezTo>
                  <a:cubicBezTo>
                    <a:pt x="14656" y="14002"/>
                    <a:pt x="15313" y="14460"/>
                    <a:pt x="15923" y="14945"/>
                  </a:cubicBezTo>
                  <a:cubicBezTo>
                    <a:pt x="16534" y="15431"/>
                    <a:pt x="17099" y="15949"/>
                    <a:pt x="17646" y="16461"/>
                  </a:cubicBezTo>
                  <a:cubicBezTo>
                    <a:pt x="17916" y="16715"/>
                    <a:pt x="18185" y="16969"/>
                    <a:pt x="18455" y="17222"/>
                  </a:cubicBezTo>
                  <a:cubicBezTo>
                    <a:pt x="18854" y="17591"/>
                    <a:pt x="18854" y="17591"/>
                    <a:pt x="18854" y="17591"/>
                  </a:cubicBezTo>
                  <a:cubicBezTo>
                    <a:pt x="18989" y="17714"/>
                    <a:pt x="19125" y="17837"/>
                    <a:pt x="19260" y="17958"/>
                  </a:cubicBezTo>
                  <a:cubicBezTo>
                    <a:pt x="19815" y="18455"/>
                    <a:pt x="20354" y="18956"/>
                    <a:pt x="20887" y="19441"/>
                  </a:cubicBezTo>
                  <a:cubicBezTo>
                    <a:pt x="21420" y="19926"/>
                    <a:pt x="21949" y="20397"/>
                    <a:pt x="22486" y="20819"/>
                  </a:cubicBezTo>
                  <a:cubicBezTo>
                    <a:pt x="23023" y="21239"/>
                    <a:pt x="23571" y="21614"/>
                    <a:pt x="24131" y="21883"/>
                  </a:cubicBezTo>
                  <a:cubicBezTo>
                    <a:pt x="24692" y="22151"/>
                    <a:pt x="25262" y="22308"/>
                    <a:pt x="25829" y="22317"/>
                  </a:cubicBezTo>
                  <a:cubicBezTo>
                    <a:pt x="26396" y="22330"/>
                    <a:pt x="26958" y="22198"/>
                    <a:pt x="27497" y="21966"/>
                  </a:cubicBezTo>
                  <a:cubicBezTo>
                    <a:pt x="28038" y="21733"/>
                    <a:pt x="28553" y="21409"/>
                    <a:pt x="29047" y="21052"/>
                  </a:cubicBezTo>
                  <a:cubicBezTo>
                    <a:pt x="29540" y="20695"/>
                    <a:pt x="30011" y="20303"/>
                    <a:pt x="30470" y="19910"/>
                  </a:cubicBezTo>
                  <a:cubicBezTo>
                    <a:pt x="30928" y="19515"/>
                    <a:pt x="31373" y="19117"/>
                    <a:pt x="31813" y="18727"/>
                  </a:cubicBezTo>
                  <a:cubicBezTo>
                    <a:pt x="32033" y="18535"/>
                    <a:pt x="32252" y="18343"/>
                    <a:pt x="32467" y="18154"/>
                  </a:cubicBezTo>
                  <a:cubicBezTo>
                    <a:pt x="32575" y="18060"/>
                    <a:pt x="32683" y="17968"/>
                    <a:pt x="32789" y="17876"/>
                  </a:cubicBezTo>
                  <a:cubicBezTo>
                    <a:pt x="32892" y="17784"/>
                    <a:pt x="32994" y="17696"/>
                    <a:pt x="33095" y="17606"/>
                  </a:cubicBezTo>
                  <a:cubicBezTo>
                    <a:pt x="34015" y="16784"/>
                    <a:pt x="34917" y="15904"/>
                    <a:pt x="35917" y="15125"/>
                  </a:cubicBezTo>
                  <a:cubicBezTo>
                    <a:pt x="36417" y="14735"/>
                    <a:pt x="36941" y="14371"/>
                    <a:pt x="37500" y="14056"/>
                  </a:cubicBezTo>
                  <a:cubicBezTo>
                    <a:pt x="38058" y="13742"/>
                    <a:pt x="38653" y="13479"/>
                    <a:pt x="39276" y="13302"/>
                  </a:cubicBezTo>
                  <a:cubicBezTo>
                    <a:pt x="39900" y="13123"/>
                    <a:pt x="40546" y="13035"/>
                    <a:pt x="41196" y="13049"/>
                  </a:cubicBezTo>
                  <a:cubicBezTo>
                    <a:pt x="41882" y="13066"/>
                    <a:pt x="42554" y="13279"/>
                    <a:pt x="43119" y="13639"/>
                  </a:cubicBezTo>
                  <a:cubicBezTo>
                    <a:pt x="43685" y="13998"/>
                    <a:pt x="44146" y="14501"/>
                    <a:pt x="44458" y="15078"/>
                  </a:cubicBezTo>
                  <a:cubicBezTo>
                    <a:pt x="44772" y="15655"/>
                    <a:pt x="44929" y="16315"/>
                    <a:pt x="44919" y="16953"/>
                  </a:cubicBezTo>
                  <a:cubicBezTo>
                    <a:pt x="44904" y="17929"/>
                    <a:pt x="44888" y="18839"/>
                    <a:pt x="44875" y="19688"/>
                  </a:cubicBezTo>
                  <a:cubicBezTo>
                    <a:pt x="44866" y="20109"/>
                    <a:pt x="44859" y="20512"/>
                    <a:pt x="44851" y="20902"/>
                  </a:cubicBezTo>
                  <a:cubicBezTo>
                    <a:pt x="44850" y="20997"/>
                    <a:pt x="44848" y="21093"/>
                    <a:pt x="44846" y="21185"/>
                  </a:cubicBezTo>
                  <a:cubicBezTo>
                    <a:pt x="44844" y="21264"/>
                    <a:pt x="44848" y="21344"/>
                    <a:pt x="44856" y="21421"/>
                  </a:cubicBezTo>
                  <a:cubicBezTo>
                    <a:pt x="44871" y="21578"/>
                    <a:pt x="44905" y="21730"/>
                    <a:pt x="44952" y="21876"/>
                  </a:cubicBezTo>
                  <a:cubicBezTo>
                    <a:pt x="45063" y="22240"/>
                    <a:pt x="45263" y="22575"/>
                    <a:pt x="45499" y="22864"/>
                  </a:cubicBezTo>
                  <a:cubicBezTo>
                    <a:pt x="45735" y="23152"/>
                    <a:pt x="46005" y="23397"/>
                    <a:pt x="46280" y="23599"/>
                  </a:cubicBezTo>
                  <a:cubicBezTo>
                    <a:pt x="46414" y="23718"/>
                    <a:pt x="46493" y="23794"/>
                    <a:pt x="46508" y="23834"/>
                  </a:cubicBezTo>
                  <a:cubicBezTo>
                    <a:pt x="46525" y="23872"/>
                    <a:pt x="46476" y="23875"/>
                    <a:pt x="46364" y="23837"/>
                  </a:cubicBezTo>
                  <a:close/>
                </a:path>
              </a:pathLst>
            </a:custGeom>
            <a:solidFill>
              <a:srgbClr val="2DBE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7" name="Freeform 41"/>
            <p:cNvSpPr>
              <a:spLocks/>
            </p:cNvSpPr>
            <p:nvPr userDrawn="1"/>
          </p:nvSpPr>
          <p:spPr bwMode="auto">
            <a:xfrm>
              <a:off x="-83369150" y="20088225"/>
              <a:ext cx="138082338" cy="94243525"/>
            </a:xfrm>
            <a:custGeom>
              <a:avLst/>
              <a:gdLst>
                <a:gd name="T0" fmla="*/ 33157 w 36820"/>
                <a:gd name="T1" fmla="*/ 17610 h 25129"/>
                <a:gd name="T2" fmla="*/ 31301 w 36820"/>
                <a:gd name="T3" fmla="*/ 19236 h 25129"/>
                <a:gd name="T4" fmla="*/ 25100 w 36820"/>
                <a:gd name="T5" fmla="*/ 22390 h 25129"/>
                <a:gd name="T6" fmla="*/ 19131 w 36820"/>
                <a:gd name="T7" fmla="*/ 18160 h 25129"/>
                <a:gd name="T8" fmla="*/ 16791 w 36820"/>
                <a:gd name="T9" fmla="*/ 15971 h 25129"/>
                <a:gd name="T10" fmla="*/ 10465 w 36820"/>
                <a:gd name="T11" fmla="*/ 12817 h 25129"/>
                <a:gd name="T12" fmla="*/ 6482 w 36820"/>
                <a:gd name="T13" fmla="*/ 16811 h 25129"/>
                <a:gd name="T14" fmla="*/ 6497 w 36820"/>
                <a:gd name="T15" fmla="*/ 23614 h 25129"/>
                <a:gd name="T16" fmla="*/ 6308 w 36820"/>
                <a:gd name="T17" fmla="*/ 23899 h 25129"/>
                <a:gd name="T18" fmla="*/ 5806 w 36820"/>
                <a:gd name="T19" fmla="*/ 23944 h 25129"/>
                <a:gd name="T20" fmla="*/ 4640 w 36820"/>
                <a:gd name="T21" fmla="*/ 23962 h 25129"/>
                <a:gd name="T22" fmla="*/ 1800 w 36820"/>
                <a:gd name="T23" fmla="*/ 22601 h 25129"/>
                <a:gd name="T24" fmla="*/ 1131 w 36820"/>
                <a:gd name="T25" fmla="*/ 21000 h 25129"/>
                <a:gd name="T26" fmla="*/ 1125 w 36820"/>
                <a:gd name="T27" fmla="*/ 19849 h 25129"/>
                <a:gd name="T28" fmla="*/ 1067 w 36820"/>
                <a:gd name="T29" fmla="*/ 1406 h 25129"/>
                <a:gd name="T30" fmla="*/ 4890 w 36820"/>
                <a:gd name="T31" fmla="*/ 979 h 25129"/>
                <a:gd name="T32" fmla="*/ 6055 w 36820"/>
                <a:gd name="T33" fmla="*/ 990 h 25129"/>
                <a:gd name="T34" fmla="*/ 9525 w 36820"/>
                <a:gd name="T35" fmla="*/ 2439 h 25129"/>
                <a:gd name="T36" fmla="*/ 14951 w 36820"/>
                <a:gd name="T37" fmla="*/ 7491 h 25129"/>
                <a:gd name="T38" fmla="*/ 15349 w 36820"/>
                <a:gd name="T39" fmla="*/ 7866 h 25129"/>
                <a:gd name="T40" fmla="*/ 19828 w 36820"/>
                <a:gd name="T41" fmla="*/ 10768 h 25129"/>
                <a:gd name="T42" fmla="*/ 25667 w 36820"/>
                <a:gd name="T43" fmla="*/ 11755 h 25129"/>
                <a:gd name="T44" fmla="*/ 27175 w 36820"/>
                <a:gd name="T45" fmla="*/ 11422 h 25129"/>
                <a:gd name="T46" fmla="*/ 19925 w 36820"/>
                <a:gd name="T47" fmla="*/ 10078 h 25129"/>
                <a:gd name="T48" fmla="*/ 15813 w 36820"/>
                <a:gd name="T49" fmla="*/ 7218 h 25129"/>
                <a:gd name="T50" fmla="*/ 12067 w 36820"/>
                <a:gd name="T51" fmla="*/ 3623 h 25129"/>
                <a:gd name="T52" fmla="*/ 9771 w 36820"/>
                <a:gd name="T53" fmla="*/ 1472 h 25129"/>
                <a:gd name="T54" fmla="*/ 5986 w 36820"/>
                <a:gd name="T55" fmla="*/ 39 h 25129"/>
                <a:gd name="T56" fmla="*/ 5400 w 36820"/>
                <a:gd name="T57" fmla="*/ 27 h 25129"/>
                <a:gd name="T58" fmla="*/ 71 w 36820"/>
                <a:gd name="T59" fmla="*/ 993 h 25129"/>
                <a:gd name="T60" fmla="*/ 1 w 36820"/>
                <a:gd name="T61" fmla="*/ 20107 h 25129"/>
                <a:gd name="T62" fmla="*/ 32 w 36820"/>
                <a:gd name="T63" fmla="*/ 21470 h 25129"/>
                <a:gd name="T64" fmla="*/ 2779 w 36820"/>
                <a:gd name="T65" fmla="*/ 24682 h 25129"/>
                <a:gd name="T66" fmla="*/ 4684 w 36820"/>
                <a:gd name="T67" fmla="*/ 25127 h 25129"/>
                <a:gd name="T68" fmla="*/ 5826 w 36820"/>
                <a:gd name="T69" fmla="*/ 25114 h 25129"/>
                <a:gd name="T70" fmla="*/ 7084 w 36820"/>
                <a:gd name="T71" fmla="*/ 24932 h 25129"/>
                <a:gd name="T72" fmla="*/ 7660 w 36820"/>
                <a:gd name="T73" fmla="*/ 24067 h 25129"/>
                <a:gd name="T74" fmla="*/ 7660 w 36820"/>
                <a:gd name="T75" fmla="*/ 18425 h 25129"/>
                <a:gd name="T76" fmla="*/ 7731 w 36820"/>
                <a:gd name="T77" fmla="*/ 16128 h 25129"/>
                <a:gd name="T78" fmla="*/ 10204 w 36820"/>
                <a:gd name="T79" fmla="*/ 13959 h 25129"/>
                <a:gd name="T80" fmla="*/ 12766 w 36820"/>
                <a:gd name="T81" fmla="*/ 14442 h 25129"/>
                <a:gd name="T82" fmla="*/ 17826 w 36820"/>
                <a:gd name="T83" fmla="*/ 18324 h 25129"/>
                <a:gd name="T84" fmla="*/ 22447 w 36820"/>
                <a:gd name="T85" fmla="*/ 22172 h 25129"/>
                <a:gd name="T86" fmla="*/ 27714 w 36820"/>
                <a:gd name="T87" fmla="*/ 22778 h 25129"/>
                <a:gd name="T88" fmla="*/ 32962 w 36820"/>
                <a:gd name="T89" fmla="*/ 18513 h 25129"/>
                <a:gd name="T90" fmla="*/ 36667 w 36820"/>
                <a:gd name="T91" fmla="*/ 14875 h 25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20" h="25129">
                  <a:moveTo>
                    <a:pt x="36432" y="14878"/>
                  </a:moveTo>
                  <a:cubicBezTo>
                    <a:pt x="35876" y="15259"/>
                    <a:pt x="35364" y="15654"/>
                    <a:pt x="34673" y="16254"/>
                  </a:cubicBezTo>
                  <a:cubicBezTo>
                    <a:pt x="34238" y="16629"/>
                    <a:pt x="33725" y="17103"/>
                    <a:pt x="33157" y="17610"/>
                  </a:cubicBezTo>
                  <a:cubicBezTo>
                    <a:pt x="33015" y="17736"/>
                    <a:pt x="32870" y="17864"/>
                    <a:pt x="32718" y="17992"/>
                  </a:cubicBezTo>
                  <a:cubicBezTo>
                    <a:pt x="32567" y="18124"/>
                    <a:pt x="32412" y="18259"/>
                    <a:pt x="32255" y="18394"/>
                  </a:cubicBezTo>
                  <a:cubicBezTo>
                    <a:pt x="31943" y="18670"/>
                    <a:pt x="31624" y="18951"/>
                    <a:pt x="31301" y="19236"/>
                  </a:cubicBezTo>
                  <a:cubicBezTo>
                    <a:pt x="30558" y="19898"/>
                    <a:pt x="29815" y="20560"/>
                    <a:pt x="29025" y="21137"/>
                  </a:cubicBezTo>
                  <a:cubicBezTo>
                    <a:pt x="28236" y="21708"/>
                    <a:pt x="27385" y="22199"/>
                    <a:pt x="26478" y="22374"/>
                  </a:cubicBezTo>
                  <a:cubicBezTo>
                    <a:pt x="26026" y="22462"/>
                    <a:pt x="25560" y="22467"/>
                    <a:pt x="25100" y="22390"/>
                  </a:cubicBezTo>
                  <a:cubicBezTo>
                    <a:pt x="24641" y="22312"/>
                    <a:pt x="24189" y="22148"/>
                    <a:pt x="23756" y="21930"/>
                  </a:cubicBezTo>
                  <a:cubicBezTo>
                    <a:pt x="22888" y="21488"/>
                    <a:pt x="22097" y="20846"/>
                    <a:pt x="21355" y="20199"/>
                  </a:cubicBezTo>
                  <a:cubicBezTo>
                    <a:pt x="20634" y="19566"/>
                    <a:pt x="19905" y="18867"/>
                    <a:pt x="19131" y="18160"/>
                  </a:cubicBezTo>
                  <a:cubicBezTo>
                    <a:pt x="18939" y="17987"/>
                    <a:pt x="18746" y="17810"/>
                    <a:pt x="18551" y="17633"/>
                  </a:cubicBezTo>
                  <a:cubicBezTo>
                    <a:pt x="18361" y="17458"/>
                    <a:pt x="18170" y="17276"/>
                    <a:pt x="17977" y="17094"/>
                  </a:cubicBezTo>
                  <a:cubicBezTo>
                    <a:pt x="17592" y="16726"/>
                    <a:pt x="17200" y="16348"/>
                    <a:pt x="16791" y="15971"/>
                  </a:cubicBezTo>
                  <a:cubicBezTo>
                    <a:pt x="15972" y="15221"/>
                    <a:pt x="15086" y="14464"/>
                    <a:pt x="14038" y="13858"/>
                  </a:cubicBezTo>
                  <a:cubicBezTo>
                    <a:pt x="13515" y="13555"/>
                    <a:pt x="12950" y="13295"/>
                    <a:pt x="12348" y="13109"/>
                  </a:cubicBezTo>
                  <a:cubicBezTo>
                    <a:pt x="11746" y="12926"/>
                    <a:pt x="11108" y="12821"/>
                    <a:pt x="10465" y="12817"/>
                  </a:cubicBezTo>
                  <a:cubicBezTo>
                    <a:pt x="9777" y="12807"/>
                    <a:pt x="9074" y="12994"/>
                    <a:pt x="8475" y="13344"/>
                  </a:cubicBezTo>
                  <a:cubicBezTo>
                    <a:pt x="7873" y="13695"/>
                    <a:pt x="7368" y="14204"/>
                    <a:pt x="7019" y="14808"/>
                  </a:cubicBezTo>
                  <a:cubicBezTo>
                    <a:pt x="6668" y="15410"/>
                    <a:pt x="6479" y="16115"/>
                    <a:pt x="6482" y="16811"/>
                  </a:cubicBezTo>
                  <a:cubicBezTo>
                    <a:pt x="6482" y="17401"/>
                    <a:pt x="6482" y="17992"/>
                    <a:pt x="6482" y="18580"/>
                  </a:cubicBezTo>
                  <a:cubicBezTo>
                    <a:pt x="6485" y="19759"/>
                    <a:pt x="6487" y="20935"/>
                    <a:pt x="6489" y="22101"/>
                  </a:cubicBezTo>
                  <a:cubicBezTo>
                    <a:pt x="6492" y="22608"/>
                    <a:pt x="6495" y="23111"/>
                    <a:pt x="6497" y="23614"/>
                  </a:cubicBezTo>
                  <a:cubicBezTo>
                    <a:pt x="6498" y="23677"/>
                    <a:pt x="6498" y="23746"/>
                    <a:pt x="6467" y="23803"/>
                  </a:cubicBezTo>
                  <a:cubicBezTo>
                    <a:pt x="6451" y="23831"/>
                    <a:pt x="6427" y="23854"/>
                    <a:pt x="6399" y="23870"/>
                  </a:cubicBezTo>
                  <a:cubicBezTo>
                    <a:pt x="6371" y="23885"/>
                    <a:pt x="6339" y="23892"/>
                    <a:pt x="6308" y="23899"/>
                  </a:cubicBezTo>
                  <a:cubicBezTo>
                    <a:pt x="6246" y="23912"/>
                    <a:pt x="6182" y="23919"/>
                    <a:pt x="6118" y="23924"/>
                  </a:cubicBezTo>
                  <a:cubicBezTo>
                    <a:pt x="6010" y="23933"/>
                    <a:pt x="6010" y="23933"/>
                    <a:pt x="6010" y="23933"/>
                  </a:cubicBezTo>
                  <a:cubicBezTo>
                    <a:pt x="5806" y="23944"/>
                    <a:pt x="5806" y="23944"/>
                    <a:pt x="5806" y="23944"/>
                  </a:cubicBezTo>
                  <a:cubicBezTo>
                    <a:pt x="5547" y="23955"/>
                    <a:pt x="5283" y="23960"/>
                    <a:pt x="5016" y="23962"/>
                  </a:cubicBezTo>
                  <a:cubicBezTo>
                    <a:pt x="4815" y="23964"/>
                    <a:pt x="4815" y="23964"/>
                    <a:pt x="4815" y="23964"/>
                  </a:cubicBezTo>
                  <a:cubicBezTo>
                    <a:pt x="4750" y="23966"/>
                    <a:pt x="4699" y="23964"/>
                    <a:pt x="4640" y="23962"/>
                  </a:cubicBezTo>
                  <a:cubicBezTo>
                    <a:pt x="4525" y="23957"/>
                    <a:pt x="4409" y="23946"/>
                    <a:pt x="4294" y="23930"/>
                  </a:cubicBezTo>
                  <a:cubicBezTo>
                    <a:pt x="3831" y="23863"/>
                    <a:pt x="3365" y="23706"/>
                    <a:pt x="2937" y="23479"/>
                  </a:cubicBezTo>
                  <a:cubicBezTo>
                    <a:pt x="2508" y="23252"/>
                    <a:pt x="2114" y="22956"/>
                    <a:pt x="1800" y="22601"/>
                  </a:cubicBezTo>
                  <a:cubicBezTo>
                    <a:pt x="1487" y="22247"/>
                    <a:pt x="1257" y="21836"/>
                    <a:pt x="1172" y="21409"/>
                  </a:cubicBezTo>
                  <a:cubicBezTo>
                    <a:pt x="1150" y="21303"/>
                    <a:pt x="1136" y="21194"/>
                    <a:pt x="1133" y="21086"/>
                  </a:cubicBezTo>
                  <a:cubicBezTo>
                    <a:pt x="1131" y="21000"/>
                    <a:pt x="1131" y="21000"/>
                    <a:pt x="1131" y="21000"/>
                  </a:cubicBezTo>
                  <a:cubicBezTo>
                    <a:pt x="1130" y="20895"/>
                    <a:pt x="1130" y="20895"/>
                    <a:pt x="1130" y="20895"/>
                  </a:cubicBezTo>
                  <a:cubicBezTo>
                    <a:pt x="1130" y="20686"/>
                    <a:pt x="1130" y="20686"/>
                    <a:pt x="1130" y="20686"/>
                  </a:cubicBezTo>
                  <a:cubicBezTo>
                    <a:pt x="1128" y="20408"/>
                    <a:pt x="1127" y="20129"/>
                    <a:pt x="1125" y="19849"/>
                  </a:cubicBezTo>
                  <a:cubicBezTo>
                    <a:pt x="1123" y="19290"/>
                    <a:pt x="1120" y="18730"/>
                    <a:pt x="1118" y="18167"/>
                  </a:cubicBezTo>
                  <a:cubicBezTo>
                    <a:pt x="1114" y="17044"/>
                    <a:pt x="1109" y="15917"/>
                    <a:pt x="1105" y="14786"/>
                  </a:cubicBezTo>
                  <a:cubicBezTo>
                    <a:pt x="1092" y="10331"/>
                    <a:pt x="1067" y="1568"/>
                    <a:pt x="1067" y="1406"/>
                  </a:cubicBezTo>
                  <a:cubicBezTo>
                    <a:pt x="1067" y="1081"/>
                    <a:pt x="1164" y="988"/>
                    <a:pt x="1480" y="988"/>
                  </a:cubicBezTo>
                  <a:cubicBezTo>
                    <a:pt x="1933" y="988"/>
                    <a:pt x="2956" y="985"/>
                    <a:pt x="3689" y="982"/>
                  </a:cubicBezTo>
                  <a:cubicBezTo>
                    <a:pt x="4090" y="982"/>
                    <a:pt x="4490" y="980"/>
                    <a:pt x="4890" y="979"/>
                  </a:cubicBezTo>
                  <a:cubicBezTo>
                    <a:pt x="5089" y="978"/>
                    <a:pt x="5289" y="978"/>
                    <a:pt x="5488" y="977"/>
                  </a:cubicBezTo>
                  <a:cubicBezTo>
                    <a:pt x="5782" y="977"/>
                    <a:pt x="5782" y="977"/>
                    <a:pt x="5782" y="977"/>
                  </a:cubicBezTo>
                  <a:cubicBezTo>
                    <a:pt x="5868" y="980"/>
                    <a:pt x="5965" y="984"/>
                    <a:pt x="6055" y="990"/>
                  </a:cubicBezTo>
                  <a:cubicBezTo>
                    <a:pt x="6789" y="1041"/>
                    <a:pt x="7508" y="1231"/>
                    <a:pt x="8166" y="1545"/>
                  </a:cubicBezTo>
                  <a:cubicBezTo>
                    <a:pt x="8495" y="1700"/>
                    <a:pt x="8808" y="1887"/>
                    <a:pt x="9101" y="2101"/>
                  </a:cubicBezTo>
                  <a:cubicBezTo>
                    <a:pt x="9248" y="2207"/>
                    <a:pt x="9389" y="2321"/>
                    <a:pt x="9525" y="2439"/>
                  </a:cubicBezTo>
                  <a:cubicBezTo>
                    <a:pt x="9658" y="2556"/>
                    <a:pt x="9801" y="2695"/>
                    <a:pt x="9944" y="2827"/>
                  </a:cubicBezTo>
                  <a:cubicBezTo>
                    <a:pt x="11082" y="3888"/>
                    <a:pt x="12204" y="4934"/>
                    <a:pt x="13309" y="5963"/>
                  </a:cubicBezTo>
                  <a:cubicBezTo>
                    <a:pt x="13861" y="6478"/>
                    <a:pt x="14409" y="6987"/>
                    <a:pt x="14951" y="7491"/>
                  </a:cubicBezTo>
                  <a:cubicBezTo>
                    <a:pt x="15155" y="7680"/>
                    <a:pt x="15155" y="7680"/>
                    <a:pt x="15155" y="7680"/>
                  </a:cubicBezTo>
                  <a:cubicBezTo>
                    <a:pt x="15246" y="7767"/>
                    <a:pt x="15246" y="7767"/>
                    <a:pt x="15246" y="7767"/>
                  </a:cubicBezTo>
                  <a:cubicBezTo>
                    <a:pt x="15349" y="7866"/>
                    <a:pt x="15349" y="7866"/>
                    <a:pt x="15349" y="7866"/>
                  </a:cubicBezTo>
                  <a:cubicBezTo>
                    <a:pt x="15486" y="8000"/>
                    <a:pt x="15625" y="8128"/>
                    <a:pt x="15766" y="8254"/>
                  </a:cubicBezTo>
                  <a:cubicBezTo>
                    <a:pt x="16050" y="8505"/>
                    <a:pt x="16341" y="8744"/>
                    <a:pt x="16641" y="8970"/>
                  </a:cubicBezTo>
                  <a:cubicBezTo>
                    <a:pt x="17706" y="9776"/>
                    <a:pt x="18804" y="10356"/>
                    <a:pt x="19828" y="10768"/>
                  </a:cubicBezTo>
                  <a:cubicBezTo>
                    <a:pt x="20855" y="11180"/>
                    <a:pt x="21808" y="11423"/>
                    <a:pt x="22626" y="11568"/>
                  </a:cubicBezTo>
                  <a:cubicBezTo>
                    <a:pt x="23444" y="11713"/>
                    <a:pt x="24128" y="11763"/>
                    <a:pt x="24643" y="11779"/>
                  </a:cubicBezTo>
                  <a:cubicBezTo>
                    <a:pt x="25159" y="11792"/>
                    <a:pt x="25507" y="11773"/>
                    <a:pt x="25667" y="11755"/>
                  </a:cubicBezTo>
                  <a:cubicBezTo>
                    <a:pt x="26292" y="11727"/>
                    <a:pt x="26757" y="11664"/>
                    <a:pt x="27069" y="11608"/>
                  </a:cubicBezTo>
                  <a:cubicBezTo>
                    <a:pt x="27383" y="11552"/>
                    <a:pt x="27549" y="11499"/>
                    <a:pt x="27567" y="11469"/>
                  </a:cubicBezTo>
                  <a:cubicBezTo>
                    <a:pt x="27586" y="11436"/>
                    <a:pt x="27455" y="11424"/>
                    <a:pt x="27175" y="11422"/>
                  </a:cubicBezTo>
                  <a:cubicBezTo>
                    <a:pt x="26893" y="11416"/>
                    <a:pt x="26525" y="11420"/>
                    <a:pt x="25859" y="11398"/>
                  </a:cubicBezTo>
                  <a:cubicBezTo>
                    <a:pt x="25027" y="11367"/>
                    <a:pt x="23806" y="11287"/>
                    <a:pt x="22316" y="10912"/>
                  </a:cubicBezTo>
                  <a:cubicBezTo>
                    <a:pt x="21573" y="10721"/>
                    <a:pt x="20765" y="10457"/>
                    <a:pt x="19925" y="10078"/>
                  </a:cubicBezTo>
                  <a:cubicBezTo>
                    <a:pt x="19086" y="9698"/>
                    <a:pt x="18216" y="9206"/>
                    <a:pt x="17366" y="8573"/>
                  </a:cubicBezTo>
                  <a:cubicBezTo>
                    <a:pt x="16942" y="8256"/>
                    <a:pt x="16522" y="7904"/>
                    <a:pt x="16115" y="7516"/>
                  </a:cubicBezTo>
                  <a:cubicBezTo>
                    <a:pt x="16013" y="7420"/>
                    <a:pt x="15913" y="7320"/>
                    <a:pt x="15813" y="7218"/>
                  </a:cubicBezTo>
                  <a:cubicBezTo>
                    <a:pt x="15706" y="7114"/>
                    <a:pt x="15597" y="7010"/>
                    <a:pt x="15488" y="6905"/>
                  </a:cubicBezTo>
                  <a:cubicBezTo>
                    <a:pt x="15274" y="6699"/>
                    <a:pt x="15058" y="6490"/>
                    <a:pt x="14838" y="6279"/>
                  </a:cubicBezTo>
                  <a:cubicBezTo>
                    <a:pt x="13957" y="5435"/>
                    <a:pt x="13032" y="4548"/>
                    <a:pt x="12067" y="3623"/>
                  </a:cubicBezTo>
                  <a:cubicBezTo>
                    <a:pt x="11583" y="3160"/>
                    <a:pt x="11089" y="2687"/>
                    <a:pt x="10586" y="2205"/>
                  </a:cubicBezTo>
                  <a:cubicBezTo>
                    <a:pt x="10459" y="2085"/>
                    <a:pt x="10331" y="1963"/>
                    <a:pt x="10203" y="1841"/>
                  </a:cubicBezTo>
                  <a:cubicBezTo>
                    <a:pt x="10062" y="1710"/>
                    <a:pt x="9921" y="1590"/>
                    <a:pt x="9771" y="1472"/>
                  </a:cubicBezTo>
                  <a:cubicBezTo>
                    <a:pt x="9473" y="1239"/>
                    <a:pt x="9152" y="1028"/>
                    <a:pt x="8813" y="844"/>
                  </a:cubicBezTo>
                  <a:cubicBezTo>
                    <a:pt x="8134" y="476"/>
                    <a:pt x="7377" y="218"/>
                    <a:pt x="6586" y="101"/>
                  </a:cubicBezTo>
                  <a:cubicBezTo>
                    <a:pt x="6388" y="72"/>
                    <a:pt x="6188" y="52"/>
                    <a:pt x="5986" y="39"/>
                  </a:cubicBezTo>
                  <a:cubicBezTo>
                    <a:pt x="5834" y="32"/>
                    <a:pt x="5834" y="32"/>
                    <a:pt x="5834" y="32"/>
                  </a:cubicBezTo>
                  <a:cubicBezTo>
                    <a:pt x="5778" y="30"/>
                    <a:pt x="5731" y="29"/>
                    <a:pt x="5685" y="29"/>
                  </a:cubicBezTo>
                  <a:cubicBezTo>
                    <a:pt x="5590" y="28"/>
                    <a:pt x="5495" y="28"/>
                    <a:pt x="5400" y="27"/>
                  </a:cubicBezTo>
                  <a:cubicBezTo>
                    <a:pt x="5021" y="25"/>
                    <a:pt x="4638" y="22"/>
                    <a:pt x="4253" y="19"/>
                  </a:cubicBezTo>
                  <a:cubicBezTo>
                    <a:pt x="3214" y="13"/>
                    <a:pt x="1826" y="0"/>
                    <a:pt x="1071" y="0"/>
                  </a:cubicBezTo>
                  <a:cubicBezTo>
                    <a:pt x="316" y="0"/>
                    <a:pt x="71" y="462"/>
                    <a:pt x="71" y="993"/>
                  </a:cubicBezTo>
                  <a:cubicBezTo>
                    <a:pt x="71" y="1480"/>
                    <a:pt x="57" y="3521"/>
                    <a:pt x="51" y="4786"/>
                  </a:cubicBezTo>
                  <a:cubicBezTo>
                    <a:pt x="37" y="8137"/>
                    <a:pt x="23" y="11548"/>
                    <a:pt x="9" y="14968"/>
                  </a:cubicBezTo>
                  <a:cubicBezTo>
                    <a:pt x="7" y="16681"/>
                    <a:pt x="4" y="18396"/>
                    <a:pt x="1" y="20107"/>
                  </a:cubicBezTo>
                  <a:cubicBezTo>
                    <a:pt x="0" y="20749"/>
                    <a:pt x="0" y="20749"/>
                    <a:pt x="0" y="20749"/>
                  </a:cubicBezTo>
                  <a:cubicBezTo>
                    <a:pt x="2" y="21079"/>
                    <a:pt x="2" y="21079"/>
                    <a:pt x="2" y="21079"/>
                  </a:cubicBezTo>
                  <a:cubicBezTo>
                    <a:pt x="3" y="21211"/>
                    <a:pt x="14" y="21340"/>
                    <a:pt x="32" y="21470"/>
                  </a:cubicBezTo>
                  <a:cubicBezTo>
                    <a:pt x="107" y="21988"/>
                    <a:pt x="310" y="22469"/>
                    <a:pt x="582" y="22884"/>
                  </a:cubicBezTo>
                  <a:cubicBezTo>
                    <a:pt x="855" y="23299"/>
                    <a:pt x="1193" y="23650"/>
                    <a:pt x="1566" y="23950"/>
                  </a:cubicBezTo>
                  <a:cubicBezTo>
                    <a:pt x="1939" y="24247"/>
                    <a:pt x="2347" y="24492"/>
                    <a:pt x="2779" y="24682"/>
                  </a:cubicBezTo>
                  <a:cubicBezTo>
                    <a:pt x="3211" y="24873"/>
                    <a:pt x="3668" y="25010"/>
                    <a:pt x="4143" y="25080"/>
                  </a:cubicBezTo>
                  <a:cubicBezTo>
                    <a:pt x="4261" y="25098"/>
                    <a:pt x="4381" y="25111"/>
                    <a:pt x="4502" y="25118"/>
                  </a:cubicBezTo>
                  <a:cubicBezTo>
                    <a:pt x="4562" y="25123"/>
                    <a:pt x="4623" y="25125"/>
                    <a:pt x="4684" y="25127"/>
                  </a:cubicBezTo>
                  <a:cubicBezTo>
                    <a:pt x="4856" y="25129"/>
                    <a:pt x="4856" y="25129"/>
                    <a:pt x="4856" y="25129"/>
                  </a:cubicBezTo>
                  <a:cubicBezTo>
                    <a:pt x="5068" y="25129"/>
                    <a:pt x="5284" y="25127"/>
                    <a:pt x="5500" y="25123"/>
                  </a:cubicBezTo>
                  <a:cubicBezTo>
                    <a:pt x="5826" y="25114"/>
                    <a:pt x="5826" y="25114"/>
                    <a:pt x="5826" y="25114"/>
                  </a:cubicBezTo>
                  <a:cubicBezTo>
                    <a:pt x="5990" y="25107"/>
                    <a:pt x="5990" y="25107"/>
                    <a:pt x="5990" y="25107"/>
                  </a:cubicBezTo>
                  <a:cubicBezTo>
                    <a:pt x="6180" y="25096"/>
                    <a:pt x="6180" y="25096"/>
                    <a:pt x="6180" y="25096"/>
                  </a:cubicBezTo>
                  <a:cubicBezTo>
                    <a:pt x="6494" y="25075"/>
                    <a:pt x="6817" y="25044"/>
                    <a:pt x="7084" y="24932"/>
                  </a:cubicBezTo>
                  <a:cubicBezTo>
                    <a:pt x="7216" y="24876"/>
                    <a:pt x="7342" y="24793"/>
                    <a:pt x="7436" y="24676"/>
                  </a:cubicBezTo>
                  <a:cubicBezTo>
                    <a:pt x="7531" y="24561"/>
                    <a:pt x="7588" y="24426"/>
                    <a:pt x="7622" y="24285"/>
                  </a:cubicBezTo>
                  <a:cubicBezTo>
                    <a:pt x="7640" y="24215"/>
                    <a:pt x="7652" y="24142"/>
                    <a:pt x="7660" y="24067"/>
                  </a:cubicBezTo>
                  <a:cubicBezTo>
                    <a:pt x="7670" y="23993"/>
                    <a:pt x="7665" y="23912"/>
                    <a:pt x="7668" y="23834"/>
                  </a:cubicBezTo>
                  <a:cubicBezTo>
                    <a:pt x="7674" y="23387"/>
                    <a:pt x="7674" y="23387"/>
                    <a:pt x="7674" y="23387"/>
                  </a:cubicBezTo>
                  <a:cubicBezTo>
                    <a:pt x="7669" y="21716"/>
                    <a:pt x="7665" y="20060"/>
                    <a:pt x="7660" y="18425"/>
                  </a:cubicBezTo>
                  <a:cubicBezTo>
                    <a:pt x="7658" y="18017"/>
                    <a:pt x="7657" y="17610"/>
                    <a:pt x="7655" y="17204"/>
                  </a:cubicBezTo>
                  <a:cubicBezTo>
                    <a:pt x="7657" y="17006"/>
                    <a:pt x="7650" y="16786"/>
                    <a:pt x="7658" y="16629"/>
                  </a:cubicBezTo>
                  <a:cubicBezTo>
                    <a:pt x="7667" y="16461"/>
                    <a:pt x="7692" y="16292"/>
                    <a:pt x="7731" y="16128"/>
                  </a:cubicBezTo>
                  <a:cubicBezTo>
                    <a:pt x="7887" y="15470"/>
                    <a:pt x="8290" y="14876"/>
                    <a:pt x="8831" y="14482"/>
                  </a:cubicBezTo>
                  <a:cubicBezTo>
                    <a:pt x="9101" y="14285"/>
                    <a:pt x="9403" y="14137"/>
                    <a:pt x="9720" y="14049"/>
                  </a:cubicBezTo>
                  <a:cubicBezTo>
                    <a:pt x="9878" y="14006"/>
                    <a:pt x="10041" y="13973"/>
                    <a:pt x="10204" y="13959"/>
                  </a:cubicBezTo>
                  <a:cubicBezTo>
                    <a:pt x="10286" y="13951"/>
                    <a:pt x="10366" y="13948"/>
                    <a:pt x="10450" y="13948"/>
                  </a:cubicBezTo>
                  <a:cubicBezTo>
                    <a:pt x="10539" y="13946"/>
                    <a:pt x="10627" y="13950"/>
                    <a:pt x="10716" y="13953"/>
                  </a:cubicBezTo>
                  <a:cubicBezTo>
                    <a:pt x="11424" y="13984"/>
                    <a:pt x="12116" y="14162"/>
                    <a:pt x="12766" y="14442"/>
                  </a:cubicBezTo>
                  <a:cubicBezTo>
                    <a:pt x="13418" y="14721"/>
                    <a:pt x="14029" y="15100"/>
                    <a:pt x="14605" y="15522"/>
                  </a:cubicBezTo>
                  <a:cubicBezTo>
                    <a:pt x="15182" y="15946"/>
                    <a:pt x="15725" y="16411"/>
                    <a:pt x="16254" y="16889"/>
                  </a:cubicBezTo>
                  <a:cubicBezTo>
                    <a:pt x="16784" y="17365"/>
                    <a:pt x="17299" y="17853"/>
                    <a:pt x="17826" y="18324"/>
                  </a:cubicBezTo>
                  <a:cubicBezTo>
                    <a:pt x="18089" y="18555"/>
                    <a:pt x="18350" y="18784"/>
                    <a:pt x="18608" y="19011"/>
                  </a:cubicBezTo>
                  <a:cubicBezTo>
                    <a:pt x="18864" y="19238"/>
                    <a:pt x="19118" y="19463"/>
                    <a:pt x="19370" y="19687"/>
                  </a:cubicBezTo>
                  <a:cubicBezTo>
                    <a:pt x="20380" y="20583"/>
                    <a:pt x="21360" y="21468"/>
                    <a:pt x="22447" y="22172"/>
                  </a:cubicBezTo>
                  <a:cubicBezTo>
                    <a:pt x="22991" y="22520"/>
                    <a:pt x="23565" y="22819"/>
                    <a:pt x="24172" y="23012"/>
                  </a:cubicBezTo>
                  <a:cubicBezTo>
                    <a:pt x="24778" y="23207"/>
                    <a:pt x="25416" y="23286"/>
                    <a:pt x="26024" y="23232"/>
                  </a:cubicBezTo>
                  <a:cubicBezTo>
                    <a:pt x="26633" y="23183"/>
                    <a:pt x="27205" y="23008"/>
                    <a:pt x="27714" y="22778"/>
                  </a:cubicBezTo>
                  <a:cubicBezTo>
                    <a:pt x="28225" y="22545"/>
                    <a:pt x="28681" y="22258"/>
                    <a:pt x="29100" y="21961"/>
                  </a:cubicBezTo>
                  <a:cubicBezTo>
                    <a:pt x="29933" y="21360"/>
                    <a:pt x="30625" y="20720"/>
                    <a:pt x="31256" y="20132"/>
                  </a:cubicBezTo>
                  <a:cubicBezTo>
                    <a:pt x="31875" y="19545"/>
                    <a:pt x="32444" y="19006"/>
                    <a:pt x="32962" y="18513"/>
                  </a:cubicBezTo>
                  <a:cubicBezTo>
                    <a:pt x="33480" y="18034"/>
                    <a:pt x="33921" y="17585"/>
                    <a:pt x="34299" y="17202"/>
                  </a:cubicBezTo>
                  <a:cubicBezTo>
                    <a:pt x="34906" y="16593"/>
                    <a:pt x="35248" y="16240"/>
                    <a:pt x="35607" y="15888"/>
                  </a:cubicBezTo>
                  <a:cubicBezTo>
                    <a:pt x="36146" y="15365"/>
                    <a:pt x="36518" y="15039"/>
                    <a:pt x="36667" y="14875"/>
                  </a:cubicBezTo>
                  <a:cubicBezTo>
                    <a:pt x="36820" y="14712"/>
                    <a:pt x="36745" y="14705"/>
                    <a:pt x="36432" y="14878"/>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8" name="Freeform 42"/>
            <p:cNvSpPr>
              <a:spLocks/>
            </p:cNvSpPr>
            <p:nvPr userDrawn="1"/>
          </p:nvSpPr>
          <p:spPr bwMode="auto">
            <a:xfrm>
              <a:off x="-82780187" y="20591463"/>
              <a:ext cx="78374875" cy="93070362"/>
            </a:xfrm>
            <a:custGeom>
              <a:avLst/>
              <a:gdLst>
                <a:gd name="T0" fmla="*/ 18503 w 20899"/>
                <a:gd name="T1" fmla="*/ 18446 h 24816"/>
                <a:gd name="T2" fmla="*/ 15976 w 20899"/>
                <a:gd name="T3" fmla="*/ 16248 h 24816"/>
                <a:gd name="T4" fmla="*/ 12171 w 20899"/>
                <a:gd name="T5" fmla="*/ 13872 h 24816"/>
                <a:gd name="T6" fmla="*/ 10285 w 20899"/>
                <a:gd name="T7" fmla="*/ 13576 h 24816"/>
                <a:gd name="T8" fmla="*/ 8479 w 20899"/>
                <a:gd name="T9" fmla="*/ 14214 h 24816"/>
                <a:gd name="T10" fmla="*/ 7287 w 20899"/>
                <a:gd name="T11" fmla="*/ 16594 h 24816"/>
                <a:gd name="T12" fmla="*/ 7321 w 20899"/>
                <a:gd name="T13" fmla="*/ 21479 h 24816"/>
                <a:gd name="T14" fmla="*/ 7331 w 20899"/>
                <a:gd name="T15" fmla="*/ 23294 h 24816"/>
                <a:gd name="T16" fmla="*/ 7327 w 20899"/>
                <a:gd name="T17" fmla="*/ 23725 h 24816"/>
                <a:gd name="T18" fmla="*/ 6843 w 20899"/>
                <a:gd name="T19" fmla="*/ 24634 h 24816"/>
                <a:gd name="T20" fmla="*/ 5998 w 20899"/>
                <a:gd name="T21" fmla="*/ 24782 h 24816"/>
                <a:gd name="T22" fmla="*/ 5305 w 20899"/>
                <a:gd name="T23" fmla="*/ 24811 h 24816"/>
                <a:gd name="T24" fmla="*/ 4633 w 20899"/>
                <a:gd name="T25" fmla="*/ 24816 h 24816"/>
                <a:gd name="T26" fmla="*/ 2519 w 20899"/>
                <a:gd name="T27" fmla="*/ 24311 h 24816"/>
                <a:gd name="T28" fmla="*/ 364 w 20899"/>
                <a:gd name="T29" fmla="*/ 22315 h 24816"/>
                <a:gd name="T30" fmla="*/ 12 w 20899"/>
                <a:gd name="T31" fmla="*/ 21057 h 24816"/>
                <a:gd name="T32" fmla="*/ 6 w 20899"/>
                <a:gd name="T33" fmla="*/ 20803 h 24816"/>
                <a:gd name="T34" fmla="*/ 4 w 20899"/>
                <a:gd name="T35" fmla="*/ 19416 h 24816"/>
                <a:gd name="T36" fmla="*/ 39 w 20899"/>
                <a:gd name="T37" fmla="*/ 2693 h 24816"/>
                <a:gd name="T38" fmla="*/ 969 w 20899"/>
                <a:gd name="T39" fmla="*/ 0 h 24816"/>
                <a:gd name="T40" fmla="*/ 4865 w 20899"/>
                <a:gd name="T41" fmla="*/ 22 h 24816"/>
                <a:gd name="T42" fmla="*/ 5488 w 20899"/>
                <a:gd name="T43" fmla="*/ 27 h 24816"/>
                <a:gd name="T44" fmla="*/ 5702 w 20899"/>
                <a:gd name="T45" fmla="*/ 30 h 24816"/>
                <a:gd name="T46" fmla="*/ 8881 w 20899"/>
                <a:gd name="T47" fmla="*/ 990 h 24816"/>
                <a:gd name="T48" fmla="*/ 10126 w 20899"/>
                <a:gd name="T49" fmla="*/ 1964 h 24816"/>
                <a:gd name="T50" fmla="*/ 14916 w 20899"/>
                <a:gd name="T51" fmla="*/ 6565 h 24816"/>
                <a:gd name="T52" fmla="*/ 15519 w 20899"/>
                <a:gd name="T53" fmla="*/ 7149 h 24816"/>
                <a:gd name="T54" fmla="*/ 17174 w 20899"/>
                <a:gd name="T55" fmla="*/ 8604 h 24816"/>
                <a:gd name="T56" fmla="*/ 20445 w 20899"/>
                <a:gd name="T57" fmla="*/ 10489 h 24816"/>
                <a:gd name="T58" fmla="*/ 20309 w 20899"/>
                <a:gd name="T59" fmla="*/ 10584 h 24816"/>
                <a:gd name="T60" fmla="*/ 18552 w 20899"/>
                <a:gd name="T61" fmla="*/ 9919 h 24816"/>
                <a:gd name="T62" fmla="*/ 15458 w 20899"/>
                <a:gd name="T63" fmla="*/ 7802 h 24816"/>
                <a:gd name="T64" fmla="*/ 15171 w 20899"/>
                <a:gd name="T65" fmla="*/ 7529 h 24816"/>
                <a:gd name="T66" fmla="*/ 15000 w 20899"/>
                <a:gd name="T67" fmla="*/ 7373 h 24816"/>
                <a:gd name="T68" fmla="*/ 13487 w 20899"/>
                <a:gd name="T69" fmla="*/ 5972 h 24816"/>
                <a:gd name="T70" fmla="*/ 9619 w 20899"/>
                <a:gd name="T71" fmla="*/ 2367 h 24816"/>
                <a:gd name="T72" fmla="*/ 6604 w 20899"/>
                <a:gd name="T73" fmla="*/ 823 h 24816"/>
                <a:gd name="T74" fmla="*/ 5295 w 20899"/>
                <a:gd name="T75" fmla="*/ 720 h 24816"/>
                <a:gd name="T76" fmla="*/ 1271 w 20899"/>
                <a:gd name="T77" fmla="*/ 729 h 24816"/>
                <a:gd name="T78" fmla="*/ 810 w 20899"/>
                <a:gd name="T79" fmla="*/ 10472 h 24816"/>
                <a:gd name="T80" fmla="*/ 869 w 20899"/>
                <a:gd name="T81" fmla="*/ 20931 h 24816"/>
                <a:gd name="T82" fmla="*/ 2799 w 20899"/>
                <a:gd name="T83" fmla="*/ 23486 h 24816"/>
                <a:gd name="T84" fmla="*/ 4472 w 20899"/>
                <a:gd name="T85" fmla="*/ 23956 h 24816"/>
                <a:gd name="T86" fmla="*/ 4774 w 20899"/>
                <a:gd name="T87" fmla="*/ 23960 h 24816"/>
                <a:gd name="T88" fmla="*/ 5730 w 20899"/>
                <a:gd name="T89" fmla="*/ 23945 h 24816"/>
                <a:gd name="T90" fmla="*/ 5979 w 20899"/>
                <a:gd name="T91" fmla="*/ 23933 h 24816"/>
                <a:gd name="T92" fmla="*/ 6349 w 20899"/>
                <a:gd name="T93" fmla="*/ 23873 h 24816"/>
                <a:gd name="T94" fmla="*/ 6495 w 20899"/>
                <a:gd name="T95" fmla="*/ 23550 h 24816"/>
                <a:gd name="T96" fmla="*/ 6526 w 20899"/>
                <a:gd name="T97" fmla="*/ 18358 h 24816"/>
                <a:gd name="T98" fmla="*/ 6538 w 20899"/>
                <a:gd name="T99" fmla="*/ 16843 h 24816"/>
                <a:gd name="T100" fmla="*/ 6544 w 20899"/>
                <a:gd name="T101" fmla="*/ 16529 h 24816"/>
                <a:gd name="T102" fmla="*/ 7957 w 20899"/>
                <a:gd name="T103" fmla="*/ 13747 h 24816"/>
                <a:gd name="T104" fmla="*/ 9723 w 20899"/>
                <a:gd name="T105" fmla="*/ 12968 h 24816"/>
                <a:gd name="T106" fmla="*/ 12823 w 20899"/>
                <a:gd name="T107" fmla="*/ 13479 h 24816"/>
                <a:gd name="T108" fmla="*/ 16704 w 20899"/>
                <a:gd name="T109" fmla="*/ 16252 h 24816"/>
                <a:gd name="T110" fmla="*/ 18726 w 20899"/>
                <a:gd name="T111" fmla="*/ 18165 h 24816"/>
                <a:gd name="T112" fmla="*/ 20529 w 20899"/>
                <a:gd name="T113" fmla="*/ 19887 h 24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899" h="24816">
                  <a:moveTo>
                    <a:pt x="19639" y="19376"/>
                  </a:moveTo>
                  <a:cubicBezTo>
                    <a:pt x="19326" y="19126"/>
                    <a:pt x="19023" y="18881"/>
                    <a:pt x="18503" y="18446"/>
                  </a:cubicBezTo>
                  <a:cubicBezTo>
                    <a:pt x="18164" y="18167"/>
                    <a:pt x="17774" y="17842"/>
                    <a:pt x="17357" y="17469"/>
                  </a:cubicBezTo>
                  <a:cubicBezTo>
                    <a:pt x="16937" y="17097"/>
                    <a:pt x="16481" y="16683"/>
                    <a:pt x="15976" y="16248"/>
                  </a:cubicBezTo>
                  <a:cubicBezTo>
                    <a:pt x="15471" y="15817"/>
                    <a:pt x="14916" y="15365"/>
                    <a:pt x="14288" y="14941"/>
                  </a:cubicBezTo>
                  <a:cubicBezTo>
                    <a:pt x="13662" y="14521"/>
                    <a:pt x="12959" y="14129"/>
                    <a:pt x="12171" y="13872"/>
                  </a:cubicBezTo>
                  <a:cubicBezTo>
                    <a:pt x="11777" y="13744"/>
                    <a:pt x="11364" y="13652"/>
                    <a:pt x="10936" y="13607"/>
                  </a:cubicBezTo>
                  <a:cubicBezTo>
                    <a:pt x="10722" y="13585"/>
                    <a:pt x="10504" y="13574"/>
                    <a:pt x="10285" y="13576"/>
                  </a:cubicBezTo>
                  <a:cubicBezTo>
                    <a:pt x="10074" y="13579"/>
                    <a:pt x="9862" y="13603"/>
                    <a:pt x="9653" y="13652"/>
                  </a:cubicBezTo>
                  <a:cubicBezTo>
                    <a:pt x="9235" y="13747"/>
                    <a:pt x="8830" y="13938"/>
                    <a:pt x="8479" y="14214"/>
                  </a:cubicBezTo>
                  <a:cubicBezTo>
                    <a:pt x="8128" y="14486"/>
                    <a:pt x="7829" y="14842"/>
                    <a:pt x="7621" y="15253"/>
                  </a:cubicBezTo>
                  <a:cubicBezTo>
                    <a:pt x="7411" y="15660"/>
                    <a:pt x="7293" y="16122"/>
                    <a:pt x="7287" y="16594"/>
                  </a:cubicBezTo>
                  <a:cubicBezTo>
                    <a:pt x="7291" y="17114"/>
                    <a:pt x="7295" y="17642"/>
                    <a:pt x="7299" y="18175"/>
                  </a:cubicBezTo>
                  <a:cubicBezTo>
                    <a:pt x="7306" y="19250"/>
                    <a:pt x="7313" y="20354"/>
                    <a:pt x="7321" y="21479"/>
                  </a:cubicBezTo>
                  <a:cubicBezTo>
                    <a:pt x="7324" y="22041"/>
                    <a:pt x="7327" y="22611"/>
                    <a:pt x="7330" y="23186"/>
                  </a:cubicBezTo>
                  <a:cubicBezTo>
                    <a:pt x="7331" y="23294"/>
                    <a:pt x="7331" y="23294"/>
                    <a:pt x="7331" y="23294"/>
                  </a:cubicBezTo>
                  <a:cubicBezTo>
                    <a:pt x="7330" y="23437"/>
                    <a:pt x="7330" y="23437"/>
                    <a:pt x="7330" y="23437"/>
                  </a:cubicBezTo>
                  <a:cubicBezTo>
                    <a:pt x="7327" y="23725"/>
                    <a:pt x="7327" y="23725"/>
                    <a:pt x="7327" y="23725"/>
                  </a:cubicBezTo>
                  <a:cubicBezTo>
                    <a:pt x="7327" y="23918"/>
                    <a:pt x="7306" y="24099"/>
                    <a:pt x="7234" y="24266"/>
                  </a:cubicBezTo>
                  <a:cubicBezTo>
                    <a:pt x="7164" y="24436"/>
                    <a:pt x="7012" y="24575"/>
                    <a:pt x="6843" y="24634"/>
                  </a:cubicBezTo>
                  <a:cubicBezTo>
                    <a:pt x="6675" y="24703"/>
                    <a:pt x="6485" y="24735"/>
                    <a:pt x="6291" y="24757"/>
                  </a:cubicBezTo>
                  <a:cubicBezTo>
                    <a:pt x="6194" y="24768"/>
                    <a:pt x="6096" y="24777"/>
                    <a:pt x="5998" y="24782"/>
                  </a:cubicBezTo>
                  <a:cubicBezTo>
                    <a:pt x="5756" y="24796"/>
                    <a:pt x="5756" y="24796"/>
                    <a:pt x="5756" y="24796"/>
                  </a:cubicBezTo>
                  <a:cubicBezTo>
                    <a:pt x="5605" y="24804"/>
                    <a:pt x="5455" y="24807"/>
                    <a:pt x="5305" y="24811"/>
                  </a:cubicBezTo>
                  <a:cubicBezTo>
                    <a:pt x="5156" y="24813"/>
                    <a:pt x="5006" y="24814"/>
                    <a:pt x="4856" y="24816"/>
                  </a:cubicBezTo>
                  <a:cubicBezTo>
                    <a:pt x="4633" y="24816"/>
                    <a:pt x="4633" y="24816"/>
                    <a:pt x="4633" y="24816"/>
                  </a:cubicBezTo>
                  <a:cubicBezTo>
                    <a:pt x="4551" y="24816"/>
                    <a:pt x="4469" y="24816"/>
                    <a:pt x="4388" y="24811"/>
                  </a:cubicBezTo>
                  <a:cubicBezTo>
                    <a:pt x="3734" y="24773"/>
                    <a:pt x="3103" y="24591"/>
                    <a:pt x="2519" y="24311"/>
                  </a:cubicBezTo>
                  <a:cubicBezTo>
                    <a:pt x="1935" y="24028"/>
                    <a:pt x="1393" y="23644"/>
                    <a:pt x="944" y="23148"/>
                  </a:cubicBezTo>
                  <a:cubicBezTo>
                    <a:pt x="721" y="22900"/>
                    <a:pt x="521" y="22622"/>
                    <a:pt x="364" y="22315"/>
                  </a:cubicBezTo>
                  <a:cubicBezTo>
                    <a:pt x="206" y="22009"/>
                    <a:pt x="91" y="21673"/>
                    <a:pt x="38" y="21322"/>
                  </a:cubicBezTo>
                  <a:cubicBezTo>
                    <a:pt x="26" y="21233"/>
                    <a:pt x="16" y="21145"/>
                    <a:pt x="12" y="21057"/>
                  </a:cubicBezTo>
                  <a:cubicBezTo>
                    <a:pt x="8" y="21012"/>
                    <a:pt x="7" y="20967"/>
                    <a:pt x="6" y="20923"/>
                  </a:cubicBezTo>
                  <a:cubicBezTo>
                    <a:pt x="6" y="20803"/>
                    <a:pt x="6" y="20803"/>
                    <a:pt x="6" y="20803"/>
                  </a:cubicBezTo>
                  <a:cubicBezTo>
                    <a:pt x="5" y="20341"/>
                    <a:pt x="5" y="20341"/>
                    <a:pt x="5" y="20341"/>
                  </a:cubicBezTo>
                  <a:cubicBezTo>
                    <a:pt x="5" y="20033"/>
                    <a:pt x="5" y="19724"/>
                    <a:pt x="4" y="19416"/>
                  </a:cubicBezTo>
                  <a:cubicBezTo>
                    <a:pt x="3" y="18796"/>
                    <a:pt x="3" y="18177"/>
                    <a:pt x="2" y="17555"/>
                  </a:cubicBezTo>
                  <a:cubicBezTo>
                    <a:pt x="0" y="12582"/>
                    <a:pt x="12" y="7527"/>
                    <a:pt x="39" y="2693"/>
                  </a:cubicBezTo>
                  <a:cubicBezTo>
                    <a:pt x="42" y="2101"/>
                    <a:pt x="47" y="1358"/>
                    <a:pt x="47" y="915"/>
                  </a:cubicBezTo>
                  <a:cubicBezTo>
                    <a:pt x="47" y="472"/>
                    <a:pt x="318" y="0"/>
                    <a:pt x="969" y="0"/>
                  </a:cubicBezTo>
                  <a:cubicBezTo>
                    <a:pt x="1621" y="0"/>
                    <a:pt x="3027" y="11"/>
                    <a:pt x="4025" y="17"/>
                  </a:cubicBezTo>
                  <a:cubicBezTo>
                    <a:pt x="4306" y="19"/>
                    <a:pt x="4587" y="20"/>
                    <a:pt x="4865" y="22"/>
                  </a:cubicBezTo>
                  <a:cubicBezTo>
                    <a:pt x="5004" y="23"/>
                    <a:pt x="5143" y="24"/>
                    <a:pt x="5281" y="25"/>
                  </a:cubicBezTo>
                  <a:cubicBezTo>
                    <a:pt x="5488" y="27"/>
                    <a:pt x="5488" y="27"/>
                    <a:pt x="5488" y="27"/>
                  </a:cubicBezTo>
                  <a:cubicBezTo>
                    <a:pt x="5592" y="28"/>
                    <a:pt x="5592" y="28"/>
                    <a:pt x="5592" y="28"/>
                  </a:cubicBezTo>
                  <a:cubicBezTo>
                    <a:pt x="5702" y="30"/>
                    <a:pt x="5702" y="30"/>
                    <a:pt x="5702" y="30"/>
                  </a:cubicBezTo>
                  <a:cubicBezTo>
                    <a:pt x="6278" y="55"/>
                    <a:pt x="6844" y="152"/>
                    <a:pt x="7379" y="317"/>
                  </a:cubicBezTo>
                  <a:cubicBezTo>
                    <a:pt x="7914" y="480"/>
                    <a:pt x="8419" y="709"/>
                    <a:pt x="8881" y="990"/>
                  </a:cubicBezTo>
                  <a:cubicBezTo>
                    <a:pt x="9112" y="1130"/>
                    <a:pt x="9332" y="1283"/>
                    <a:pt x="9540" y="1447"/>
                  </a:cubicBezTo>
                  <a:cubicBezTo>
                    <a:pt x="9748" y="1609"/>
                    <a:pt x="9948" y="1791"/>
                    <a:pt x="10126" y="1964"/>
                  </a:cubicBezTo>
                  <a:cubicBezTo>
                    <a:pt x="11557" y="3337"/>
                    <a:pt x="12879" y="4606"/>
                    <a:pt x="14062" y="5741"/>
                  </a:cubicBezTo>
                  <a:cubicBezTo>
                    <a:pt x="14355" y="6024"/>
                    <a:pt x="14640" y="6299"/>
                    <a:pt x="14916" y="6565"/>
                  </a:cubicBezTo>
                  <a:cubicBezTo>
                    <a:pt x="15053" y="6698"/>
                    <a:pt x="15188" y="6829"/>
                    <a:pt x="15321" y="6958"/>
                  </a:cubicBezTo>
                  <a:cubicBezTo>
                    <a:pt x="15388" y="7022"/>
                    <a:pt x="15453" y="7086"/>
                    <a:pt x="15519" y="7149"/>
                  </a:cubicBezTo>
                  <a:cubicBezTo>
                    <a:pt x="15583" y="7214"/>
                    <a:pt x="15647" y="7278"/>
                    <a:pt x="15710" y="7341"/>
                  </a:cubicBezTo>
                  <a:cubicBezTo>
                    <a:pt x="16207" y="7835"/>
                    <a:pt x="16703" y="8251"/>
                    <a:pt x="17174" y="8604"/>
                  </a:cubicBezTo>
                  <a:cubicBezTo>
                    <a:pt x="18115" y="9307"/>
                    <a:pt x="18945" y="9752"/>
                    <a:pt x="19526" y="10044"/>
                  </a:cubicBezTo>
                  <a:cubicBezTo>
                    <a:pt x="19988" y="10273"/>
                    <a:pt x="20247" y="10392"/>
                    <a:pt x="20445" y="10489"/>
                  </a:cubicBezTo>
                  <a:cubicBezTo>
                    <a:pt x="20641" y="10584"/>
                    <a:pt x="20728" y="10635"/>
                    <a:pt x="20704" y="10652"/>
                  </a:cubicBezTo>
                  <a:cubicBezTo>
                    <a:pt x="20681" y="10667"/>
                    <a:pt x="20549" y="10648"/>
                    <a:pt x="20309" y="10584"/>
                  </a:cubicBezTo>
                  <a:cubicBezTo>
                    <a:pt x="20068" y="10518"/>
                    <a:pt x="19727" y="10410"/>
                    <a:pt x="19276" y="10228"/>
                  </a:cubicBezTo>
                  <a:cubicBezTo>
                    <a:pt x="19159" y="10190"/>
                    <a:pt x="18909" y="10091"/>
                    <a:pt x="18552" y="9919"/>
                  </a:cubicBezTo>
                  <a:cubicBezTo>
                    <a:pt x="18195" y="9748"/>
                    <a:pt x="17732" y="9501"/>
                    <a:pt x="17201" y="9156"/>
                  </a:cubicBezTo>
                  <a:cubicBezTo>
                    <a:pt x="16670" y="8810"/>
                    <a:pt x="16071" y="8367"/>
                    <a:pt x="15458" y="7802"/>
                  </a:cubicBezTo>
                  <a:cubicBezTo>
                    <a:pt x="15381" y="7731"/>
                    <a:pt x="15305" y="7659"/>
                    <a:pt x="15228" y="7584"/>
                  </a:cubicBezTo>
                  <a:cubicBezTo>
                    <a:pt x="15171" y="7529"/>
                    <a:pt x="15171" y="7529"/>
                    <a:pt x="15171" y="7529"/>
                  </a:cubicBezTo>
                  <a:cubicBezTo>
                    <a:pt x="15118" y="7482"/>
                    <a:pt x="15118" y="7482"/>
                    <a:pt x="15118" y="7482"/>
                  </a:cubicBezTo>
                  <a:cubicBezTo>
                    <a:pt x="15079" y="7445"/>
                    <a:pt x="15040" y="7409"/>
                    <a:pt x="15000" y="7373"/>
                  </a:cubicBezTo>
                  <a:cubicBezTo>
                    <a:pt x="14843" y="7227"/>
                    <a:pt x="14681" y="7078"/>
                    <a:pt x="14516" y="6926"/>
                  </a:cubicBezTo>
                  <a:cubicBezTo>
                    <a:pt x="14186" y="6620"/>
                    <a:pt x="13843" y="6302"/>
                    <a:pt x="13487" y="5972"/>
                  </a:cubicBezTo>
                  <a:cubicBezTo>
                    <a:pt x="12646" y="5189"/>
                    <a:pt x="11791" y="4393"/>
                    <a:pt x="10925" y="3587"/>
                  </a:cubicBezTo>
                  <a:cubicBezTo>
                    <a:pt x="10493" y="3183"/>
                    <a:pt x="10057" y="2776"/>
                    <a:pt x="9619" y="2367"/>
                  </a:cubicBezTo>
                  <a:cubicBezTo>
                    <a:pt x="9203" y="1975"/>
                    <a:pt x="8737" y="1644"/>
                    <a:pt x="8228" y="1382"/>
                  </a:cubicBezTo>
                  <a:cubicBezTo>
                    <a:pt x="7719" y="1119"/>
                    <a:pt x="7171" y="930"/>
                    <a:pt x="6604" y="823"/>
                  </a:cubicBezTo>
                  <a:cubicBezTo>
                    <a:pt x="6320" y="770"/>
                    <a:pt x="6032" y="736"/>
                    <a:pt x="5743" y="723"/>
                  </a:cubicBezTo>
                  <a:cubicBezTo>
                    <a:pt x="5605" y="716"/>
                    <a:pt x="5448" y="720"/>
                    <a:pt x="5295" y="720"/>
                  </a:cubicBezTo>
                  <a:cubicBezTo>
                    <a:pt x="4833" y="721"/>
                    <a:pt x="4833" y="721"/>
                    <a:pt x="4833" y="721"/>
                  </a:cubicBezTo>
                  <a:cubicBezTo>
                    <a:pt x="3653" y="724"/>
                    <a:pt x="1519" y="729"/>
                    <a:pt x="1271" y="729"/>
                  </a:cubicBezTo>
                  <a:cubicBezTo>
                    <a:pt x="1024" y="729"/>
                    <a:pt x="784" y="724"/>
                    <a:pt x="784" y="1219"/>
                  </a:cubicBezTo>
                  <a:cubicBezTo>
                    <a:pt x="784" y="1715"/>
                    <a:pt x="801" y="7400"/>
                    <a:pt x="810" y="10472"/>
                  </a:cubicBezTo>
                  <a:cubicBezTo>
                    <a:pt x="827" y="13590"/>
                    <a:pt x="843" y="16677"/>
                    <a:pt x="859" y="19679"/>
                  </a:cubicBezTo>
                  <a:cubicBezTo>
                    <a:pt x="862" y="20094"/>
                    <a:pt x="865" y="20510"/>
                    <a:pt x="869" y="20931"/>
                  </a:cubicBezTo>
                  <a:cubicBezTo>
                    <a:pt x="876" y="21277"/>
                    <a:pt x="975" y="21621"/>
                    <a:pt x="1146" y="21942"/>
                  </a:cubicBezTo>
                  <a:cubicBezTo>
                    <a:pt x="1490" y="22589"/>
                    <a:pt x="2104" y="23129"/>
                    <a:pt x="2799" y="23486"/>
                  </a:cubicBezTo>
                  <a:cubicBezTo>
                    <a:pt x="3148" y="23664"/>
                    <a:pt x="3522" y="23799"/>
                    <a:pt x="3901" y="23879"/>
                  </a:cubicBezTo>
                  <a:cubicBezTo>
                    <a:pt x="4091" y="23920"/>
                    <a:pt x="4282" y="23945"/>
                    <a:pt x="4472" y="23956"/>
                  </a:cubicBezTo>
                  <a:cubicBezTo>
                    <a:pt x="4520" y="23958"/>
                    <a:pt x="4567" y="23960"/>
                    <a:pt x="4615" y="23960"/>
                  </a:cubicBezTo>
                  <a:cubicBezTo>
                    <a:pt x="4774" y="23960"/>
                    <a:pt x="4774" y="23960"/>
                    <a:pt x="4774" y="23960"/>
                  </a:cubicBezTo>
                  <a:cubicBezTo>
                    <a:pt x="5096" y="23960"/>
                    <a:pt x="5096" y="23960"/>
                    <a:pt x="5096" y="23960"/>
                  </a:cubicBezTo>
                  <a:cubicBezTo>
                    <a:pt x="5309" y="23958"/>
                    <a:pt x="5521" y="23954"/>
                    <a:pt x="5730" y="23945"/>
                  </a:cubicBezTo>
                  <a:cubicBezTo>
                    <a:pt x="5885" y="23938"/>
                    <a:pt x="5885" y="23938"/>
                    <a:pt x="5885" y="23938"/>
                  </a:cubicBezTo>
                  <a:cubicBezTo>
                    <a:pt x="5979" y="23933"/>
                    <a:pt x="5979" y="23933"/>
                    <a:pt x="5979" y="23933"/>
                  </a:cubicBezTo>
                  <a:cubicBezTo>
                    <a:pt x="6041" y="23927"/>
                    <a:pt x="6104" y="23924"/>
                    <a:pt x="6166" y="23915"/>
                  </a:cubicBezTo>
                  <a:cubicBezTo>
                    <a:pt x="6228" y="23906"/>
                    <a:pt x="6292" y="23897"/>
                    <a:pt x="6349" y="23873"/>
                  </a:cubicBezTo>
                  <a:cubicBezTo>
                    <a:pt x="6407" y="23846"/>
                    <a:pt x="6452" y="23796"/>
                    <a:pt x="6471" y="23736"/>
                  </a:cubicBezTo>
                  <a:cubicBezTo>
                    <a:pt x="6492" y="23677"/>
                    <a:pt x="6494" y="23614"/>
                    <a:pt x="6495" y="23550"/>
                  </a:cubicBezTo>
                  <a:cubicBezTo>
                    <a:pt x="6496" y="23363"/>
                    <a:pt x="6496" y="23363"/>
                    <a:pt x="6496" y="23363"/>
                  </a:cubicBezTo>
                  <a:cubicBezTo>
                    <a:pt x="6506" y="21661"/>
                    <a:pt x="6516" y="19980"/>
                    <a:pt x="6526" y="18358"/>
                  </a:cubicBezTo>
                  <a:cubicBezTo>
                    <a:pt x="6529" y="17948"/>
                    <a:pt x="6532" y="17543"/>
                    <a:pt x="6535" y="17142"/>
                  </a:cubicBezTo>
                  <a:cubicBezTo>
                    <a:pt x="6536" y="17041"/>
                    <a:pt x="6537" y="16942"/>
                    <a:pt x="6538" y="16843"/>
                  </a:cubicBezTo>
                  <a:cubicBezTo>
                    <a:pt x="6539" y="16693"/>
                    <a:pt x="6539" y="16693"/>
                    <a:pt x="6539" y="16693"/>
                  </a:cubicBezTo>
                  <a:cubicBezTo>
                    <a:pt x="6539" y="16645"/>
                    <a:pt x="6540" y="16583"/>
                    <a:pt x="6544" y="16529"/>
                  </a:cubicBezTo>
                  <a:cubicBezTo>
                    <a:pt x="6553" y="16308"/>
                    <a:pt x="6582" y="16088"/>
                    <a:pt x="6630" y="15873"/>
                  </a:cubicBezTo>
                  <a:cubicBezTo>
                    <a:pt x="6820" y="15011"/>
                    <a:pt x="7315" y="14259"/>
                    <a:pt x="7957" y="13747"/>
                  </a:cubicBezTo>
                  <a:cubicBezTo>
                    <a:pt x="8286" y="13480"/>
                    <a:pt x="8669" y="13266"/>
                    <a:pt x="9083" y="13125"/>
                  </a:cubicBezTo>
                  <a:cubicBezTo>
                    <a:pt x="9290" y="13055"/>
                    <a:pt x="9505" y="13002"/>
                    <a:pt x="9723" y="12968"/>
                  </a:cubicBezTo>
                  <a:cubicBezTo>
                    <a:pt x="9940" y="12936"/>
                    <a:pt x="10169" y="12927"/>
                    <a:pt x="10381" y="12932"/>
                  </a:cubicBezTo>
                  <a:cubicBezTo>
                    <a:pt x="11228" y="12950"/>
                    <a:pt x="12070" y="13154"/>
                    <a:pt x="12823" y="13479"/>
                  </a:cubicBezTo>
                  <a:cubicBezTo>
                    <a:pt x="13579" y="13801"/>
                    <a:pt x="14267" y="14236"/>
                    <a:pt x="14905" y="14714"/>
                  </a:cubicBezTo>
                  <a:cubicBezTo>
                    <a:pt x="15543" y="15193"/>
                    <a:pt x="16133" y="15720"/>
                    <a:pt x="16704" y="16252"/>
                  </a:cubicBezTo>
                  <a:cubicBezTo>
                    <a:pt x="17188" y="16713"/>
                    <a:pt x="17662" y="17168"/>
                    <a:pt x="18099" y="17586"/>
                  </a:cubicBezTo>
                  <a:cubicBezTo>
                    <a:pt x="18315" y="17790"/>
                    <a:pt x="18527" y="17981"/>
                    <a:pt x="18726" y="18165"/>
                  </a:cubicBezTo>
                  <a:cubicBezTo>
                    <a:pt x="18922" y="18349"/>
                    <a:pt x="19104" y="18520"/>
                    <a:pt x="19270" y="18677"/>
                  </a:cubicBezTo>
                  <a:cubicBezTo>
                    <a:pt x="19773" y="19160"/>
                    <a:pt x="20142" y="19515"/>
                    <a:pt x="20529" y="19887"/>
                  </a:cubicBezTo>
                  <a:cubicBezTo>
                    <a:pt x="20899" y="20301"/>
                    <a:pt x="20570" y="20123"/>
                    <a:pt x="19639" y="19376"/>
                  </a:cubicBezTo>
                  <a:close/>
                </a:path>
              </a:pathLst>
            </a:custGeom>
            <a:solidFill>
              <a:srgbClr val="FFC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Tree>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ynthetic | Pictur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978"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5" name="Rectangle 14"/>
          <p:cNvSpPr/>
          <p:nvPr userDrawn="1"/>
        </p:nvSpPr>
        <p:spPr bwMode="gray">
          <a:xfrm>
            <a:off x="1" y="2"/>
            <a:ext cx="12192000" cy="6858001"/>
          </a:xfrm>
          <a:prstGeom prst="rect">
            <a:avLst/>
          </a:prstGeom>
          <a:solidFill>
            <a:srgbClr val="2DBECD"/>
          </a:solidFill>
          <a:ln w="9525" cap="flat" cmpd="sng" algn="ctr">
            <a:noFill/>
            <a:prstDash val="solid"/>
          </a:ln>
          <a:effectLst/>
        </p:spPr>
        <p:txBody>
          <a:bodyPr rtlCol="0" anchor="ctr" anchorCtr="0"/>
          <a:lstStyle/>
          <a:p>
            <a:pPr marL="0" indent="0" algn="ctr">
              <a:spcBef>
                <a:spcPts val="225"/>
              </a:spcBef>
              <a:spcAft>
                <a:spcPts val="225"/>
              </a:spcAft>
              <a:buClr>
                <a:schemeClr val="bg1"/>
              </a:buClr>
              <a:buSzPct val="100000"/>
              <a:buFont typeface="Arial" panose="020B0604020202020204" pitchFamily="34" charset="0"/>
              <a:buNone/>
            </a:pPr>
            <a:endParaRPr lang="en-US" sz="1050" kern="0">
              <a:solidFill>
                <a:srgbClr val="FFFFFF"/>
              </a:solidFill>
              <a:latin typeface="Verdana"/>
            </a:endParaRPr>
          </a:p>
        </p:txBody>
      </p:sp>
      <p:grpSp>
        <p:nvGrpSpPr>
          <p:cNvPr id="4" name="Gruppieren 3"/>
          <p:cNvGrpSpPr/>
          <p:nvPr userDrawn="1"/>
        </p:nvGrpSpPr>
        <p:grpSpPr bwMode="gray">
          <a:xfrm>
            <a:off x="2" y="1885410"/>
            <a:ext cx="1552255" cy="1502862"/>
            <a:chOff x="1" y="1885410"/>
            <a:chExt cx="1552255" cy="1502862"/>
          </a:xfrm>
        </p:grpSpPr>
        <p:sp>
          <p:nvSpPr>
            <p:cNvPr id="8" name="Rectangle 2"/>
            <p:cNvSpPr/>
            <p:nvPr userDrawn="1"/>
          </p:nvSpPr>
          <p:spPr bwMode="gray">
            <a:xfrm>
              <a:off x="1" y="1885410"/>
              <a:ext cx="1552255" cy="818268"/>
            </a:xfrm>
            <a:custGeom>
              <a:avLst/>
              <a:gdLst/>
              <a:ahLst/>
              <a:cxnLst/>
              <a:rect l="l" t="t" r="r" b="b"/>
              <a:pathLst>
                <a:path w="1552255" h="818268">
                  <a:moveTo>
                    <a:pt x="876974" y="0"/>
                  </a:moveTo>
                  <a:lnTo>
                    <a:pt x="891654" y="0"/>
                  </a:lnTo>
                  <a:lnTo>
                    <a:pt x="891959" y="0"/>
                  </a:lnTo>
                  <a:lnTo>
                    <a:pt x="992885" y="327"/>
                  </a:lnTo>
                  <a:lnTo>
                    <a:pt x="1100691" y="573"/>
                  </a:lnTo>
                  <a:cubicBezTo>
                    <a:pt x="1118277" y="573"/>
                    <a:pt x="1139838" y="12929"/>
                    <a:pt x="1148401" y="28230"/>
                  </a:cubicBezTo>
                  <a:lnTo>
                    <a:pt x="1260184" y="222241"/>
                  </a:lnTo>
                  <a:cubicBezTo>
                    <a:pt x="1268747" y="237460"/>
                    <a:pt x="1268747" y="262172"/>
                    <a:pt x="1259878" y="277473"/>
                  </a:cubicBezTo>
                  <a:lnTo>
                    <a:pt x="1184795" y="406759"/>
                  </a:lnTo>
                  <a:cubicBezTo>
                    <a:pt x="1179443" y="416169"/>
                    <a:pt x="1173938" y="425579"/>
                    <a:pt x="1168586" y="434989"/>
                  </a:cubicBezTo>
                  <a:cubicBezTo>
                    <a:pt x="1166445" y="438753"/>
                    <a:pt x="1164305" y="442435"/>
                    <a:pt x="1162164" y="446200"/>
                  </a:cubicBezTo>
                  <a:cubicBezTo>
                    <a:pt x="1153295" y="461419"/>
                    <a:pt x="1160329" y="473775"/>
                    <a:pt x="1177761" y="473775"/>
                  </a:cubicBezTo>
                  <a:lnTo>
                    <a:pt x="1439402" y="474675"/>
                  </a:lnTo>
                  <a:cubicBezTo>
                    <a:pt x="1456682" y="474675"/>
                    <a:pt x="1478243" y="487276"/>
                    <a:pt x="1487112" y="502578"/>
                  </a:cubicBezTo>
                  <a:lnTo>
                    <a:pt x="1552255" y="616398"/>
                  </a:lnTo>
                  <a:cubicBezTo>
                    <a:pt x="1561124" y="631618"/>
                    <a:pt x="1561124" y="656330"/>
                    <a:pt x="1552255" y="671631"/>
                  </a:cubicBezTo>
                  <a:lnTo>
                    <a:pt x="1486042" y="785124"/>
                  </a:lnTo>
                  <a:cubicBezTo>
                    <a:pt x="1477632" y="800344"/>
                    <a:pt x="1455917" y="812700"/>
                    <a:pt x="1438485" y="812700"/>
                  </a:cubicBezTo>
                  <a:lnTo>
                    <a:pt x="1307129" y="812127"/>
                  </a:lnTo>
                  <a:cubicBezTo>
                    <a:pt x="1289544" y="812127"/>
                    <a:pt x="1267982" y="799771"/>
                    <a:pt x="1259419" y="784470"/>
                  </a:cubicBezTo>
                  <a:lnTo>
                    <a:pt x="1193971" y="670731"/>
                  </a:lnTo>
                  <a:cubicBezTo>
                    <a:pt x="1185407" y="655430"/>
                    <a:pt x="1185407" y="630800"/>
                    <a:pt x="1194276" y="615498"/>
                  </a:cubicBezTo>
                  <a:lnTo>
                    <a:pt x="1245656" y="526717"/>
                  </a:lnTo>
                  <a:cubicBezTo>
                    <a:pt x="1254526" y="511497"/>
                    <a:pt x="1247491" y="499059"/>
                    <a:pt x="1229753" y="499059"/>
                  </a:cubicBezTo>
                  <a:lnTo>
                    <a:pt x="986615" y="498159"/>
                  </a:lnTo>
                  <a:lnTo>
                    <a:pt x="890736" y="498159"/>
                  </a:lnTo>
                  <a:cubicBezTo>
                    <a:pt x="890430" y="498159"/>
                    <a:pt x="889971" y="497914"/>
                    <a:pt x="889666" y="497914"/>
                  </a:cubicBezTo>
                  <a:lnTo>
                    <a:pt x="875903" y="497914"/>
                  </a:lnTo>
                  <a:cubicBezTo>
                    <a:pt x="858318" y="497914"/>
                    <a:pt x="836756" y="485231"/>
                    <a:pt x="828193" y="470256"/>
                  </a:cubicBezTo>
                  <a:lnTo>
                    <a:pt x="821312" y="458473"/>
                  </a:lnTo>
                  <a:lnTo>
                    <a:pt x="744700" y="325096"/>
                  </a:lnTo>
                  <a:cubicBezTo>
                    <a:pt x="731702" y="302676"/>
                    <a:pt x="710600" y="302676"/>
                    <a:pt x="697602" y="325096"/>
                  </a:cubicBezTo>
                  <a:lnTo>
                    <a:pt x="434279" y="777760"/>
                  </a:lnTo>
                  <a:cubicBezTo>
                    <a:pt x="421128" y="800344"/>
                    <a:pt x="389321" y="818591"/>
                    <a:pt x="363325" y="818264"/>
                  </a:cubicBezTo>
                  <a:lnTo>
                    <a:pt x="0" y="818035"/>
                  </a:lnTo>
                  <a:lnTo>
                    <a:pt x="0" y="86319"/>
                  </a:lnTo>
                  <a:lnTo>
                    <a:pt x="17274" y="81417"/>
                  </a:lnTo>
                  <a:cubicBezTo>
                    <a:pt x="65443" y="78717"/>
                    <a:pt x="234569" y="81581"/>
                    <a:pt x="343140" y="81663"/>
                  </a:cubicBezTo>
                  <a:lnTo>
                    <a:pt x="365160" y="81663"/>
                  </a:lnTo>
                  <a:cubicBezTo>
                    <a:pt x="391003" y="81990"/>
                    <a:pt x="422810" y="100156"/>
                    <a:pt x="435655" y="122903"/>
                  </a:cubicBezTo>
                  <a:lnTo>
                    <a:pt x="579856" y="373047"/>
                  </a:lnTo>
                  <a:cubicBezTo>
                    <a:pt x="592395" y="395303"/>
                    <a:pt x="613650" y="395303"/>
                    <a:pt x="626801" y="373047"/>
                  </a:cubicBezTo>
                  <a:lnTo>
                    <a:pt x="810608" y="59324"/>
                  </a:lnTo>
                  <a:lnTo>
                    <a:pt x="829111" y="27330"/>
                  </a:lnTo>
                  <a:cubicBezTo>
                    <a:pt x="837827" y="12356"/>
                    <a:pt x="859388" y="0"/>
                    <a:pt x="876974"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9" name="Freeform 37"/>
            <p:cNvSpPr>
              <a:spLocks/>
            </p:cNvSpPr>
            <p:nvPr userDrawn="1"/>
          </p:nvSpPr>
          <p:spPr bwMode="gray">
            <a:xfrm>
              <a:off x="495022" y="2449806"/>
              <a:ext cx="853273" cy="938466"/>
            </a:xfrm>
            <a:custGeom>
              <a:avLst/>
              <a:gdLst>
                <a:gd name="T0" fmla="*/ 2900 w 2953"/>
                <a:gd name="T1" fmla="*/ 2800 h 2900"/>
                <a:gd name="T2" fmla="*/ 2620 w 2953"/>
                <a:gd name="T3" fmla="*/ 2639 h 2900"/>
                <a:gd name="T4" fmla="*/ 1478 w 2953"/>
                <a:gd name="T5" fmla="*/ 2637 h 2900"/>
                <a:gd name="T6" fmla="*/ 1385 w 2953"/>
                <a:gd name="T7" fmla="*/ 2476 h 2900"/>
                <a:gd name="T8" fmla="*/ 2148 w 2953"/>
                <a:gd name="T9" fmla="*/ 1150 h 2900"/>
                <a:gd name="T10" fmla="*/ 2148 w 2953"/>
                <a:gd name="T11" fmla="*/ 828 h 2900"/>
                <a:gd name="T12" fmla="*/ 1764 w 2953"/>
                <a:gd name="T13" fmla="*/ 162 h 2900"/>
                <a:gd name="T14" fmla="*/ 1485 w 2953"/>
                <a:gd name="T15" fmla="*/ 0 h 2900"/>
                <a:gd name="T16" fmla="*/ 715 w 2953"/>
                <a:gd name="T17" fmla="*/ 0 h 2900"/>
                <a:gd name="T18" fmla="*/ 436 w 2953"/>
                <a:gd name="T19" fmla="*/ 161 h 2900"/>
                <a:gd name="T20" fmla="*/ 51 w 2953"/>
                <a:gd name="T21" fmla="*/ 827 h 2900"/>
                <a:gd name="T22" fmla="*/ 51 w 2953"/>
                <a:gd name="T23" fmla="*/ 1150 h 2900"/>
                <a:gd name="T24" fmla="*/ 436 w 2953"/>
                <a:gd name="T25" fmla="*/ 1816 h 2900"/>
                <a:gd name="T26" fmla="*/ 715 w 2953"/>
                <a:gd name="T27" fmla="*/ 1977 h 2900"/>
                <a:gd name="T28" fmla="*/ 1317 w 2953"/>
                <a:gd name="T29" fmla="*/ 1977 h 2900"/>
                <a:gd name="T30" fmla="*/ 1410 w 2953"/>
                <a:gd name="T31" fmla="*/ 2139 h 2900"/>
                <a:gd name="T32" fmla="*/ 972 w 2953"/>
                <a:gd name="T33" fmla="*/ 2900 h 2900"/>
                <a:gd name="T34" fmla="*/ 2953 w 2953"/>
                <a:gd name="T35" fmla="*/ 2893 h 2900"/>
                <a:gd name="T36" fmla="*/ 2900 w 2953"/>
                <a:gd name="T37" fmla="*/ 2800 h 2900"/>
                <a:gd name="connsiteX0" fmla="*/ 9648 w 9827"/>
                <a:gd name="connsiteY0" fmla="*/ 9655 h 11005"/>
                <a:gd name="connsiteX1" fmla="*/ 8699 w 9827"/>
                <a:gd name="connsiteY1" fmla="*/ 9100 h 11005"/>
                <a:gd name="connsiteX2" fmla="*/ 4832 w 9827"/>
                <a:gd name="connsiteY2" fmla="*/ 9093 h 11005"/>
                <a:gd name="connsiteX3" fmla="*/ 4517 w 9827"/>
                <a:gd name="connsiteY3" fmla="*/ 8538 h 11005"/>
                <a:gd name="connsiteX4" fmla="*/ 7101 w 9827"/>
                <a:gd name="connsiteY4" fmla="*/ 3966 h 11005"/>
                <a:gd name="connsiteX5" fmla="*/ 7101 w 9827"/>
                <a:gd name="connsiteY5" fmla="*/ 2855 h 11005"/>
                <a:gd name="connsiteX6" fmla="*/ 5801 w 9827"/>
                <a:gd name="connsiteY6" fmla="*/ 559 h 11005"/>
                <a:gd name="connsiteX7" fmla="*/ 4856 w 9827"/>
                <a:gd name="connsiteY7" fmla="*/ 0 h 11005"/>
                <a:gd name="connsiteX8" fmla="*/ 2248 w 9827"/>
                <a:gd name="connsiteY8" fmla="*/ 0 h 11005"/>
                <a:gd name="connsiteX9" fmla="*/ 1303 w 9827"/>
                <a:gd name="connsiteY9" fmla="*/ 555 h 11005"/>
                <a:gd name="connsiteX10" fmla="*/ 0 w 9827"/>
                <a:gd name="connsiteY10" fmla="*/ 2852 h 11005"/>
                <a:gd name="connsiteX11" fmla="*/ 0 w 9827"/>
                <a:gd name="connsiteY11" fmla="*/ 3966 h 11005"/>
                <a:gd name="connsiteX12" fmla="*/ 1303 w 9827"/>
                <a:gd name="connsiteY12" fmla="*/ 6262 h 11005"/>
                <a:gd name="connsiteX13" fmla="*/ 2248 w 9827"/>
                <a:gd name="connsiteY13" fmla="*/ 6817 h 11005"/>
                <a:gd name="connsiteX14" fmla="*/ 4287 w 9827"/>
                <a:gd name="connsiteY14" fmla="*/ 6817 h 11005"/>
                <a:gd name="connsiteX15" fmla="*/ 4602 w 9827"/>
                <a:gd name="connsiteY15" fmla="*/ 7376 h 11005"/>
                <a:gd name="connsiteX16" fmla="*/ 2497 w 9827"/>
                <a:gd name="connsiteY16" fmla="*/ 11005 h 11005"/>
                <a:gd name="connsiteX17" fmla="*/ 9827 w 9827"/>
                <a:gd name="connsiteY17" fmla="*/ 9976 h 11005"/>
                <a:gd name="connsiteX18" fmla="*/ 9648 w 9827"/>
                <a:gd name="connsiteY18" fmla="*/ 9655 h 1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27" h="11005">
                  <a:moveTo>
                    <a:pt x="9648" y="9655"/>
                  </a:moveTo>
                  <a:cubicBezTo>
                    <a:pt x="9471" y="9348"/>
                    <a:pt x="9048" y="9100"/>
                    <a:pt x="8699" y="9100"/>
                  </a:cubicBezTo>
                  <a:lnTo>
                    <a:pt x="4832" y="9093"/>
                  </a:lnTo>
                  <a:cubicBezTo>
                    <a:pt x="4487" y="9093"/>
                    <a:pt x="4344" y="8845"/>
                    <a:pt x="4517" y="8538"/>
                  </a:cubicBezTo>
                  <a:lnTo>
                    <a:pt x="7101" y="3966"/>
                  </a:lnTo>
                  <a:cubicBezTo>
                    <a:pt x="7277" y="3662"/>
                    <a:pt x="7277" y="3159"/>
                    <a:pt x="7101" y="2855"/>
                  </a:cubicBezTo>
                  <a:lnTo>
                    <a:pt x="5801" y="559"/>
                  </a:lnTo>
                  <a:cubicBezTo>
                    <a:pt x="5628" y="252"/>
                    <a:pt x="5201" y="0"/>
                    <a:pt x="4856" y="0"/>
                  </a:cubicBezTo>
                  <a:lnTo>
                    <a:pt x="2248" y="0"/>
                  </a:lnTo>
                  <a:cubicBezTo>
                    <a:pt x="1903" y="0"/>
                    <a:pt x="1476" y="252"/>
                    <a:pt x="1303" y="555"/>
                  </a:cubicBezTo>
                  <a:lnTo>
                    <a:pt x="0" y="2852"/>
                  </a:lnTo>
                  <a:cubicBezTo>
                    <a:pt x="-173" y="3159"/>
                    <a:pt x="-173" y="3659"/>
                    <a:pt x="0" y="3966"/>
                  </a:cubicBezTo>
                  <a:lnTo>
                    <a:pt x="1303" y="6262"/>
                  </a:lnTo>
                  <a:cubicBezTo>
                    <a:pt x="1476" y="6569"/>
                    <a:pt x="1903" y="6817"/>
                    <a:pt x="2248" y="6817"/>
                  </a:cubicBezTo>
                  <a:lnTo>
                    <a:pt x="4287" y="6817"/>
                  </a:lnTo>
                  <a:cubicBezTo>
                    <a:pt x="4632" y="6817"/>
                    <a:pt x="4900" y="6678"/>
                    <a:pt x="4602" y="7376"/>
                  </a:cubicBezTo>
                  <a:cubicBezTo>
                    <a:pt x="4304" y="8074"/>
                    <a:pt x="2497" y="11005"/>
                    <a:pt x="2497" y="11005"/>
                  </a:cubicBezTo>
                  <a:cubicBezTo>
                    <a:pt x="9205" y="10981"/>
                    <a:pt x="9827" y="9976"/>
                    <a:pt x="9827" y="9976"/>
                  </a:cubicBezTo>
                  <a:lnTo>
                    <a:pt x="9648" y="9655"/>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350" dirty="0"/>
            </a:p>
          </p:txBody>
        </p:sp>
      </p:grpSp>
      <p:sp>
        <p:nvSpPr>
          <p:cNvPr id="16" name="Rectangle 2"/>
          <p:cNvSpPr/>
          <p:nvPr userDrawn="1"/>
        </p:nvSpPr>
        <p:spPr bwMode="gray">
          <a:xfrm>
            <a:off x="-1" y="2"/>
            <a:ext cx="12192000" cy="6858001"/>
          </a:xfrm>
          <a:custGeom>
            <a:avLst/>
            <a:gdLst/>
            <a:ahLst/>
            <a:cxnLst/>
            <a:rect l="l" t="t" r="r" b="b"/>
            <a:pathLst>
              <a:path w="12192000" h="6858001">
                <a:moveTo>
                  <a:pt x="4055910" y="2"/>
                </a:moveTo>
                <a:lnTo>
                  <a:pt x="4064211" y="14593"/>
                </a:lnTo>
                <a:cubicBezTo>
                  <a:pt x="4071842" y="28004"/>
                  <a:pt x="4080562" y="43331"/>
                  <a:pt x="4090528" y="60848"/>
                </a:cubicBezTo>
                <a:lnTo>
                  <a:pt x="4111980" y="98552"/>
                </a:lnTo>
                <a:lnTo>
                  <a:pt x="4110297" y="98553"/>
                </a:lnTo>
                <a:lnTo>
                  <a:pt x="4121274" y="117588"/>
                </a:lnTo>
                <a:cubicBezTo>
                  <a:pt x="4150392" y="168082"/>
                  <a:pt x="4186229" y="230229"/>
                  <a:pt x="4230336" y="306718"/>
                </a:cubicBezTo>
                <a:cubicBezTo>
                  <a:pt x="4230339" y="306723"/>
                  <a:pt x="4230370" y="306776"/>
                  <a:pt x="4230715" y="307375"/>
                </a:cubicBezTo>
                <a:lnTo>
                  <a:pt x="4233363" y="311972"/>
                </a:lnTo>
                <a:lnTo>
                  <a:pt x="4236606" y="317599"/>
                </a:lnTo>
                <a:lnTo>
                  <a:pt x="4256156" y="351961"/>
                </a:lnTo>
                <a:lnTo>
                  <a:pt x="4257049" y="353079"/>
                </a:lnTo>
                <a:lnTo>
                  <a:pt x="4277640" y="388816"/>
                </a:lnTo>
                <a:cubicBezTo>
                  <a:pt x="4306024" y="438073"/>
                  <a:pt x="4351436" y="516887"/>
                  <a:pt x="4424096" y="642989"/>
                </a:cubicBezTo>
                <a:cubicBezTo>
                  <a:pt x="4446431" y="681578"/>
                  <a:pt x="4428156" y="713204"/>
                  <a:pt x="4383488" y="713203"/>
                </a:cubicBezTo>
                <a:cubicBezTo>
                  <a:pt x="4383481" y="713203"/>
                  <a:pt x="4382093" y="713206"/>
                  <a:pt x="4118373" y="713783"/>
                </a:cubicBezTo>
                <a:cubicBezTo>
                  <a:pt x="4112860" y="713783"/>
                  <a:pt x="4107059" y="714364"/>
                  <a:pt x="4101259" y="715234"/>
                </a:cubicBezTo>
                <a:cubicBezTo>
                  <a:pt x="4060650" y="721907"/>
                  <a:pt x="4015980" y="750341"/>
                  <a:pt x="3996547" y="784287"/>
                </a:cubicBezTo>
                <a:cubicBezTo>
                  <a:pt x="3996540" y="784300"/>
                  <a:pt x="3994952" y="787041"/>
                  <a:pt x="3661817" y="1362246"/>
                </a:cubicBezTo>
                <a:cubicBezTo>
                  <a:pt x="3639482" y="1400835"/>
                  <a:pt x="3602645" y="1400835"/>
                  <a:pt x="3580311" y="1362247"/>
                </a:cubicBezTo>
                <a:cubicBezTo>
                  <a:pt x="3580300" y="1362228"/>
                  <a:pt x="3578661" y="1359392"/>
                  <a:pt x="3330859" y="930518"/>
                </a:cubicBezTo>
                <a:cubicBezTo>
                  <a:pt x="3308524" y="891930"/>
                  <a:pt x="3253412" y="860304"/>
                  <a:pt x="3208742" y="860305"/>
                </a:cubicBezTo>
                <a:cubicBezTo>
                  <a:pt x="3208730" y="860305"/>
                  <a:pt x="3206097" y="860305"/>
                  <a:pt x="2636744" y="860305"/>
                </a:cubicBezTo>
                <a:cubicBezTo>
                  <a:pt x="2592074" y="860304"/>
                  <a:pt x="2537253" y="891929"/>
                  <a:pt x="2514918" y="930518"/>
                </a:cubicBezTo>
                <a:cubicBezTo>
                  <a:pt x="2514914" y="930525"/>
                  <a:pt x="2513854" y="932363"/>
                  <a:pt x="2228920" y="1426077"/>
                </a:cubicBezTo>
                <a:cubicBezTo>
                  <a:pt x="2206584" y="1464667"/>
                  <a:pt x="2206584" y="1528206"/>
                  <a:pt x="2228919" y="1566796"/>
                </a:cubicBezTo>
                <a:cubicBezTo>
                  <a:pt x="2228927" y="1566810"/>
                  <a:pt x="2230408" y="1569375"/>
                  <a:pt x="2514919" y="2062355"/>
                </a:cubicBezTo>
                <a:cubicBezTo>
                  <a:pt x="2537254" y="2101234"/>
                  <a:pt x="2592074" y="2132858"/>
                  <a:pt x="2636744" y="2132859"/>
                </a:cubicBezTo>
                <a:cubicBezTo>
                  <a:pt x="2636762" y="2132859"/>
                  <a:pt x="2639988" y="2132859"/>
                  <a:pt x="3208742" y="2132858"/>
                </a:cubicBezTo>
                <a:cubicBezTo>
                  <a:pt x="3253413" y="2132858"/>
                  <a:pt x="3308523" y="2101233"/>
                  <a:pt x="3330858" y="2062355"/>
                </a:cubicBezTo>
                <a:cubicBezTo>
                  <a:pt x="3330866" y="2062341"/>
                  <a:pt x="3332771" y="2059049"/>
                  <a:pt x="3783933" y="1279267"/>
                </a:cubicBezTo>
                <a:cubicBezTo>
                  <a:pt x="3806268" y="1240388"/>
                  <a:pt x="3842815" y="1240388"/>
                  <a:pt x="3865149" y="1279266"/>
                </a:cubicBezTo>
                <a:cubicBezTo>
                  <a:pt x="3865156" y="1279278"/>
                  <a:pt x="3866100" y="1280911"/>
                  <a:pt x="3996547" y="1506736"/>
                </a:cubicBezTo>
                <a:cubicBezTo>
                  <a:pt x="4018881" y="1545326"/>
                  <a:pt x="4073703" y="1577240"/>
                  <a:pt x="4118373" y="1577240"/>
                </a:cubicBezTo>
                <a:cubicBezTo>
                  <a:pt x="4118396" y="1577240"/>
                  <a:pt x="4121116" y="1577240"/>
                  <a:pt x="4454262" y="1577240"/>
                </a:cubicBezTo>
                <a:cubicBezTo>
                  <a:pt x="4498932" y="1577241"/>
                  <a:pt x="4555203" y="1545326"/>
                  <a:pt x="4577538" y="1506737"/>
                </a:cubicBezTo>
                <a:cubicBezTo>
                  <a:pt x="4578118" y="1505576"/>
                  <a:pt x="4578118" y="1505576"/>
                  <a:pt x="4578408" y="1505286"/>
                </a:cubicBezTo>
                <a:cubicBezTo>
                  <a:pt x="4578419" y="1505267"/>
                  <a:pt x="4579756" y="1502951"/>
                  <a:pt x="4746063" y="1214856"/>
                </a:cubicBezTo>
                <a:cubicBezTo>
                  <a:pt x="4768398" y="1176266"/>
                  <a:pt x="4768398" y="1112727"/>
                  <a:pt x="4746063" y="1074137"/>
                </a:cubicBezTo>
                <a:cubicBezTo>
                  <a:pt x="4746051" y="1074116"/>
                  <a:pt x="4744040" y="1070620"/>
                  <a:pt x="4413364" y="495889"/>
                </a:cubicBezTo>
                <a:cubicBezTo>
                  <a:pt x="4391029" y="457010"/>
                  <a:pt x="4409303" y="425384"/>
                  <a:pt x="4453972" y="425385"/>
                </a:cubicBezTo>
                <a:cubicBezTo>
                  <a:pt x="4453988" y="425385"/>
                  <a:pt x="4455756" y="425384"/>
                  <a:pt x="4664080" y="425262"/>
                </a:cubicBezTo>
                <a:lnTo>
                  <a:pt x="4684544" y="425251"/>
                </a:lnTo>
                <a:lnTo>
                  <a:pt x="4758411" y="425795"/>
                </a:lnTo>
                <a:cubicBezTo>
                  <a:pt x="4812899" y="426196"/>
                  <a:pt x="4875172" y="426655"/>
                  <a:pt x="4946341" y="427179"/>
                </a:cubicBezTo>
                <a:cubicBezTo>
                  <a:pt x="4957449" y="427249"/>
                  <a:pt x="4969200" y="425347"/>
                  <a:pt x="4980930" y="421857"/>
                </a:cubicBezTo>
                <a:lnTo>
                  <a:pt x="4986031" y="419659"/>
                </a:lnTo>
                <a:lnTo>
                  <a:pt x="4986745" y="419546"/>
                </a:lnTo>
                <a:lnTo>
                  <a:pt x="5014597" y="407354"/>
                </a:lnTo>
                <a:lnTo>
                  <a:pt x="5015406" y="407005"/>
                </a:lnTo>
                <a:lnTo>
                  <a:pt x="5015426" y="406991"/>
                </a:lnTo>
                <a:lnTo>
                  <a:pt x="5021294" y="404423"/>
                </a:lnTo>
                <a:cubicBezTo>
                  <a:pt x="5043375" y="391656"/>
                  <a:pt x="5062664" y="374030"/>
                  <a:pt x="5073830" y="354591"/>
                </a:cubicBezTo>
                <a:cubicBezTo>
                  <a:pt x="5073838" y="354577"/>
                  <a:pt x="5074799" y="352910"/>
                  <a:pt x="5194242" y="145771"/>
                </a:cubicBezTo>
                <a:lnTo>
                  <a:pt x="5221469" y="98553"/>
                </a:lnTo>
                <a:lnTo>
                  <a:pt x="5220303" y="98552"/>
                </a:lnTo>
                <a:lnTo>
                  <a:pt x="5222692" y="94481"/>
                </a:lnTo>
                <a:lnTo>
                  <a:pt x="5278131" y="2"/>
                </a:lnTo>
                <a:close/>
                <a:moveTo>
                  <a:pt x="31806" y="0"/>
                </a:moveTo>
                <a:lnTo>
                  <a:pt x="12192000" y="0"/>
                </a:lnTo>
                <a:lnTo>
                  <a:pt x="12192000" y="6858001"/>
                </a:lnTo>
                <a:lnTo>
                  <a:pt x="5519936" y="6858001"/>
                </a:lnTo>
                <a:lnTo>
                  <a:pt x="3798641" y="6858001"/>
                </a:lnTo>
                <a:lnTo>
                  <a:pt x="0" y="6858001"/>
                </a:lnTo>
                <a:lnTo>
                  <a:pt x="0" y="5845133"/>
                </a:lnTo>
                <a:lnTo>
                  <a:pt x="0" y="3429000"/>
                </a:lnTo>
                <a:lnTo>
                  <a:pt x="0" y="1307383"/>
                </a:lnTo>
                <a:lnTo>
                  <a:pt x="69908" y="1307234"/>
                </a:lnTo>
                <a:cubicBezTo>
                  <a:pt x="380029" y="1306572"/>
                  <a:pt x="381595" y="1306569"/>
                  <a:pt x="381603" y="1306569"/>
                </a:cubicBezTo>
                <a:cubicBezTo>
                  <a:pt x="455676" y="1306275"/>
                  <a:pt x="485951" y="1358608"/>
                  <a:pt x="449209" y="1422701"/>
                </a:cubicBezTo>
                <a:cubicBezTo>
                  <a:pt x="42396" y="2135148"/>
                  <a:pt x="40932" y="2137712"/>
                  <a:pt x="40927" y="2137721"/>
                </a:cubicBezTo>
                <a:cubicBezTo>
                  <a:pt x="4184" y="2201814"/>
                  <a:pt x="4478" y="2306480"/>
                  <a:pt x="41808" y="2370279"/>
                </a:cubicBezTo>
                <a:cubicBezTo>
                  <a:pt x="515837" y="3184840"/>
                  <a:pt x="517106" y="3187019"/>
                  <a:pt x="517109" y="3187025"/>
                </a:cubicBezTo>
                <a:cubicBezTo>
                  <a:pt x="554145" y="3250824"/>
                  <a:pt x="644973" y="3302569"/>
                  <a:pt x="718752" y="3302569"/>
                </a:cubicBezTo>
                <a:cubicBezTo>
                  <a:pt x="1660268" y="3299053"/>
                  <a:pt x="1663463" y="3299041"/>
                  <a:pt x="1663474" y="3299041"/>
                </a:cubicBezTo>
                <a:cubicBezTo>
                  <a:pt x="1737253" y="3298747"/>
                  <a:pt x="1827786" y="3246120"/>
                  <a:pt x="1864529" y="3182027"/>
                </a:cubicBezTo>
                <a:cubicBezTo>
                  <a:pt x="2332938" y="2363305"/>
                  <a:pt x="2333656" y="2362049"/>
                  <a:pt x="2333657" y="2362047"/>
                </a:cubicBezTo>
                <a:cubicBezTo>
                  <a:pt x="2370399" y="2297954"/>
                  <a:pt x="2370105" y="2193288"/>
                  <a:pt x="2333069" y="2129489"/>
                </a:cubicBezTo>
                <a:cubicBezTo>
                  <a:pt x="1859393" y="1315535"/>
                  <a:pt x="1857774" y="1312753"/>
                  <a:pt x="1857768" y="1312743"/>
                </a:cubicBezTo>
                <a:cubicBezTo>
                  <a:pt x="1820438" y="1248944"/>
                  <a:pt x="1729610" y="1196905"/>
                  <a:pt x="1655832" y="1197199"/>
                </a:cubicBezTo>
                <a:cubicBezTo>
                  <a:pt x="163159" y="1201311"/>
                  <a:pt x="161737" y="1201315"/>
                  <a:pt x="161736" y="1201315"/>
                </a:cubicBezTo>
                <a:cubicBezTo>
                  <a:pt x="87957" y="1201609"/>
                  <a:pt x="57387" y="1149276"/>
                  <a:pt x="94130" y="1085183"/>
                </a:cubicBezTo>
                <a:cubicBezTo>
                  <a:pt x="308606" y="710787"/>
                  <a:pt x="309873" y="708575"/>
                  <a:pt x="309881" y="708562"/>
                </a:cubicBezTo>
                <a:cubicBezTo>
                  <a:pt x="346624" y="644469"/>
                  <a:pt x="346036" y="539803"/>
                  <a:pt x="309000" y="476004"/>
                </a:cubicBezTo>
                <a:cubicBezTo>
                  <a:pt x="99568" y="116363"/>
                  <a:pt x="47210" y="26452"/>
                  <a:pt x="34120" y="3975"/>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17" name="Picture Placeholder 31"/>
          <p:cNvSpPr>
            <a:spLocks noGrp="1"/>
          </p:cNvSpPr>
          <p:nvPr>
            <p:ph type="pic" sz="quarter" idx="20"/>
          </p:nvPr>
        </p:nvSpPr>
        <p:spPr bwMode="gray">
          <a:xfrm>
            <a:off x="1263274" y="2341919"/>
            <a:ext cx="5552809" cy="4516082"/>
          </a:xfrm>
          <a:custGeom>
            <a:avLst/>
            <a:gdLst>
              <a:gd name="connsiteX0" fmla="*/ 1660621 w 5552809"/>
              <a:gd name="connsiteY0" fmla="*/ 0 h 4516082"/>
              <a:gd name="connsiteX1" fmla="*/ 3503449 w 5552809"/>
              <a:gd name="connsiteY1" fmla="*/ 0 h 4516082"/>
              <a:gd name="connsiteX2" fmla="*/ 3892671 w 5552809"/>
              <a:gd name="connsiteY2" fmla="*/ 0 h 4516082"/>
              <a:gd name="connsiteX3" fmla="*/ 4028266 w 5552809"/>
              <a:gd name="connsiteY3" fmla="*/ 21596 h 4516082"/>
              <a:gd name="connsiteX4" fmla="*/ 4369271 w 5552809"/>
              <a:gd name="connsiteY4" fmla="*/ 275207 h 4516082"/>
              <a:gd name="connsiteX5" fmla="*/ 5487175 w 5552809"/>
              <a:gd name="connsiteY5" fmla="*/ 2212080 h 4516082"/>
              <a:gd name="connsiteX6" fmla="*/ 5487175 w 5552809"/>
              <a:gd name="connsiteY6" fmla="*/ 2762650 h 4516082"/>
              <a:gd name="connsiteX7" fmla="*/ 4509009 w 5552809"/>
              <a:gd name="connsiteY7" fmla="*/ 4457414 h 4516082"/>
              <a:gd name="connsiteX8" fmla="*/ 4475148 w 5552809"/>
              <a:gd name="connsiteY8" fmla="*/ 4516082 h 4516082"/>
              <a:gd name="connsiteX9" fmla="*/ 1075176 w 5552809"/>
              <a:gd name="connsiteY9" fmla="*/ 4516082 h 4516082"/>
              <a:gd name="connsiteX10" fmla="*/ 989424 w 5552809"/>
              <a:gd name="connsiteY10" fmla="*/ 4367209 h 4516082"/>
              <a:gd name="connsiteX11" fmla="*/ 65634 w 5552809"/>
              <a:gd name="connsiteY11" fmla="*/ 2763432 h 4516082"/>
              <a:gd name="connsiteX12" fmla="*/ 65634 w 5552809"/>
              <a:gd name="connsiteY12" fmla="*/ 2212863 h 4516082"/>
              <a:gd name="connsiteX13" fmla="*/ 1184242 w 5552809"/>
              <a:gd name="connsiteY13" fmla="*/ 275990 h 4516082"/>
              <a:gd name="connsiteX14" fmla="*/ 1660621 w 5552809"/>
              <a:gd name="connsiteY14" fmla="*/ 0 h 4516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52809" h="4516082">
                <a:moveTo>
                  <a:pt x="1660621" y="0"/>
                </a:moveTo>
                <a:cubicBezTo>
                  <a:pt x="1660621" y="0"/>
                  <a:pt x="1660621" y="0"/>
                  <a:pt x="3503449" y="0"/>
                </a:cubicBezTo>
                <a:lnTo>
                  <a:pt x="3892671" y="0"/>
                </a:lnTo>
                <a:lnTo>
                  <a:pt x="4028266" y="21596"/>
                </a:lnTo>
                <a:cubicBezTo>
                  <a:pt x="4166548" y="63450"/>
                  <a:pt x="4303639" y="161388"/>
                  <a:pt x="4369271" y="275207"/>
                </a:cubicBezTo>
                <a:cubicBezTo>
                  <a:pt x="5487175" y="2212080"/>
                  <a:pt x="5487175" y="2212080"/>
                  <a:pt x="5487175" y="2212080"/>
                </a:cubicBezTo>
                <a:cubicBezTo>
                  <a:pt x="5574687" y="2363839"/>
                  <a:pt x="5574687" y="2611596"/>
                  <a:pt x="5487175" y="2762650"/>
                </a:cubicBezTo>
                <a:cubicBezTo>
                  <a:pt x="4928223" y="3731086"/>
                  <a:pt x="4648747" y="4215305"/>
                  <a:pt x="4509009" y="4457414"/>
                </a:cubicBezTo>
                <a:lnTo>
                  <a:pt x="4475148" y="4516082"/>
                </a:lnTo>
                <a:lnTo>
                  <a:pt x="1075176" y="4516082"/>
                </a:lnTo>
                <a:lnTo>
                  <a:pt x="989424" y="4367209"/>
                </a:lnTo>
                <a:cubicBezTo>
                  <a:pt x="753668" y="3957915"/>
                  <a:pt x="451899" y="3434018"/>
                  <a:pt x="65634" y="2763432"/>
                </a:cubicBezTo>
                <a:cubicBezTo>
                  <a:pt x="-21878" y="2611673"/>
                  <a:pt x="-21878" y="2363916"/>
                  <a:pt x="65634" y="2212863"/>
                </a:cubicBezTo>
                <a:cubicBezTo>
                  <a:pt x="65634" y="2212863"/>
                  <a:pt x="65634" y="2212863"/>
                  <a:pt x="1184242" y="275990"/>
                </a:cubicBezTo>
                <a:cubicBezTo>
                  <a:pt x="1271754" y="124230"/>
                  <a:pt x="1486301" y="0"/>
                  <a:pt x="1660621" y="0"/>
                </a:cubicBezTo>
                <a:close/>
              </a:path>
            </a:pathLst>
          </a:custGeom>
          <a:solidFill>
            <a:schemeClr val="accent1"/>
          </a:solidFill>
        </p:spPr>
        <p:txBody>
          <a:bodyPr wrap="square" tIns="720000" anchor="ctr">
            <a:noAutofit/>
          </a:bodyPr>
          <a:lstStyle>
            <a:lvl1pPr algn="ctr">
              <a:spcBef>
                <a:spcPts val="0"/>
              </a:spcBef>
              <a:spcAft>
                <a:spcPts val="0"/>
              </a:spcAft>
              <a:defRPr sz="750" baseline="0">
                <a:solidFill>
                  <a:schemeClr val="bg1"/>
                </a:solidFill>
              </a:defRPr>
            </a:lvl1pPr>
          </a:lstStyle>
          <a:p>
            <a:r>
              <a:rPr lang="en-US" noProof="0" dirty="0"/>
              <a:t>Click icon to add picture</a:t>
            </a:r>
          </a:p>
        </p:txBody>
      </p:sp>
      <p:sp>
        <p:nvSpPr>
          <p:cNvPr id="7" name="Text Placeholder 12"/>
          <p:cNvSpPr>
            <a:spLocks noGrp="1"/>
          </p:cNvSpPr>
          <p:nvPr>
            <p:ph type="body" sz="quarter" idx="10" hasCustomPrompt="1"/>
          </p:nvPr>
        </p:nvSpPr>
        <p:spPr bwMode="gray">
          <a:xfrm>
            <a:off x="6527818" y="3501002"/>
            <a:ext cx="5040295"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dirty="0"/>
              <a:t>Name</a:t>
            </a:r>
          </a:p>
          <a:p>
            <a:r>
              <a:rPr lang="en-US" noProof="0" dirty="0"/>
              <a:t>Place, Date</a:t>
            </a:r>
          </a:p>
        </p:txBody>
      </p:sp>
      <p:sp>
        <p:nvSpPr>
          <p:cNvPr id="3" name="Subtitle 2"/>
          <p:cNvSpPr>
            <a:spLocks noGrp="1"/>
          </p:cNvSpPr>
          <p:nvPr>
            <p:ph type="subTitle" idx="1" hasCustomPrompt="1"/>
          </p:nvPr>
        </p:nvSpPr>
        <p:spPr bwMode="gray">
          <a:xfrm>
            <a:off x="6528049" y="2636984"/>
            <a:ext cx="5040065" cy="648000"/>
          </a:xfrm>
          <a:prstGeom prst="rect">
            <a:avLst/>
          </a:prstGeom>
        </p:spPr>
        <p:txBody>
          <a:bodyPr>
            <a:noAutofit/>
          </a:bodyPr>
          <a:lstStyle>
            <a:lvl1pPr marL="0" indent="0" algn="l">
              <a:spcBef>
                <a:spcPts val="0"/>
              </a:spcBef>
              <a:spcAft>
                <a:spcPts val="900"/>
              </a:spcAft>
              <a:buNone/>
              <a:defRPr sz="1200" b="1" i="0" baseline="0">
                <a:solidFill>
                  <a:schemeClr val="accent1"/>
                </a:solidFill>
              </a:defRPr>
            </a:lvl1pPr>
            <a:lvl2pPr marL="0" indent="0" algn="l">
              <a:spcBef>
                <a:spcPts val="0"/>
              </a:spcBef>
              <a:spcAft>
                <a:spcPts val="900"/>
              </a:spcAft>
              <a:buNone/>
              <a:defRPr sz="1200" b="1">
                <a:solidFill>
                  <a:schemeClr val="accent1"/>
                </a:solidFill>
              </a:defRPr>
            </a:lvl2pPr>
            <a:lvl3pPr marL="0" indent="0" algn="l">
              <a:spcBef>
                <a:spcPts val="0"/>
              </a:spcBef>
              <a:spcAft>
                <a:spcPts val="900"/>
              </a:spcAft>
              <a:buNone/>
              <a:defRPr sz="1200" b="1">
                <a:solidFill>
                  <a:schemeClr val="accent1"/>
                </a:solidFill>
              </a:defRPr>
            </a:lvl3pPr>
            <a:lvl4pPr marL="0" indent="0" algn="l">
              <a:spcBef>
                <a:spcPts val="0"/>
              </a:spcBef>
              <a:spcAft>
                <a:spcPts val="900"/>
              </a:spcAft>
              <a:buNone/>
              <a:defRPr sz="1200" b="1">
                <a:solidFill>
                  <a:schemeClr val="accent1"/>
                </a:solidFill>
              </a:defRPr>
            </a:lvl4pPr>
            <a:lvl5pPr marL="0" indent="0" algn="l">
              <a:spcBef>
                <a:spcPts val="0"/>
              </a:spcBef>
              <a:spcAft>
                <a:spcPts val="900"/>
              </a:spcAft>
              <a:buNone/>
              <a:defRPr sz="1200" b="1">
                <a:solidFill>
                  <a:schemeClr val="accent1"/>
                </a:solidFill>
              </a:defRPr>
            </a:lvl5pPr>
            <a:lvl6pPr marL="0" indent="0" algn="l">
              <a:spcBef>
                <a:spcPts val="0"/>
              </a:spcBef>
              <a:spcAft>
                <a:spcPts val="900"/>
              </a:spcAft>
              <a:buNone/>
              <a:defRPr sz="1200" b="1">
                <a:solidFill>
                  <a:schemeClr val="accent1"/>
                </a:solidFill>
              </a:defRPr>
            </a:lvl6pPr>
            <a:lvl7pPr marL="0" indent="0" algn="l">
              <a:spcBef>
                <a:spcPts val="0"/>
              </a:spcBef>
              <a:spcAft>
                <a:spcPts val="900"/>
              </a:spcAft>
              <a:buNone/>
              <a:defRPr sz="1200" b="1">
                <a:solidFill>
                  <a:schemeClr val="accent1"/>
                </a:solidFill>
              </a:defRPr>
            </a:lvl7pPr>
            <a:lvl8pPr marL="0" indent="0" algn="l">
              <a:spcBef>
                <a:spcPts val="0"/>
              </a:spcBef>
              <a:spcAft>
                <a:spcPts val="900"/>
              </a:spcAft>
              <a:buNone/>
              <a:defRPr sz="1200" b="1">
                <a:solidFill>
                  <a:schemeClr val="accent1"/>
                </a:solidFill>
              </a:defRPr>
            </a:lvl8pPr>
            <a:lvl9pPr marL="0" indent="0" algn="l">
              <a:spcBef>
                <a:spcPts val="0"/>
              </a:spcBef>
              <a:spcAft>
                <a:spcPts val="900"/>
              </a:spcAft>
              <a:buNone/>
              <a:defRPr sz="1200" b="1">
                <a:solidFill>
                  <a:schemeClr val="accent1"/>
                </a:solidFill>
              </a:defRPr>
            </a:lvl9pPr>
          </a:lstStyle>
          <a:p>
            <a:r>
              <a:rPr lang="en-US" noProof="0" dirty="0"/>
              <a:t>Subtitle and other information of this presentation</a:t>
            </a:r>
          </a:p>
        </p:txBody>
      </p:sp>
      <p:sp>
        <p:nvSpPr>
          <p:cNvPr id="2" name="Title 1"/>
          <p:cNvSpPr>
            <a:spLocks noGrp="1"/>
          </p:cNvSpPr>
          <p:nvPr>
            <p:ph type="ctrTitle" hasCustomPrompt="1"/>
          </p:nvPr>
        </p:nvSpPr>
        <p:spPr bwMode="gray">
          <a:xfrm>
            <a:off x="6528049" y="1552184"/>
            <a:ext cx="5040065" cy="941505"/>
          </a:xfrm>
          <a:prstGeom prst="rect">
            <a:avLst/>
          </a:prstGeom>
          <a:noFill/>
        </p:spPr>
        <p:txBody>
          <a:bodyPr anchor="b"/>
          <a:lstStyle>
            <a:lvl1pPr algn="l">
              <a:lnSpc>
                <a:spcPct val="100000"/>
              </a:lnSpc>
              <a:defRPr sz="300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sp>
        <p:nvSpPr>
          <p:cNvPr id="18" name="Text Placeholder 7"/>
          <p:cNvSpPr>
            <a:spLocks noGrp="1"/>
          </p:cNvSpPr>
          <p:nvPr>
            <p:ph type="body" sz="quarter" idx="19" hasCustomPrompt="1"/>
          </p:nvPr>
        </p:nvSpPr>
        <p:spPr bwMode="gray">
          <a:xfrm>
            <a:off x="468665" y="5338392"/>
            <a:ext cx="2520000" cy="1256400"/>
          </a:xfrm>
          <a:prstGeom prst="rect">
            <a:avLst/>
          </a:prstGeom>
          <a:blipFill dpi="0" rotWithShape="1">
            <a:blip r:embed="rId6"/>
            <a:srcRect/>
            <a:stretch>
              <a:fillRect/>
            </a:stretch>
          </a:blipFill>
        </p:spPr>
        <p:txBody>
          <a:bodyPr/>
          <a:lstStyle>
            <a:lvl1pPr>
              <a:defRPr/>
            </a:lvl1pPr>
          </a:lstStyle>
          <a:p>
            <a:pPr lvl="0"/>
            <a:r>
              <a:rPr lang="en-US" dirty="0"/>
              <a:t> </a:t>
            </a:r>
          </a:p>
        </p:txBody>
      </p:sp>
      <p:sp>
        <p:nvSpPr>
          <p:cNvPr id="20" name="Rechteck 18"/>
          <p:cNvSpPr/>
          <p:nvPr userDrawn="1"/>
        </p:nvSpPr>
        <p:spPr bwMode="gray">
          <a:xfrm rot="18000000">
            <a:off x="5541272" y="5704912"/>
            <a:ext cx="2084750" cy="274320"/>
          </a:xfrm>
          <a:prstGeom prst="rect">
            <a:avLst/>
          </a:prstGeom>
          <a:noFill/>
          <a:ln w="9525" cap="flat" cmpd="sng" algn="ctr">
            <a:noFill/>
            <a:prstDash val="solid"/>
          </a:ln>
          <a:effectLst/>
        </p:spPr>
        <p:txBody>
          <a:bodyPr lIns="0" tIns="0" rIns="0" bIns="0" rtlCol="0" anchor="t" anchorCtr="0"/>
          <a:lstStyle/>
          <a:p>
            <a:pPr marL="0" indent="0" algn="l">
              <a:spcBef>
                <a:spcPts val="225"/>
              </a:spcBef>
              <a:spcAft>
                <a:spcPts val="225"/>
              </a:spcAft>
              <a:buClr>
                <a:schemeClr val="bg1"/>
              </a:buClr>
              <a:buSzPct val="100000"/>
              <a:buFont typeface="Arial" panose="020B0604020202020204" pitchFamily="34" charset="0"/>
              <a:buNone/>
            </a:pPr>
            <a:r>
              <a:rPr lang="en-US" sz="525" kern="0" dirty="0">
                <a:solidFill>
                  <a:srgbClr val="2DBECD"/>
                </a:solidFill>
                <a:latin typeface="+mn-lt"/>
              </a:rPr>
              <a:t>MilliporeSigma is a business of</a:t>
            </a:r>
            <a:br>
              <a:rPr lang="en-US" sz="525" kern="0" dirty="0">
                <a:solidFill>
                  <a:srgbClr val="2DBECD"/>
                </a:solidFill>
                <a:latin typeface="+mn-lt"/>
              </a:rPr>
            </a:br>
            <a:r>
              <a:rPr lang="en-US" sz="525" kern="0" dirty="0">
                <a:solidFill>
                  <a:srgbClr val="2DBECD"/>
                </a:solidFill>
                <a:latin typeface="+mn-lt"/>
              </a:rPr>
              <a:t>Merck KGaA, Darmstadt, Germany</a:t>
            </a:r>
            <a:endParaRPr lang="de-DE" sz="525" kern="0" dirty="0">
              <a:solidFill>
                <a:srgbClr val="2DBECD"/>
              </a:solidFill>
              <a:latin typeface="Verdana"/>
            </a:endParaRPr>
          </a:p>
        </p:txBody>
      </p:sp>
      <p:sp>
        <p:nvSpPr>
          <p:cNvPr id="21" name="Rechteck 19"/>
          <p:cNvSpPr/>
          <p:nvPr userDrawn="1"/>
        </p:nvSpPr>
        <p:spPr bwMode="gray">
          <a:xfrm>
            <a:off x="0" y="-387424"/>
            <a:ext cx="12192000" cy="288032"/>
          </a:xfrm>
          <a:prstGeom prst="rect">
            <a:avLst/>
          </a:prstGeom>
          <a:solidFill>
            <a:srgbClr val="E61E50"/>
          </a:solidFill>
          <a:ln w="9525" cap="flat" cmpd="sng" algn="ctr">
            <a:noFill/>
            <a:prstDash val="solid"/>
          </a:ln>
          <a:effectLst/>
        </p:spPr>
        <p:txBody>
          <a:bodyPr rtlCol="0" anchor="ctr" anchorCtr="0"/>
          <a:lstStyle/>
          <a:p>
            <a:pPr marL="0" indent="0" algn="ctr">
              <a:spcBef>
                <a:spcPts val="225"/>
              </a:spcBef>
              <a:spcAft>
                <a:spcPts val="225"/>
              </a:spcAft>
              <a:buClr>
                <a:schemeClr val="bg1"/>
              </a:buClr>
              <a:buSzPct val="100000"/>
              <a:buFont typeface="Arial" panose="020B0604020202020204" pitchFamily="34" charset="0"/>
              <a:buNone/>
            </a:pPr>
            <a:r>
              <a:rPr lang="en-US" sz="1050" kern="0" dirty="0">
                <a:solidFill>
                  <a:srgbClr val="FFFFFF"/>
                </a:solidFill>
                <a:latin typeface="+mn-lt"/>
              </a:rPr>
              <a:t>Only to be used in USA &amp; Canada, never outside these two countries</a:t>
            </a:r>
            <a:endParaRPr lang="de-DE" sz="1050" kern="0" dirty="0">
              <a:solidFill>
                <a:srgbClr val="FFFFFF"/>
              </a:solidFill>
              <a:latin typeface="Verdana"/>
            </a:endParaRPr>
          </a:p>
        </p:txBody>
      </p:sp>
      <p:sp>
        <p:nvSpPr>
          <p:cNvPr id="19" name="Freeform 5"/>
          <p:cNvSpPr>
            <a:spLocks noEditPoints="1"/>
          </p:cNvSpPr>
          <p:nvPr userDrawn="1"/>
        </p:nvSpPr>
        <p:spPr bwMode="auto">
          <a:xfrm>
            <a:off x="9969502" y="6060209"/>
            <a:ext cx="1820863" cy="465137"/>
          </a:xfrm>
          <a:custGeom>
            <a:avLst/>
            <a:gdLst>
              <a:gd name="T0" fmla="*/ 5746 w 47033"/>
              <a:gd name="T1" fmla="*/ 7214 h 11985"/>
              <a:gd name="T2" fmla="*/ 157 w 47033"/>
              <a:gd name="T3" fmla="*/ 7953 h 11985"/>
              <a:gd name="T4" fmla="*/ 3892 w 47033"/>
              <a:gd name="T5" fmla="*/ 10065 h 11985"/>
              <a:gd name="T6" fmla="*/ 1042 w 47033"/>
              <a:gd name="T7" fmla="*/ 10025 h 11985"/>
              <a:gd name="T8" fmla="*/ 2274 w 47033"/>
              <a:gd name="T9" fmla="*/ 11918 h 11985"/>
              <a:gd name="T10" fmla="*/ 5242 w 47033"/>
              <a:gd name="T11" fmla="*/ 9018 h 11985"/>
              <a:gd name="T12" fmla="*/ 12027 w 47033"/>
              <a:gd name="T13" fmla="*/ 840 h 11985"/>
              <a:gd name="T14" fmla="*/ 2328 w 47033"/>
              <a:gd name="T15" fmla="*/ 405 h 11985"/>
              <a:gd name="T16" fmla="*/ 1484 w 47033"/>
              <a:gd name="T17" fmla="*/ 5712 h 11985"/>
              <a:gd name="T18" fmla="*/ 9685 w 47033"/>
              <a:gd name="T19" fmla="*/ 3071 h 11985"/>
              <a:gd name="T20" fmla="*/ 12027 w 47033"/>
              <a:gd name="T21" fmla="*/ 5543 h 11985"/>
              <a:gd name="T22" fmla="*/ 37476 w 47033"/>
              <a:gd name="T23" fmla="*/ 4017 h 11985"/>
              <a:gd name="T24" fmla="*/ 39160 w 47033"/>
              <a:gd name="T25" fmla="*/ 2513 h 11985"/>
              <a:gd name="T26" fmla="*/ 35890 w 47033"/>
              <a:gd name="T27" fmla="*/ 5657 h 11985"/>
              <a:gd name="T28" fmla="*/ 35115 w 47033"/>
              <a:gd name="T29" fmla="*/ 124 h 11985"/>
              <a:gd name="T30" fmla="*/ 40508 w 47033"/>
              <a:gd name="T31" fmla="*/ 3372 h 11985"/>
              <a:gd name="T32" fmla="*/ 43843 w 47033"/>
              <a:gd name="T33" fmla="*/ 4078 h 11985"/>
              <a:gd name="T34" fmla="*/ 43824 w 47033"/>
              <a:gd name="T35" fmla="*/ 1468 h 11985"/>
              <a:gd name="T36" fmla="*/ 44709 w 47033"/>
              <a:gd name="T37" fmla="*/ 3605 h 11985"/>
              <a:gd name="T38" fmla="*/ 43809 w 47033"/>
              <a:gd name="T39" fmla="*/ 0 h 11985"/>
              <a:gd name="T40" fmla="*/ 44542 w 47033"/>
              <a:gd name="T41" fmla="*/ 5712 h 11985"/>
              <a:gd name="T42" fmla="*/ 28851 w 47033"/>
              <a:gd name="T43" fmla="*/ 157 h 11985"/>
              <a:gd name="T44" fmla="*/ 33992 w 47033"/>
              <a:gd name="T45" fmla="*/ 5141 h 11985"/>
              <a:gd name="T46" fmla="*/ 28986 w 47033"/>
              <a:gd name="T47" fmla="*/ 0 h 11985"/>
              <a:gd name="T48" fmla="*/ 32855 w 47033"/>
              <a:gd name="T49" fmla="*/ 4077 h 11985"/>
              <a:gd name="T50" fmla="*/ 26686 w 47033"/>
              <a:gd name="T51" fmla="*/ 7111 h 11985"/>
              <a:gd name="T52" fmla="*/ 16988 w 47033"/>
              <a:gd name="T53" fmla="*/ 6676 h 11985"/>
              <a:gd name="T54" fmla="*/ 16144 w 47033"/>
              <a:gd name="T55" fmla="*/ 11982 h 11985"/>
              <a:gd name="T56" fmla="*/ 24345 w 47033"/>
              <a:gd name="T57" fmla="*/ 9342 h 11985"/>
              <a:gd name="T58" fmla="*/ 26686 w 47033"/>
              <a:gd name="T59" fmla="*/ 11814 h 11985"/>
              <a:gd name="T60" fmla="*/ 12607 w 47033"/>
              <a:gd name="T61" fmla="*/ 157 h 11985"/>
              <a:gd name="T62" fmla="*/ 14174 w 47033"/>
              <a:gd name="T63" fmla="*/ 2897 h 11985"/>
              <a:gd name="T64" fmla="*/ 12842 w 47033"/>
              <a:gd name="T65" fmla="*/ 5477 h 11985"/>
              <a:gd name="T66" fmla="*/ 17175 w 47033"/>
              <a:gd name="T67" fmla="*/ 4265 h 11985"/>
              <a:gd name="T68" fmla="*/ 15440 w 47033"/>
              <a:gd name="T69" fmla="*/ 0 h 11985"/>
              <a:gd name="T70" fmla="*/ 17175 w 47033"/>
              <a:gd name="T71" fmla="*/ 5766 h 11985"/>
              <a:gd name="T72" fmla="*/ 24357 w 47033"/>
              <a:gd name="T73" fmla="*/ 2588 h 11985"/>
              <a:gd name="T74" fmla="*/ 26793 w 47033"/>
              <a:gd name="T75" fmla="*/ 2823 h 11985"/>
              <a:gd name="T76" fmla="*/ 22772 w 47033"/>
              <a:gd name="T77" fmla="*/ 1 h 11985"/>
              <a:gd name="T78" fmla="*/ 24206 w 47033"/>
              <a:gd name="T79" fmla="*/ 4279 h 11985"/>
              <a:gd name="T80" fmla="*/ 27395 w 47033"/>
              <a:gd name="T81" fmla="*/ 10806 h 11985"/>
              <a:gd name="T82" fmla="*/ 32640 w 47033"/>
              <a:gd name="T83" fmla="*/ 8287 h 11985"/>
              <a:gd name="T84" fmla="*/ 27502 w 47033"/>
              <a:gd name="T85" fmla="*/ 7515 h 11985"/>
              <a:gd name="T86" fmla="*/ 27098 w 47033"/>
              <a:gd name="T87" fmla="*/ 9798 h 11985"/>
              <a:gd name="T88" fmla="*/ 29175 w 47033"/>
              <a:gd name="T89" fmla="*/ 10517 h 11985"/>
              <a:gd name="T90" fmla="*/ 10571 w 47033"/>
              <a:gd name="T91" fmla="*/ 8701 h 11985"/>
              <a:gd name="T92" fmla="*/ 11747 w 47033"/>
              <a:gd name="T93" fmla="*/ 10504 h 11985"/>
              <a:gd name="T94" fmla="*/ 13930 w 47033"/>
              <a:gd name="T95" fmla="*/ 7750 h 11985"/>
              <a:gd name="T96" fmla="*/ 9092 w 47033"/>
              <a:gd name="T97" fmla="*/ 6932 h 11985"/>
              <a:gd name="T98" fmla="*/ 14042 w 47033"/>
              <a:gd name="T99" fmla="*/ 11983 h 11985"/>
              <a:gd name="T100" fmla="*/ 19265 w 47033"/>
              <a:gd name="T101" fmla="*/ 3897 h 11985"/>
              <a:gd name="T102" fmla="*/ 17435 w 47033"/>
              <a:gd name="T103" fmla="*/ 135 h 11985"/>
              <a:gd name="T104" fmla="*/ 22053 w 47033"/>
              <a:gd name="T105" fmla="*/ 1321 h 11985"/>
              <a:gd name="T106" fmla="*/ 20620 w 47033"/>
              <a:gd name="T107" fmla="*/ 1477 h 11985"/>
              <a:gd name="T108" fmla="*/ 21169 w 47033"/>
              <a:gd name="T109" fmla="*/ 2024 h 11985"/>
              <a:gd name="T110" fmla="*/ 21896 w 47033"/>
              <a:gd name="T111" fmla="*/ 5712 h 11985"/>
              <a:gd name="T112" fmla="*/ 6283 w 47033"/>
              <a:gd name="T113" fmla="*/ 6427 h 11985"/>
              <a:gd name="T114" fmla="*/ 7850 w 47033"/>
              <a:gd name="T115" fmla="*/ 9168 h 11985"/>
              <a:gd name="T116" fmla="*/ 6518 w 47033"/>
              <a:gd name="T117" fmla="*/ 11748 h 11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033" h="11985">
                <a:moveTo>
                  <a:pt x="3646" y="7701"/>
                </a:moveTo>
                <a:cubicBezTo>
                  <a:pt x="3911" y="7772"/>
                  <a:pt x="4140" y="7863"/>
                  <a:pt x="4335" y="7976"/>
                </a:cubicBezTo>
                <a:cubicBezTo>
                  <a:pt x="4432" y="8036"/>
                  <a:pt x="4505" y="8073"/>
                  <a:pt x="4553" y="8088"/>
                </a:cubicBezTo>
                <a:cubicBezTo>
                  <a:pt x="4602" y="8103"/>
                  <a:pt x="4656" y="8110"/>
                  <a:pt x="4716" y="8110"/>
                </a:cubicBezTo>
                <a:cubicBezTo>
                  <a:pt x="4850" y="8110"/>
                  <a:pt x="4992" y="8036"/>
                  <a:pt x="5141" y="7886"/>
                </a:cubicBezTo>
                <a:cubicBezTo>
                  <a:pt x="5712" y="7292"/>
                  <a:pt x="5712" y="7292"/>
                  <a:pt x="5712" y="7292"/>
                </a:cubicBezTo>
                <a:cubicBezTo>
                  <a:pt x="5735" y="7270"/>
                  <a:pt x="5746" y="7244"/>
                  <a:pt x="5746" y="7214"/>
                </a:cubicBezTo>
                <a:cubicBezTo>
                  <a:pt x="5746" y="7177"/>
                  <a:pt x="5723" y="7136"/>
                  <a:pt x="5679" y="7091"/>
                </a:cubicBezTo>
                <a:cubicBezTo>
                  <a:pt x="5358" y="6800"/>
                  <a:pt x="4942" y="6572"/>
                  <a:pt x="4430" y="6408"/>
                </a:cubicBezTo>
                <a:cubicBezTo>
                  <a:pt x="3919" y="6244"/>
                  <a:pt x="3379" y="6162"/>
                  <a:pt x="2812" y="6162"/>
                </a:cubicBezTo>
                <a:cubicBezTo>
                  <a:pt x="2460" y="6162"/>
                  <a:pt x="2127" y="6194"/>
                  <a:pt x="1809" y="6262"/>
                </a:cubicBezTo>
                <a:cubicBezTo>
                  <a:pt x="1492" y="6329"/>
                  <a:pt x="1210" y="6434"/>
                  <a:pt x="964" y="6576"/>
                </a:cubicBezTo>
                <a:cubicBezTo>
                  <a:pt x="717" y="6718"/>
                  <a:pt x="521" y="6903"/>
                  <a:pt x="376" y="7130"/>
                </a:cubicBezTo>
                <a:cubicBezTo>
                  <a:pt x="230" y="7358"/>
                  <a:pt x="157" y="7632"/>
                  <a:pt x="157" y="7953"/>
                </a:cubicBezTo>
                <a:cubicBezTo>
                  <a:pt x="157" y="8237"/>
                  <a:pt x="220" y="8479"/>
                  <a:pt x="348" y="8682"/>
                </a:cubicBezTo>
                <a:cubicBezTo>
                  <a:pt x="475" y="8883"/>
                  <a:pt x="650" y="9054"/>
                  <a:pt x="873" y="9196"/>
                </a:cubicBezTo>
                <a:cubicBezTo>
                  <a:pt x="1098" y="9338"/>
                  <a:pt x="1363" y="9452"/>
                  <a:pt x="1669" y="9538"/>
                </a:cubicBezTo>
                <a:cubicBezTo>
                  <a:pt x="1975" y="9624"/>
                  <a:pt x="2307" y="9693"/>
                  <a:pt x="2666" y="9745"/>
                </a:cubicBezTo>
                <a:cubicBezTo>
                  <a:pt x="2927" y="9783"/>
                  <a:pt x="3140" y="9818"/>
                  <a:pt x="3304" y="9852"/>
                </a:cubicBezTo>
                <a:cubicBezTo>
                  <a:pt x="3469" y="9885"/>
                  <a:pt x="3599" y="9919"/>
                  <a:pt x="3696" y="9952"/>
                </a:cubicBezTo>
                <a:cubicBezTo>
                  <a:pt x="3793" y="9986"/>
                  <a:pt x="3859" y="10023"/>
                  <a:pt x="3892" y="10065"/>
                </a:cubicBezTo>
                <a:cubicBezTo>
                  <a:pt x="3926" y="10105"/>
                  <a:pt x="3943" y="10156"/>
                  <a:pt x="3943" y="10216"/>
                </a:cubicBezTo>
                <a:cubicBezTo>
                  <a:pt x="3943" y="10335"/>
                  <a:pt x="3870" y="10419"/>
                  <a:pt x="3724" y="10468"/>
                </a:cubicBezTo>
                <a:cubicBezTo>
                  <a:pt x="3579" y="10516"/>
                  <a:pt x="3386" y="10541"/>
                  <a:pt x="3148" y="10541"/>
                </a:cubicBezTo>
                <a:cubicBezTo>
                  <a:pt x="2752" y="10541"/>
                  <a:pt x="2416" y="10507"/>
                  <a:pt x="2139" y="10440"/>
                </a:cubicBezTo>
                <a:cubicBezTo>
                  <a:pt x="1863" y="10372"/>
                  <a:pt x="1624" y="10279"/>
                  <a:pt x="1422" y="10160"/>
                </a:cubicBezTo>
                <a:cubicBezTo>
                  <a:pt x="1326" y="10100"/>
                  <a:pt x="1253" y="10063"/>
                  <a:pt x="1205" y="10048"/>
                </a:cubicBezTo>
                <a:cubicBezTo>
                  <a:pt x="1156" y="10033"/>
                  <a:pt x="1102" y="10025"/>
                  <a:pt x="1042" y="10025"/>
                </a:cubicBezTo>
                <a:cubicBezTo>
                  <a:pt x="907" y="10025"/>
                  <a:pt x="766" y="10100"/>
                  <a:pt x="616" y="10249"/>
                </a:cubicBezTo>
                <a:cubicBezTo>
                  <a:pt x="34" y="10854"/>
                  <a:pt x="34" y="10854"/>
                  <a:pt x="34" y="10854"/>
                </a:cubicBezTo>
                <a:cubicBezTo>
                  <a:pt x="11" y="10877"/>
                  <a:pt x="0" y="10903"/>
                  <a:pt x="0" y="10932"/>
                </a:cubicBezTo>
                <a:cubicBezTo>
                  <a:pt x="0" y="10970"/>
                  <a:pt x="23" y="11011"/>
                  <a:pt x="68" y="11056"/>
                </a:cubicBezTo>
                <a:cubicBezTo>
                  <a:pt x="210" y="11198"/>
                  <a:pt x="390" y="11327"/>
                  <a:pt x="611" y="11442"/>
                </a:cubicBezTo>
                <a:cubicBezTo>
                  <a:pt x="831" y="11558"/>
                  <a:pt x="1081" y="11655"/>
                  <a:pt x="1361" y="11733"/>
                </a:cubicBezTo>
                <a:cubicBezTo>
                  <a:pt x="1641" y="11812"/>
                  <a:pt x="1945" y="11873"/>
                  <a:pt x="2274" y="11918"/>
                </a:cubicBezTo>
                <a:cubicBezTo>
                  <a:pt x="2602" y="11963"/>
                  <a:pt x="2946" y="11985"/>
                  <a:pt x="3304" y="11985"/>
                </a:cubicBezTo>
                <a:cubicBezTo>
                  <a:pt x="5668" y="11985"/>
                  <a:pt x="5668" y="11985"/>
                  <a:pt x="5668" y="11985"/>
                </a:cubicBezTo>
                <a:cubicBezTo>
                  <a:pt x="5705" y="11985"/>
                  <a:pt x="5731" y="11970"/>
                  <a:pt x="5746" y="11941"/>
                </a:cubicBezTo>
                <a:cubicBezTo>
                  <a:pt x="5753" y="11926"/>
                  <a:pt x="5757" y="11907"/>
                  <a:pt x="5757" y="11884"/>
                </a:cubicBezTo>
                <a:cubicBezTo>
                  <a:pt x="5757" y="10574"/>
                  <a:pt x="5757" y="10574"/>
                  <a:pt x="5757" y="10574"/>
                </a:cubicBezTo>
                <a:cubicBezTo>
                  <a:pt x="5757" y="10193"/>
                  <a:pt x="5712" y="9878"/>
                  <a:pt x="5623" y="9628"/>
                </a:cubicBezTo>
                <a:cubicBezTo>
                  <a:pt x="5534" y="9378"/>
                  <a:pt x="5406" y="9174"/>
                  <a:pt x="5242" y="9018"/>
                </a:cubicBezTo>
                <a:cubicBezTo>
                  <a:pt x="5078" y="8860"/>
                  <a:pt x="4878" y="8741"/>
                  <a:pt x="4643" y="8659"/>
                </a:cubicBezTo>
                <a:cubicBezTo>
                  <a:pt x="4408" y="8577"/>
                  <a:pt x="4144" y="8513"/>
                  <a:pt x="3853" y="8469"/>
                </a:cubicBezTo>
                <a:cubicBezTo>
                  <a:pt x="3248" y="8379"/>
                  <a:pt x="2770" y="8297"/>
                  <a:pt x="2419" y="8222"/>
                </a:cubicBezTo>
                <a:cubicBezTo>
                  <a:pt x="2069" y="8147"/>
                  <a:pt x="1893" y="8039"/>
                  <a:pt x="1893" y="7897"/>
                </a:cubicBezTo>
                <a:cubicBezTo>
                  <a:pt x="1893" y="7696"/>
                  <a:pt x="2177" y="7595"/>
                  <a:pt x="2745" y="7595"/>
                </a:cubicBezTo>
                <a:cubicBezTo>
                  <a:pt x="3081" y="7595"/>
                  <a:pt x="3381" y="7630"/>
                  <a:pt x="3646" y="7701"/>
                </a:cubicBezTo>
                <a:close/>
                <a:moveTo>
                  <a:pt x="12027" y="840"/>
                </a:moveTo>
                <a:cubicBezTo>
                  <a:pt x="12027" y="376"/>
                  <a:pt x="11651" y="0"/>
                  <a:pt x="11187" y="0"/>
                </a:cubicBezTo>
                <a:cubicBezTo>
                  <a:pt x="10297" y="0"/>
                  <a:pt x="10297" y="0"/>
                  <a:pt x="10297" y="0"/>
                </a:cubicBezTo>
                <a:cubicBezTo>
                  <a:pt x="10253" y="1"/>
                  <a:pt x="10213" y="18"/>
                  <a:pt x="10183" y="46"/>
                </a:cubicBezTo>
                <a:cubicBezTo>
                  <a:pt x="8399" y="1721"/>
                  <a:pt x="8399" y="1721"/>
                  <a:pt x="8399" y="1721"/>
                </a:cubicBezTo>
                <a:cubicBezTo>
                  <a:pt x="7789" y="2294"/>
                  <a:pt x="6967" y="2617"/>
                  <a:pt x="6063" y="2617"/>
                </a:cubicBezTo>
                <a:cubicBezTo>
                  <a:pt x="5121" y="2617"/>
                  <a:pt x="4269" y="2265"/>
                  <a:pt x="3651" y="1648"/>
                </a:cubicBezTo>
                <a:cubicBezTo>
                  <a:pt x="3651" y="1648"/>
                  <a:pt x="2340" y="416"/>
                  <a:pt x="2328" y="405"/>
                </a:cubicBezTo>
                <a:cubicBezTo>
                  <a:pt x="2077" y="171"/>
                  <a:pt x="1730" y="9"/>
                  <a:pt x="1332" y="0"/>
                </a:cubicBezTo>
                <a:cubicBezTo>
                  <a:pt x="267" y="0"/>
                  <a:pt x="267" y="0"/>
                  <a:pt x="267" y="0"/>
                </a:cubicBezTo>
                <a:cubicBezTo>
                  <a:pt x="175" y="0"/>
                  <a:pt x="99" y="76"/>
                  <a:pt x="99" y="168"/>
                </a:cubicBezTo>
                <a:cubicBezTo>
                  <a:pt x="99" y="4872"/>
                  <a:pt x="99" y="4872"/>
                  <a:pt x="99" y="4872"/>
                </a:cubicBezTo>
                <a:cubicBezTo>
                  <a:pt x="99" y="5336"/>
                  <a:pt x="475" y="5712"/>
                  <a:pt x="939" y="5712"/>
                </a:cubicBezTo>
                <a:cubicBezTo>
                  <a:pt x="1264" y="5712"/>
                  <a:pt x="1264" y="5712"/>
                  <a:pt x="1264" y="5712"/>
                </a:cubicBezTo>
                <a:cubicBezTo>
                  <a:pt x="1484" y="5712"/>
                  <a:pt x="1484" y="5712"/>
                  <a:pt x="1484" y="5712"/>
                </a:cubicBezTo>
                <a:cubicBezTo>
                  <a:pt x="1577" y="5712"/>
                  <a:pt x="1653" y="5636"/>
                  <a:pt x="1653" y="5543"/>
                </a:cubicBezTo>
                <a:cubicBezTo>
                  <a:pt x="1653" y="3869"/>
                  <a:pt x="1653" y="3869"/>
                  <a:pt x="1653" y="3869"/>
                </a:cubicBezTo>
                <a:cubicBezTo>
                  <a:pt x="1653" y="3432"/>
                  <a:pt x="2010" y="3071"/>
                  <a:pt x="2441" y="3071"/>
                </a:cubicBezTo>
                <a:cubicBezTo>
                  <a:pt x="3242" y="3071"/>
                  <a:pt x="3816" y="3757"/>
                  <a:pt x="4335" y="4216"/>
                </a:cubicBezTo>
                <a:cubicBezTo>
                  <a:pt x="4971" y="4777"/>
                  <a:pt x="5461" y="5318"/>
                  <a:pt x="6063" y="5318"/>
                </a:cubicBezTo>
                <a:cubicBezTo>
                  <a:pt x="6665" y="5318"/>
                  <a:pt x="7155" y="4777"/>
                  <a:pt x="7791" y="4216"/>
                </a:cubicBezTo>
                <a:cubicBezTo>
                  <a:pt x="8310" y="3757"/>
                  <a:pt x="8884" y="3071"/>
                  <a:pt x="9685" y="3071"/>
                </a:cubicBezTo>
                <a:cubicBezTo>
                  <a:pt x="10113" y="3071"/>
                  <a:pt x="10469" y="3428"/>
                  <a:pt x="10473" y="3862"/>
                </a:cubicBezTo>
                <a:cubicBezTo>
                  <a:pt x="10473" y="3862"/>
                  <a:pt x="10473" y="4865"/>
                  <a:pt x="10473" y="4872"/>
                </a:cubicBezTo>
                <a:cubicBezTo>
                  <a:pt x="10473" y="5336"/>
                  <a:pt x="10849" y="5711"/>
                  <a:pt x="11313" y="5711"/>
                </a:cubicBezTo>
                <a:cubicBezTo>
                  <a:pt x="11313" y="5711"/>
                  <a:pt x="11662" y="5711"/>
                  <a:pt x="11676" y="5711"/>
                </a:cubicBezTo>
                <a:cubicBezTo>
                  <a:pt x="11770" y="5711"/>
                  <a:pt x="11858" y="5712"/>
                  <a:pt x="11858" y="5712"/>
                </a:cubicBezTo>
                <a:cubicBezTo>
                  <a:pt x="11858" y="5712"/>
                  <a:pt x="11858" y="5712"/>
                  <a:pt x="11858" y="5712"/>
                </a:cubicBezTo>
                <a:cubicBezTo>
                  <a:pt x="11951" y="5712"/>
                  <a:pt x="12027" y="5636"/>
                  <a:pt x="12027" y="5543"/>
                </a:cubicBezTo>
                <a:cubicBezTo>
                  <a:pt x="12027" y="5541"/>
                  <a:pt x="12027" y="880"/>
                  <a:pt x="12027" y="840"/>
                </a:cubicBezTo>
                <a:close/>
                <a:moveTo>
                  <a:pt x="41328" y="5154"/>
                </a:moveTo>
                <a:cubicBezTo>
                  <a:pt x="41328" y="5550"/>
                  <a:pt x="41328" y="5550"/>
                  <a:pt x="41328" y="5550"/>
                </a:cubicBezTo>
                <a:cubicBezTo>
                  <a:pt x="41328" y="5655"/>
                  <a:pt x="41284" y="5713"/>
                  <a:pt x="41196" y="5713"/>
                </a:cubicBezTo>
                <a:cubicBezTo>
                  <a:pt x="39953" y="5711"/>
                  <a:pt x="39953" y="5711"/>
                  <a:pt x="39953" y="5711"/>
                </a:cubicBezTo>
                <a:cubicBezTo>
                  <a:pt x="39741" y="5711"/>
                  <a:pt x="39544" y="5637"/>
                  <a:pt x="39361" y="5504"/>
                </a:cubicBezTo>
                <a:cubicBezTo>
                  <a:pt x="39361" y="5504"/>
                  <a:pt x="37482" y="4022"/>
                  <a:pt x="37476" y="4017"/>
                </a:cubicBezTo>
                <a:cubicBezTo>
                  <a:pt x="37350" y="3905"/>
                  <a:pt x="37266" y="3719"/>
                  <a:pt x="37266" y="3508"/>
                </a:cubicBezTo>
                <a:cubicBezTo>
                  <a:pt x="37266" y="3508"/>
                  <a:pt x="37266" y="2897"/>
                  <a:pt x="37266" y="2897"/>
                </a:cubicBezTo>
                <a:cubicBezTo>
                  <a:pt x="37266" y="2793"/>
                  <a:pt x="37298" y="2741"/>
                  <a:pt x="37364" y="2741"/>
                </a:cubicBezTo>
                <a:cubicBezTo>
                  <a:pt x="37430" y="2741"/>
                  <a:pt x="37520" y="2784"/>
                  <a:pt x="37565" y="2798"/>
                </a:cubicBezTo>
                <a:cubicBezTo>
                  <a:pt x="37662" y="2833"/>
                  <a:pt x="37784" y="2866"/>
                  <a:pt x="37791" y="2868"/>
                </a:cubicBezTo>
                <a:cubicBezTo>
                  <a:pt x="37986" y="2930"/>
                  <a:pt x="38177" y="2963"/>
                  <a:pt x="38363" y="2963"/>
                </a:cubicBezTo>
                <a:cubicBezTo>
                  <a:pt x="38752" y="2963"/>
                  <a:pt x="39062" y="2790"/>
                  <a:pt x="39160" y="2513"/>
                </a:cubicBezTo>
                <a:cubicBezTo>
                  <a:pt x="39251" y="2257"/>
                  <a:pt x="38997" y="1663"/>
                  <a:pt x="38135" y="1445"/>
                </a:cubicBezTo>
                <a:cubicBezTo>
                  <a:pt x="37489" y="1282"/>
                  <a:pt x="36888" y="1408"/>
                  <a:pt x="36713" y="1731"/>
                </a:cubicBezTo>
                <a:cubicBezTo>
                  <a:pt x="36713" y="1731"/>
                  <a:pt x="36686" y="1781"/>
                  <a:pt x="36670" y="1833"/>
                </a:cubicBezTo>
                <a:cubicBezTo>
                  <a:pt x="36655" y="1883"/>
                  <a:pt x="36651" y="1958"/>
                  <a:pt x="36651" y="1989"/>
                </a:cubicBezTo>
                <a:cubicBezTo>
                  <a:pt x="36651" y="1989"/>
                  <a:pt x="36651" y="4294"/>
                  <a:pt x="36651" y="4327"/>
                </a:cubicBezTo>
                <a:cubicBezTo>
                  <a:pt x="36651" y="4678"/>
                  <a:pt x="36597" y="5004"/>
                  <a:pt x="36379" y="5291"/>
                </a:cubicBezTo>
                <a:cubicBezTo>
                  <a:pt x="36254" y="5457"/>
                  <a:pt x="36086" y="5593"/>
                  <a:pt x="35890" y="5657"/>
                </a:cubicBezTo>
                <a:cubicBezTo>
                  <a:pt x="35762" y="5697"/>
                  <a:pt x="35622" y="5712"/>
                  <a:pt x="35492" y="5712"/>
                </a:cubicBezTo>
                <a:cubicBezTo>
                  <a:pt x="35401" y="5712"/>
                  <a:pt x="35241" y="5707"/>
                  <a:pt x="35169" y="5669"/>
                </a:cubicBezTo>
                <a:cubicBezTo>
                  <a:pt x="35115" y="5639"/>
                  <a:pt x="35115" y="5581"/>
                  <a:pt x="35115" y="5527"/>
                </a:cubicBezTo>
                <a:cubicBezTo>
                  <a:pt x="35115" y="5143"/>
                  <a:pt x="35115" y="5143"/>
                  <a:pt x="35115" y="5143"/>
                </a:cubicBezTo>
                <a:cubicBezTo>
                  <a:pt x="35115" y="4848"/>
                  <a:pt x="35115" y="4848"/>
                  <a:pt x="35115" y="4848"/>
                </a:cubicBezTo>
                <a:cubicBezTo>
                  <a:pt x="35115" y="3990"/>
                  <a:pt x="35115" y="3990"/>
                  <a:pt x="35115" y="3990"/>
                </a:cubicBezTo>
                <a:cubicBezTo>
                  <a:pt x="35115" y="3990"/>
                  <a:pt x="35115" y="134"/>
                  <a:pt x="35115" y="124"/>
                </a:cubicBezTo>
                <a:cubicBezTo>
                  <a:pt x="35115" y="56"/>
                  <a:pt x="35171" y="0"/>
                  <a:pt x="35239" y="0"/>
                </a:cubicBezTo>
                <a:cubicBezTo>
                  <a:pt x="35243" y="0"/>
                  <a:pt x="37546" y="0"/>
                  <a:pt x="37546" y="0"/>
                </a:cubicBezTo>
                <a:cubicBezTo>
                  <a:pt x="37926" y="0"/>
                  <a:pt x="38306" y="64"/>
                  <a:pt x="38697" y="195"/>
                </a:cubicBezTo>
                <a:cubicBezTo>
                  <a:pt x="39088" y="326"/>
                  <a:pt x="39442" y="502"/>
                  <a:pt x="39756" y="726"/>
                </a:cubicBezTo>
                <a:cubicBezTo>
                  <a:pt x="40071" y="950"/>
                  <a:pt x="40327" y="1213"/>
                  <a:pt x="40524" y="1515"/>
                </a:cubicBezTo>
                <a:cubicBezTo>
                  <a:pt x="40722" y="1817"/>
                  <a:pt x="40820" y="2140"/>
                  <a:pt x="40820" y="2483"/>
                </a:cubicBezTo>
                <a:cubicBezTo>
                  <a:pt x="40820" y="2848"/>
                  <a:pt x="40711" y="3140"/>
                  <a:pt x="40508" y="3372"/>
                </a:cubicBezTo>
                <a:cubicBezTo>
                  <a:pt x="40181" y="3746"/>
                  <a:pt x="39821" y="3890"/>
                  <a:pt x="39711" y="3960"/>
                </a:cubicBezTo>
                <a:cubicBezTo>
                  <a:pt x="39809" y="4037"/>
                  <a:pt x="40036" y="4217"/>
                  <a:pt x="40343" y="4460"/>
                </a:cubicBezTo>
                <a:cubicBezTo>
                  <a:pt x="40937" y="4930"/>
                  <a:pt x="41237" y="5013"/>
                  <a:pt x="41238" y="5013"/>
                </a:cubicBezTo>
                <a:cubicBezTo>
                  <a:pt x="41280" y="5030"/>
                  <a:pt x="41328" y="5093"/>
                  <a:pt x="41328" y="5154"/>
                </a:cubicBezTo>
                <a:close/>
                <a:moveTo>
                  <a:pt x="46158" y="4229"/>
                </a:moveTo>
                <a:cubicBezTo>
                  <a:pt x="44501" y="4229"/>
                  <a:pt x="44501" y="4229"/>
                  <a:pt x="44501" y="4229"/>
                </a:cubicBezTo>
                <a:cubicBezTo>
                  <a:pt x="44265" y="4229"/>
                  <a:pt x="44051" y="4167"/>
                  <a:pt x="43843" y="4078"/>
                </a:cubicBezTo>
                <a:cubicBezTo>
                  <a:pt x="43665" y="4002"/>
                  <a:pt x="43392" y="3765"/>
                  <a:pt x="43311" y="3675"/>
                </a:cubicBezTo>
                <a:cubicBezTo>
                  <a:pt x="43159" y="3507"/>
                  <a:pt x="43041" y="3313"/>
                  <a:pt x="42956" y="3093"/>
                </a:cubicBezTo>
                <a:cubicBezTo>
                  <a:pt x="42871" y="2874"/>
                  <a:pt x="42829" y="2648"/>
                  <a:pt x="42829" y="2417"/>
                </a:cubicBezTo>
                <a:cubicBezTo>
                  <a:pt x="42829" y="2119"/>
                  <a:pt x="42913" y="1887"/>
                  <a:pt x="43083" y="1723"/>
                </a:cubicBezTo>
                <a:cubicBezTo>
                  <a:pt x="43104" y="1703"/>
                  <a:pt x="43177" y="1643"/>
                  <a:pt x="43262" y="1593"/>
                </a:cubicBezTo>
                <a:cubicBezTo>
                  <a:pt x="43347" y="1543"/>
                  <a:pt x="43440" y="1518"/>
                  <a:pt x="43501" y="1505"/>
                </a:cubicBezTo>
                <a:cubicBezTo>
                  <a:pt x="43599" y="1481"/>
                  <a:pt x="43708" y="1468"/>
                  <a:pt x="43824" y="1468"/>
                </a:cubicBezTo>
                <a:cubicBezTo>
                  <a:pt x="43939" y="1468"/>
                  <a:pt x="44047" y="1481"/>
                  <a:pt x="44146" y="1504"/>
                </a:cubicBezTo>
                <a:cubicBezTo>
                  <a:pt x="44332" y="1541"/>
                  <a:pt x="44515" y="1615"/>
                  <a:pt x="44695" y="1729"/>
                </a:cubicBezTo>
                <a:cubicBezTo>
                  <a:pt x="44953" y="1892"/>
                  <a:pt x="45227" y="2141"/>
                  <a:pt x="45410" y="2381"/>
                </a:cubicBezTo>
                <a:cubicBezTo>
                  <a:pt x="43687" y="2380"/>
                  <a:pt x="43687" y="2380"/>
                  <a:pt x="43687" y="2380"/>
                </a:cubicBezTo>
                <a:cubicBezTo>
                  <a:pt x="43583" y="2380"/>
                  <a:pt x="43532" y="2426"/>
                  <a:pt x="43532" y="2515"/>
                </a:cubicBezTo>
                <a:cubicBezTo>
                  <a:pt x="43532" y="2694"/>
                  <a:pt x="43559" y="2809"/>
                  <a:pt x="43629" y="2954"/>
                </a:cubicBezTo>
                <a:cubicBezTo>
                  <a:pt x="43699" y="3099"/>
                  <a:pt x="44031" y="3605"/>
                  <a:pt x="44709" y="3605"/>
                </a:cubicBezTo>
                <a:cubicBezTo>
                  <a:pt x="46313" y="3606"/>
                  <a:pt x="46313" y="3606"/>
                  <a:pt x="46313" y="3606"/>
                </a:cubicBezTo>
                <a:cubicBezTo>
                  <a:pt x="46594" y="3606"/>
                  <a:pt x="46788" y="3532"/>
                  <a:pt x="46895" y="3382"/>
                </a:cubicBezTo>
                <a:cubicBezTo>
                  <a:pt x="47002" y="3234"/>
                  <a:pt x="47033" y="3105"/>
                  <a:pt x="47033" y="2904"/>
                </a:cubicBezTo>
                <a:cubicBezTo>
                  <a:pt x="47033" y="2576"/>
                  <a:pt x="46946" y="2254"/>
                  <a:pt x="46773" y="1908"/>
                </a:cubicBezTo>
                <a:cubicBezTo>
                  <a:pt x="46599" y="1561"/>
                  <a:pt x="46364" y="1246"/>
                  <a:pt x="46069" y="962"/>
                </a:cubicBezTo>
                <a:cubicBezTo>
                  <a:pt x="45774" y="679"/>
                  <a:pt x="45430" y="448"/>
                  <a:pt x="45039" y="269"/>
                </a:cubicBezTo>
                <a:cubicBezTo>
                  <a:pt x="44647" y="90"/>
                  <a:pt x="44237" y="0"/>
                  <a:pt x="43809" y="0"/>
                </a:cubicBezTo>
                <a:cubicBezTo>
                  <a:pt x="43809" y="0"/>
                  <a:pt x="41455" y="0"/>
                  <a:pt x="41452" y="0"/>
                </a:cubicBezTo>
                <a:cubicBezTo>
                  <a:pt x="41383" y="0"/>
                  <a:pt x="41328" y="56"/>
                  <a:pt x="41328" y="124"/>
                </a:cubicBezTo>
                <a:cubicBezTo>
                  <a:pt x="41328" y="134"/>
                  <a:pt x="41328" y="2473"/>
                  <a:pt x="41328" y="2473"/>
                </a:cubicBezTo>
                <a:cubicBezTo>
                  <a:pt x="41328" y="2913"/>
                  <a:pt x="41412" y="3328"/>
                  <a:pt x="41582" y="3720"/>
                </a:cubicBezTo>
                <a:cubicBezTo>
                  <a:pt x="41752" y="4112"/>
                  <a:pt x="41983" y="4455"/>
                  <a:pt x="42275" y="4749"/>
                </a:cubicBezTo>
                <a:cubicBezTo>
                  <a:pt x="42566" y="5044"/>
                  <a:pt x="42906" y="5277"/>
                  <a:pt x="43294" y="5448"/>
                </a:cubicBezTo>
                <a:cubicBezTo>
                  <a:pt x="43682" y="5620"/>
                  <a:pt x="44099" y="5712"/>
                  <a:pt x="44542" y="5712"/>
                </a:cubicBezTo>
                <a:cubicBezTo>
                  <a:pt x="46909" y="5712"/>
                  <a:pt x="46909" y="5712"/>
                  <a:pt x="46909" y="5712"/>
                </a:cubicBezTo>
                <a:cubicBezTo>
                  <a:pt x="46978" y="5712"/>
                  <a:pt x="47033" y="5657"/>
                  <a:pt x="47033" y="5588"/>
                </a:cubicBezTo>
                <a:cubicBezTo>
                  <a:pt x="47033" y="5113"/>
                  <a:pt x="47033" y="5113"/>
                  <a:pt x="47033" y="5113"/>
                </a:cubicBezTo>
                <a:cubicBezTo>
                  <a:pt x="47033" y="4837"/>
                  <a:pt x="46955" y="4621"/>
                  <a:pt x="46800" y="4464"/>
                </a:cubicBezTo>
                <a:cubicBezTo>
                  <a:pt x="46645" y="4307"/>
                  <a:pt x="46431" y="4229"/>
                  <a:pt x="46158" y="4229"/>
                </a:cubicBezTo>
                <a:close/>
                <a:moveTo>
                  <a:pt x="28986" y="0"/>
                </a:moveTo>
                <a:cubicBezTo>
                  <a:pt x="28896" y="0"/>
                  <a:pt x="28851" y="52"/>
                  <a:pt x="28851" y="157"/>
                </a:cubicBezTo>
                <a:cubicBezTo>
                  <a:pt x="28851" y="2476"/>
                  <a:pt x="28851" y="2476"/>
                  <a:pt x="28851" y="2476"/>
                </a:cubicBezTo>
                <a:cubicBezTo>
                  <a:pt x="28851" y="2923"/>
                  <a:pt x="28944" y="3349"/>
                  <a:pt x="29132" y="3752"/>
                </a:cubicBezTo>
                <a:cubicBezTo>
                  <a:pt x="29318" y="4155"/>
                  <a:pt x="29566" y="4512"/>
                  <a:pt x="29876" y="4822"/>
                </a:cubicBezTo>
                <a:cubicBezTo>
                  <a:pt x="30186" y="5131"/>
                  <a:pt x="30543" y="5376"/>
                  <a:pt x="30945" y="5555"/>
                </a:cubicBezTo>
                <a:cubicBezTo>
                  <a:pt x="31349" y="5735"/>
                  <a:pt x="31767" y="5824"/>
                  <a:pt x="32200" y="5824"/>
                </a:cubicBezTo>
                <a:cubicBezTo>
                  <a:pt x="32574" y="5824"/>
                  <a:pt x="32911" y="5765"/>
                  <a:pt x="33213" y="5644"/>
                </a:cubicBezTo>
                <a:cubicBezTo>
                  <a:pt x="33516" y="5525"/>
                  <a:pt x="33775" y="5358"/>
                  <a:pt x="33992" y="5141"/>
                </a:cubicBezTo>
                <a:cubicBezTo>
                  <a:pt x="34208" y="4924"/>
                  <a:pt x="34376" y="4665"/>
                  <a:pt x="34496" y="4363"/>
                </a:cubicBezTo>
                <a:cubicBezTo>
                  <a:pt x="34616" y="4060"/>
                  <a:pt x="34676" y="3722"/>
                  <a:pt x="34676" y="3349"/>
                </a:cubicBezTo>
                <a:cubicBezTo>
                  <a:pt x="34676" y="2901"/>
                  <a:pt x="34582" y="2476"/>
                  <a:pt x="34395" y="2072"/>
                </a:cubicBezTo>
                <a:cubicBezTo>
                  <a:pt x="34208" y="1669"/>
                  <a:pt x="33960" y="1312"/>
                  <a:pt x="33651" y="1003"/>
                </a:cubicBezTo>
                <a:cubicBezTo>
                  <a:pt x="33341" y="693"/>
                  <a:pt x="32984" y="448"/>
                  <a:pt x="32581" y="269"/>
                </a:cubicBezTo>
                <a:cubicBezTo>
                  <a:pt x="32178" y="90"/>
                  <a:pt x="31760" y="0"/>
                  <a:pt x="31327" y="0"/>
                </a:cubicBezTo>
                <a:lnTo>
                  <a:pt x="28986" y="0"/>
                </a:lnTo>
                <a:close/>
                <a:moveTo>
                  <a:pt x="30677" y="1748"/>
                </a:moveTo>
                <a:cubicBezTo>
                  <a:pt x="30849" y="1568"/>
                  <a:pt x="31069" y="1478"/>
                  <a:pt x="31338" y="1478"/>
                </a:cubicBezTo>
                <a:cubicBezTo>
                  <a:pt x="31547" y="1478"/>
                  <a:pt x="31756" y="1536"/>
                  <a:pt x="31965" y="1652"/>
                </a:cubicBezTo>
                <a:cubicBezTo>
                  <a:pt x="32174" y="1768"/>
                  <a:pt x="32363" y="1918"/>
                  <a:pt x="32531" y="2100"/>
                </a:cubicBezTo>
                <a:cubicBezTo>
                  <a:pt x="32698" y="2283"/>
                  <a:pt x="32836" y="2487"/>
                  <a:pt x="32945" y="2711"/>
                </a:cubicBezTo>
                <a:cubicBezTo>
                  <a:pt x="33053" y="2934"/>
                  <a:pt x="33107" y="3159"/>
                  <a:pt x="33107" y="3383"/>
                </a:cubicBezTo>
                <a:cubicBezTo>
                  <a:pt x="33107" y="3666"/>
                  <a:pt x="33023" y="3898"/>
                  <a:pt x="32855" y="4077"/>
                </a:cubicBezTo>
                <a:cubicBezTo>
                  <a:pt x="32687" y="4256"/>
                  <a:pt x="32465" y="4346"/>
                  <a:pt x="32189" y="4346"/>
                </a:cubicBezTo>
                <a:cubicBezTo>
                  <a:pt x="31980" y="4346"/>
                  <a:pt x="31771" y="4288"/>
                  <a:pt x="31562" y="4172"/>
                </a:cubicBezTo>
                <a:cubicBezTo>
                  <a:pt x="31352" y="4056"/>
                  <a:pt x="31165" y="3907"/>
                  <a:pt x="30997" y="3724"/>
                </a:cubicBezTo>
                <a:cubicBezTo>
                  <a:pt x="30829" y="3541"/>
                  <a:pt x="30690" y="3337"/>
                  <a:pt x="30582" y="3114"/>
                </a:cubicBezTo>
                <a:cubicBezTo>
                  <a:pt x="30473" y="2890"/>
                  <a:pt x="30420" y="2666"/>
                  <a:pt x="30420" y="2442"/>
                </a:cubicBezTo>
                <a:cubicBezTo>
                  <a:pt x="30420" y="2158"/>
                  <a:pt x="30505" y="1927"/>
                  <a:pt x="30677" y="1748"/>
                </a:cubicBezTo>
                <a:close/>
                <a:moveTo>
                  <a:pt x="26686" y="7111"/>
                </a:moveTo>
                <a:cubicBezTo>
                  <a:pt x="26686" y="6647"/>
                  <a:pt x="26310" y="6271"/>
                  <a:pt x="25846" y="6271"/>
                </a:cubicBezTo>
                <a:cubicBezTo>
                  <a:pt x="24957" y="6271"/>
                  <a:pt x="24957" y="6271"/>
                  <a:pt x="24957" y="6271"/>
                </a:cubicBezTo>
                <a:cubicBezTo>
                  <a:pt x="24912" y="6271"/>
                  <a:pt x="24872" y="6289"/>
                  <a:pt x="24842" y="6317"/>
                </a:cubicBezTo>
                <a:cubicBezTo>
                  <a:pt x="23059" y="7991"/>
                  <a:pt x="23059" y="7991"/>
                  <a:pt x="23059" y="7991"/>
                </a:cubicBezTo>
                <a:cubicBezTo>
                  <a:pt x="22448" y="8565"/>
                  <a:pt x="21626" y="8887"/>
                  <a:pt x="20722" y="8887"/>
                </a:cubicBezTo>
                <a:cubicBezTo>
                  <a:pt x="19781" y="8887"/>
                  <a:pt x="18928" y="8535"/>
                  <a:pt x="18311" y="7918"/>
                </a:cubicBezTo>
                <a:cubicBezTo>
                  <a:pt x="18311" y="7918"/>
                  <a:pt x="17000" y="6687"/>
                  <a:pt x="16988" y="6676"/>
                </a:cubicBezTo>
                <a:cubicBezTo>
                  <a:pt x="16736" y="6441"/>
                  <a:pt x="16390" y="6280"/>
                  <a:pt x="15991" y="6271"/>
                </a:cubicBezTo>
                <a:cubicBezTo>
                  <a:pt x="14927" y="6271"/>
                  <a:pt x="14927" y="6271"/>
                  <a:pt x="14927" y="6271"/>
                </a:cubicBezTo>
                <a:cubicBezTo>
                  <a:pt x="14834" y="6271"/>
                  <a:pt x="14759" y="6346"/>
                  <a:pt x="14759" y="6439"/>
                </a:cubicBezTo>
                <a:cubicBezTo>
                  <a:pt x="14759" y="11142"/>
                  <a:pt x="14759" y="11142"/>
                  <a:pt x="14759" y="11142"/>
                </a:cubicBezTo>
                <a:cubicBezTo>
                  <a:pt x="14759" y="11606"/>
                  <a:pt x="15135" y="11983"/>
                  <a:pt x="15599" y="11983"/>
                </a:cubicBezTo>
                <a:cubicBezTo>
                  <a:pt x="15924" y="11983"/>
                  <a:pt x="15924" y="11983"/>
                  <a:pt x="15924" y="11983"/>
                </a:cubicBezTo>
                <a:cubicBezTo>
                  <a:pt x="16144" y="11982"/>
                  <a:pt x="16144" y="11982"/>
                  <a:pt x="16144" y="11982"/>
                </a:cubicBezTo>
                <a:cubicBezTo>
                  <a:pt x="16236" y="11982"/>
                  <a:pt x="16312" y="11907"/>
                  <a:pt x="16312" y="11813"/>
                </a:cubicBezTo>
                <a:cubicBezTo>
                  <a:pt x="16313" y="10140"/>
                  <a:pt x="16313" y="10140"/>
                  <a:pt x="16313" y="10140"/>
                </a:cubicBezTo>
                <a:cubicBezTo>
                  <a:pt x="16313" y="9702"/>
                  <a:pt x="16670" y="9342"/>
                  <a:pt x="17100" y="9342"/>
                </a:cubicBezTo>
                <a:cubicBezTo>
                  <a:pt x="17901" y="9342"/>
                  <a:pt x="18476" y="10028"/>
                  <a:pt x="18995" y="10486"/>
                </a:cubicBezTo>
                <a:cubicBezTo>
                  <a:pt x="19630" y="11048"/>
                  <a:pt x="20120" y="11589"/>
                  <a:pt x="20722" y="11589"/>
                </a:cubicBezTo>
                <a:cubicBezTo>
                  <a:pt x="21325" y="11589"/>
                  <a:pt x="21814" y="11048"/>
                  <a:pt x="22450" y="10486"/>
                </a:cubicBezTo>
                <a:cubicBezTo>
                  <a:pt x="22969" y="10028"/>
                  <a:pt x="23544" y="9342"/>
                  <a:pt x="24345" y="9342"/>
                </a:cubicBezTo>
                <a:cubicBezTo>
                  <a:pt x="24773" y="9342"/>
                  <a:pt x="25128" y="9698"/>
                  <a:pt x="25132" y="10133"/>
                </a:cubicBezTo>
                <a:cubicBezTo>
                  <a:pt x="25132" y="10133"/>
                  <a:pt x="25132" y="11136"/>
                  <a:pt x="25132" y="11142"/>
                </a:cubicBezTo>
                <a:cubicBezTo>
                  <a:pt x="25132" y="11606"/>
                  <a:pt x="25508" y="11981"/>
                  <a:pt x="25972" y="11981"/>
                </a:cubicBezTo>
                <a:cubicBezTo>
                  <a:pt x="25972" y="11981"/>
                  <a:pt x="26321" y="11981"/>
                  <a:pt x="26335" y="11981"/>
                </a:cubicBezTo>
                <a:cubicBezTo>
                  <a:pt x="26430" y="11981"/>
                  <a:pt x="26517" y="11983"/>
                  <a:pt x="26517" y="11983"/>
                </a:cubicBezTo>
                <a:cubicBezTo>
                  <a:pt x="26517" y="11982"/>
                  <a:pt x="26517" y="11982"/>
                  <a:pt x="26517" y="11982"/>
                </a:cubicBezTo>
                <a:cubicBezTo>
                  <a:pt x="26611" y="11982"/>
                  <a:pt x="26686" y="11907"/>
                  <a:pt x="26686" y="11814"/>
                </a:cubicBezTo>
                <a:cubicBezTo>
                  <a:pt x="26686" y="11811"/>
                  <a:pt x="26686" y="7150"/>
                  <a:pt x="26686" y="7111"/>
                </a:cubicBezTo>
                <a:close/>
                <a:moveTo>
                  <a:pt x="14175" y="1321"/>
                </a:moveTo>
                <a:cubicBezTo>
                  <a:pt x="14175" y="884"/>
                  <a:pt x="14175" y="884"/>
                  <a:pt x="14175" y="884"/>
                </a:cubicBezTo>
                <a:cubicBezTo>
                  <a:pt x="14175" y="608"/>
                  <a:pt x="14097" y="392"/>
                  <a:pt x="13940" y="235"/>
                </a:cubicBezTo>
                <a:cubicBezTo>
                  <a:pt x="13783" y="78"/>
                  <a:pt x="13567" y="0"/>
                  <a:pt x="13290" y="0"/>
                </a:cubicBezTo>
                <a:cubicBezTo>
                  <a:pt x="12741" y="0"/>
                  <a:pt x="12741" y="0"/>
                  <a:pt x="12741" y="0"/>
                </a:cubicBezTo>
                <a:cubicBezTo>
                  <a:pt x="12652" y="0"/>
                  <a:pt x="12607" y="52"/>
                  <a:pt x="12607" y="157"/>
                </a:cubicBezTo>
                <a:cubicBezTo>
                  <a:pt x="12607" y="1321"/>
                  <a:pt x="12607" y="1321"/>
                  <a:pt x="12607" y="1321"/>
                </a:cubicBezTo>
                <a:cubicBezTo>
                  <a:pt x="12607" y="1425"/>
                  <a:pt x="12652" y="1477"/>
                  <a:pt x="12741" y="1477"/>
                </a:cubicBezTo>
                <a:cubicBezTo>
                  <a:pt x="14041" y="1477"/>
                  <a:pt x="14041" y="1477"/>
                  <a:pt x="14041" y="1477"/>
                </a:cubicBezTo>
                <a:cubicBezTo>
                  <a:pt x="14131" y="1477"/>
                  <a:pt x="14175" y="1425"/>
                  <a:pt x="14175" y="1321"/>
                </a:cubicBezTo>
                <a:moveTo>
                  <a:pt x="14175" y="5578"/>
                </a:moveTo>
                <a:cubicBezTo>
                  <a:pt x="14175" y="2897"/>
                  <a:pt x="14175" y="2897"/>
                  <a:pt x="14175" y="2897"/>
                </a:cubicBezTo>
                <a:cubicBezTo>
                  <a:pt x="14174" y="2897"/>
                  <a:pt x="14174" y="2897"/>
                  <a:pt x="14174" y="2897"/>
                </a:cubicBezTo>
                <a:cubicBezTo>
                  <a:pt x="14172" y="2626"/>
                  <a:pt x="14094" y="2414"/>
                  <a:pt x="13940" y="2259"/>
                </a:cubicBezTo>
                <a:cubicBezTo>
                  <a:pt x="13783" y="2102"/>
                  <a:pt x="13567" y="2024"/>
                  <a:pt x="13290" y="2024"/>
                </a:cubicBezTo>
                <a:cubicBezTo>
                  <a:pt x="12764" y="2024"/>
                  <a:pt x="12764" y="2024"/>
                  <a:pt x="12764" y="2024"/>
                </a:cubicBezTo>
                <a:cubicBezTo>
                  <a:pt x="12660" y="2024"/>
                  <a:pt x="12607" y="2068"/>
                  <a:pt x="12607" y="2158"/>
                </a:cubicBezTo>
                <a:cubicBezTo>
                  <a:pt x="12607" y="2897"/>
                  <a:pt x="12607" y="2897"/>
                  <a:pt x="12607" y="2897"/>
                </a:cubicBezTo>
                <a:cubicBezTo>
                  <a:pt x="12607" y="4827"/>
                  <a:pt x="12607" y="4827"/>
                  <a:pt x="12607" y="4827"/>
                </a:cubicBezTo>
                <a:cubicBezTo>
                  <a:pt x="12607" y="5104"/>
                  <a:pt x="12686" y="5321"/>
                  <a:pt x="12842" y="5477"/>
                </a:cubicBezTo>
                <a:cubicBezTo>
                  <a:pt x="12999" y="5634"/>
                  <a:pt x="13216" y="5712"/>
                  <a:pt x="13492" y="5712"/>
                </a:cubicBezTo>
                <a:cubicBezTo>
                  <a:pt x="14018" y="5712"/>
                  <a:pt x="14018" y="5712"/>
                  <a:pt x="14018" y="5712"/>
                </a:cubicBezTo>
                <a:cubicBezTo>
                  <a:pt x="14123" y="5712"/>
                  <a:pt x="14175" y="5668"/>
                  <a:pt x="14175" y="5578"/>
                </a:cubicBezTo>
                <a:moveTo>
                  <a:pt x="17332" y="5621"/>
                </a:moveTo>
                <a:cubicBezTo>
                  <a:pt x="17332" y="4412"/>
                  <a:pt x="17332" y="4412"/>
                  <a:pt x="17332" y="4412"/>
                </a:cubicBezTo>
                <a:cubicBezTo>
                  <a:pt x="17332" y="4359"/>
                  <a:pt x="17321" y="4326"/>
                  <a:pt x="17298" y="4311"/>
                </a:cubicBezTo>
                <a:cubicBezTo>
                  <a:pt x="17276" y="4296"/>
                  <a:pt x="17235" y="4281"/>
                  <a:pt x="17175" y="4265"/>
                </a:cubicBezTo>
                <a:cubicBezTo>
                  <a:pt x="17063" y="4244"/>
                  <a:pt x="16957" y="4199"/>
                  <a:pt x="16856" y="4131"/>
                </a:cubicBezTo>
                <a:cubicBezTo>
                  <a:pt x="16755" y="4065"/>
                  <a:pt x="16666" y="3986"/>
                  <a:pt x="16587" y="3897"/>
                </a:cubicBezTo>
                <a:cubicBezTo>
                  <a:pt x="16509" y="3807"/>
                  <a:pt x="16445" y="3708"/>
                  <a:pt x="16397" y="3600"/>
                </a:cubicBezTo>
                <a:cubicBezTo>
                  <a:pt x="16348" y="3492"/>
                  <a:pt x="16324" y="3382"/>
                  <a:pt x="16324" y="3269"/>
                </a:cubicBezTo>
                <a:cubicBezTo>
                  <a:pt x="16324" y="885"/>
                  <a:pt x="16324" y="885"/>
                  <a:pt x="16324" y="885"/>
                </a:cubicBezTo>
                <a:cubicBezTo>
                  <a:pt x="16324" y="609"/>
                  <a:pt x="16246" y="392"/>
                  <a:pt x="16089" y="236"/>
                </a:cubicBezTo>
                <a:cubicBezTo>
                  <a:pt x="15932" y="78"/>
                  <a:pt x="15715" y="0"/>
                  <a:pt x="15440" y="0"/>
                </a:cubicBezTo>
                <a:cubicBezTo>
                  <a:pt x="14913" y="0"/>
                  <a:pt x="14913" y="0"/>
                  <a:pt x="14913" y="0"/>
                </a:cubicBezTo>
                <a:cubicBezTo>
                  <a:pt x="14808" y="0"/>
                  <a:pt x="14757" y="45"/>
                  <a:pt x="14757" y="135"/>
                </a:cubicBezTo>
                <a:cubicBezTo>
                  <a:pt x="14757" y="3314"/>
                  <a:pt x="14757" y="3314"/>
                  <a:pt x="14757" y="3314"/>
                </a:cubicBezTo>
                <a:cubicBezTo>
                  <a:pt x="14757" y="3642"/>
                  <a:pt x="14822" y="3949"/>
                  <a:pt x="14952" y="4233"/>
                </a:cubicBezTo>
                <a:cubicBezTo>
                  <a:pt x="15083" y="4516"/>
                  <a:pt x="15258" y="4768"/>
                  <a:pt x="15479" y="4989"/>
                </a:cubicBezTo>
                <a:cubicBezTo>
                  <a:pt x="15698" y="5208"/>
                  <a:pt x="15955" y="5386"/>
                  <a:pt x="16246" y="5520"/>
                </a:cubicBezTo>
                <a:cubicBezTo>
                  <a:pt x="16537" y="5655"/>
                  <a:pt x="16847" y="5737"/>
                  <a:pt x="17175" y="5766"/>
                </a:cubicBezTo>
                <a:cubicBezTo>
                  <a:pt x="17280" y="5774"/>
                  <a:pt x="17332" y="5726"/>
                  <a:pt x="17332" y="5621"/>
                </a:cubicBezTo>
                <a:moveTo>
                  <a:pt x="26793" y="2823"/>
                </a:moveTo>
                <a:cubicBezTo>
                  <a:pt x="26793" y="3018"/>
                  <a:pt x="26716" y="3172"/>
                  <a:pt x="26563" y="3287"/>
                </a:cubicBezTo>
                <a:cubicBezTo>
                  <a:pt x="26410" y="3404"/>
                  <a:pt x="26206" y="3462"/>
                  <a:pt x="25953" y="3462"/>
                </a:cubicBezTo>
                <a:cubicBezTo>
                  <a:pt x="25736" y="3462"/>
                  <a:pt x="25525" y="3420"/>
                  <a:pt x="25320" y="3338"/>
                </a:cubicBezTo>
                <a:cubicBezTo>
                  <a:pt x="25114" y="3256"/>
                  <a:pt x="24928" y="3152"/>
                  <a:pt x="24760" y="3025"/>
                </a:cubicBezTo>
                <a:cubicBezTo>
                  <a:pt x="24592" y="2898"/>
                  <a:pt x="24458" y="2752"/>
                  <a:pt x="24357" y="2588"/>
                </a:cubicBezTo>
                <a:cubicBezTo>
                  <a:pt x="24256" y="2423"/>
                  <a:pt x="24206" y="2264"/>
                  <a:pt x="24206" y="2106"/>
                </a:cubicBezTo>
                <a:cubicBezTo>
                  <a:pt x="24206" y="1890"/>
                  <a:pt x="24292" y="1730"/>
                  <a:pt x="24463" y="1625"/>
                </a:cubicBezTo>
                <a:cubicBezTo>
                  <a:pt x="24635" y="1520"/>
                  <a:pt x="24829" y="1468"/>
                  <a:pt x="25046" y="1468"/>
                </a:cubicBezTo>
                <a:cubicBezTo>
                  <a:pt x="25262" y="1468"/>
                  <a:pt x="25475" y="1510"/>
                  <a:pt x="25684" y="1591"/>
                </a:cubicBezTo>
                <a:cubicBezTo>
                  <a:pt x="25893" y="1674"/>
                  <a:pt x="26079" y="1780"/>
                  <a:pt x="26244" y="1910"/>
                </a:cubicBezTo>
                <a:cubicBezTo>
                  <a:pt x="26408" y="2041"/>
                  <a:pt x="26541" y="2187"/>
                  <a:pt x="26642" y="2347"/>
                </a:cubicBezTo>
                <a:cubicBezTo>
                  <a:pt x="26742" y="2508"/>
                  <a:pt x="26793" y="2666"/>
                  <a:pt x="26793" y="2823"/>
                </a:cubicBezTo>
                <a:moveTo>
                  <a:pt x="28231" y="3691"/>
                </a:moveTo>
                <a:cubicBezTo>
                  <a:pt x="28347" y="3434"/>
                  <a:pt x="28405" y="3148"/>
                  <a:pt x="28405" y="2834"/>
                </a:cubicBezTo>
                <a:cubicBezTo>
                  <a:pt x="28405" y="2453"/>
                  <a:pt x="28313" y="2094"/>
                  <a:pt x="28131" y="1754"/>
                </a:cubicBezTo>
                <a:cubicBezTo>
                  <a:pt x="27948" y="1414"/>
                  <a:pt x="27701" y="1113"/>
                  <a:pt x="27391" y="853"/>
                </a:cubicBezTo>
                <a:cubicBezTo>
                  <a:pt x="27081" y="591"/>
                  <a:pt x="26727" y="384"/>
                  <a:pt x="26328" y="231"/>
                </a:cubicBezTo>
                <a:cubicBezTo>
                  <a:pt x="25929" y="78"/>
                  <a:pt x="25516" y="1"/>
                  <a:pt x="25090" y="1"/>
                </a:cubicBezTo>
                <a:cubicBezTo>
                  <a:pt x="22772" y="1"/>
                  <a:pt x="22772" y="1"/>
                  <a:pt x="22772" y="1"/>
                </a:cubicBezTo>
                <a:cubicBezTo>
                  <a:pt x="22683" y="1"/>
                  <a:pt x="22638" y="46"/>
                  <a:pt x="22638" y="136"/>
                </a:cubicBezTo>
                <a:cubicBezTo>
                  <a:pt x="22638" y="4827"/>
                  <a:pt x="22638" y="4827"/>
                  <a:pt x="22638" y="4827"/>
                </a:cubicBezTo>
                <a:cubicBezTo>
                  <a:pt x="22638" y="5104"/>
                  <a:pt x="22717" y="5321"/>
                  <a:pt x="22873" y="5477"/>
                </a:cubicBezTo>
                <a:cubicBezTo>
                  <a:pt x="23030" y="5634"/>
                  <a:pt x="23247" y="5712"/>
                  <a:pt x="23523" y="5712"/>
                </a:cubicBezTo>
                <a:cubicBezTo>
                  <a:pt x="24072" y="5712"/>
                  <a:pt x="24072" y="5712"/>
                  <a:pt x="24072" y="5712"/>
                </a:cubicBezTo>
                <a:cubicBezTo>
                  <a:pt x="24161" y="5712"/>
                  <a:pt x="24206" y="5660"/>
                  <a:pt x="24206" y="5555"/>
                </a:cubicBezTo>
                <a:cubicBezTo>
                  <a:pt x="24206" y="4279"/>
                  <a:pt x="24206" y="4279"/>
                  <a:pt x="24206" y="4279"/>
                </a:cubicBezTo>
                <a:cubicBezTo>
                  <a:pt x="24467" y="4488"/>
                  <a:pt x="24749" y="4648"/>
                  <a:pt x="25051" y="4760"/>
                </a:cubicBezTo>
                <a:cubicBezTo>
                  <a:pt x="25353" y="4873"/>
                  <a:pt x="25673" y="4928"/>
                  <a:pt x="26009" y="4928"/>
                </a:cubicBezTo>
                <a:cubicBezTo>
                  <a:pt x="26368" y="4928"/>
                  <a:pt x="26693" y="4878"/>
                  <a:pt x="26989" y="4777"/>
                </a:cubicBezTo>
                <a:cubicBezTo>
                  <a:pt x="27283" y="4677"/>
                  <a:pt x="27535" y="4535"/>
                  <a:pt x="27745" y="4351"/>
                </a:cubicBezTo>
                <a:cubicBezTo>
                  <a:pt x="27953" y="4168"/>
                  <a:pt x="28115" y="3949"/>
                  <a:pt x="28231" y="3691"/>
                </a:cubicBezTo>
                <a:moveTo>
                  <a:pt x="27098" y="9798"/>
                </a:moveTo>
                <a:cubicBezTo>
                  <a:pt x="27098" y="10195"/>
                  <a:pt x="27197" y="10530"/>
                  <a:pt x="27395" y="10806"/>
                </a:cubicBezTo>
                <a:cubicBezTo>
                  <a:pt x="27592" y="11083"/>
                  <a:pt x="27849" y="11309"/>
                  <a:pt x="28162" y="11484"/>
                </a:cubicBezTo>
                <a:cubicBezTo>
                  <a:pt x="28475" y="11659"/>
                  <a:pt x="28821" y="11786"/>
                  <a:pt x="29198" y="11865"/>
                </a:cubicBezTo>
                <a:cubicBezTo>
                  <a:pt x="29575" y="11943"/>
                  <a:pt x="29943" y="11983"/>
                  <a:pt x="30300" y="11983"/>
                </a:cubicBezTo>
                <a:cubicBezTo>
                  <a:pt x="32731" y="11983"/>
                  <a:pt x="32731" y="11983"/>
                  <a:pt x="32731" y="11983"/>
                </a:cubicBezTo>
                <a:cubicBezTo>
                  <a:pt x="32819" y="11983"/>
                  <a:pt x="32865" y="11930"/>
                  <a:pt x="32865" y="11825"/>
                </a:cubicBezTo>
                <a:cubicBezTo>
                  <a:pt x="32865" y="9575"/>
                  <a:pt x="32865" y="9575"/>
                  <a:pt x="32865" y="9575"/>
                </a:cubicBezTo>
                <a:cubicBezTo>
                  <a:pt x="32865" y="9119"/>
                  <a:pt x="32790" y="8690"/>
                  <a:pt x="32640" y="8287"/>
                </a:cubicBezTo>
                <a:cubicBezTo>
                  <a:pt x="32491" y="7884"/>
                  <a:pt x="32277" y="7534"/>
                  <a:pt x="31997" y="7234"/>
                </a:cubicBezTo>
                <a:cubicBezTo>
                  <a:pt x="31717" y="6936"/>
                  <a:pt x="31377" y="6701"/>
                  <a:pt x="30978" y="6529"/>
                </a:cubicBezTo>
                <a:cubicBezTo>
                  <a:pt x="30578" y="6357"/>
                  <a:pt x="30125" y="6271"/>
                  <a:pt x="29617" y="6271"/>
                </a:cubicBezTo>
                <a:cubicBezTo>
                  <a:pt x="27423" y="6271"/>
                  <a:pt x="27423" y="6271"/>
                  <a:pt x="27423" y="6271"/>
                </a:cubicBezTo>
                <a:cubicBezTo>
                  <a:pt x="27318" y="6271"/>
                  <a:pt x="27266" y="6316"/>
                  <a:pt x="27266" y="6405"/>
                </a:cubicBezTo>
                <a:cubicBezTo>
                  <a:pt x="27266" y="6865"/>
                  <a:pt x="27266" y="6865"/>
                  <a:pt x="27266" y="6865"/>
                </a:cubicBezTo>
                <a:cubicBezTo>
                  <a:pt x="27266" y="7141"/>
                  <a:pt x="27344" y="7358"/>
                  <a:pt x="27502" y="7515"/>
                </a:cubicBezTo>
                <a:cubicBezTo>
                  <a:pt x="27658" y="7671"/>
                  <a:pt x="27874" y="7750"/>
                  <a:pt x="28150" y="7750"/>
                </a:cubicBezTo>
                <a:cubicBezTo>
                  <a:pt x="29673" y="7750"/>
                  <a:pt x="29673" y="7750"/>
                  <a:pt x="29673" y="7750"/>
                </a:cubicBezTo>
                <a:cubicBezTo>
                  <a:pt x="29934" y="7750"/>
                  <a:pt x="30171" y="7805"/>
                  <a:pt x="30384" y="7917"/>
                </a:cubicBezTo>
                <a:cubicBezTo>
                  <a:pt x="30597" y="8030"/>
                  <a:pt x="30767" y="8175"/>
                  <a:pt x="30893" y="8354"/>
                </a:cubicBezTo>
                <a:cubicBezTo>
                  <a:pt x="29438" y="8354"/>
                  <a:pt x="29438" y="8354"/>
                  <a:pt x="29438" y="8354"/>
                </a:cubicBezTo>
                <a:cubicBezTo>
                  <a:pt x="28684" y="8354"/>
                  <a:pt x="28106" y="8478"/>
                  <a:pt x="27702" y="8724"/>
                </a:cubicBezTo>
                <a:cubicBezTo>
                  <a:pt x="27299" y="8970"/>
                  <a:pt x="27098" y="9328"/>
                  <a:pt x="27098" y="9798"/>
                </a:cubicBezTo>
                <a:moveTo>
                  <a:pt x="28822" y="10142"/>
                </a:moveTo>
                <a:cubicBezTo>
                  <a:pt x="28822" y="10031"/>
                  <a:pt x="28882" y="9953"/>
                  <a:pt x="29001" y="9908"/>
                </a:cubicBezTo>
                <a:cubicBezTo>
                  <a:pt x="29121" y="9863"/>
                  <a:pt x="29307" y="9840"/>
                  <a:pt x="29561" y="9840"/>
                </a:cubicBezTo>
                <a:cubicBezTo>
                  <a:pt x="31297" y="9840"/>
                  <a:pt x="31297" y="9840"/>
                  <a:pt x="31297" y="9840"/>
                </a:cubicBezTo>
                <a:cubicBezTo>
                  <a:pt x="31281" y="10131"/>
                  <a:pt x="31157" y="10342"/>
                  <a:pt x="30922" y="10473"/>
                </a:cubicBezTo>
                <a:cubicBezTo>
                  <a:pt x="30686" y="10604"/>
                  <a:pt x="30413" y="10669"/>
                  <a:pt x="30099" y="10669"/>
                </a:cubicBezTo>
                <a:cubicBezTo>
                  <a:pt x="29718" y="10669"/>
                  <a:pt x="29410" y="10619"/>
                  <a:pt x="29175" y="10517"/>
                </a:cubicBezTo>
                <a:cubicBezTo>
                  <a:pt x="28940" y="10417"/>
                  <a:pt x="28822" y="10292"/>
                  <a:pt x="28822" y="10142"/>
                </a:cubicBezTo>
                <a:moveTo>
                  <a:pt x="14199" y="11848"/>
                </a:moveTo>
                <a:cubicBezTo>
                  <a:pt x="14199" y="9451"/>
                  <a:pt x="14199" y="9451"/>
                  <a:pt x="14199" y="9451"/>
                </a:cubicBezTo>
                <a:cubicBezTo>
                  <a:pt x="14199" y="9175"/>
                  <a:pt x="14120" y="8959"/>
                  <a:pt x="13964" y="8802"/>
                </a:cubicBezTo>
                <a:cubicBezTo>
                  <a:pt x="13806" y="8646"/>
                  <a:pt x="13590" y="8567"/>
                  <a:pt x="13314" y="8567"/>
                </a:cubicBezTo>
                <a:cubicBezTo>
                  <a:pt x="10728" y="8567"/>
                  <a:pt x="10728" y="8567"/>
                  <a:pt x="10728" y="8567"/>
                </a:cubicBezTo>
                <a:cubicBezTo>
                  <a:pt x="10623" y="8567"/>
                  <a:pt x="10571" y="8612"/>
                  <a:pt x="10571" y="8701"/>
                </a:cubicBezTo>
                <a:cubicBezTo>
                  <a:pt x="10571" y="8880"/>
                  <a:pt x="10606" y="9043"/>
                  <a:pt x="10677" y="9188"/>
                </a:cubicBezTo>
                <a:cubicBezTo>
                  <a:pt x="10748" y="9333"/>
                  <a:pt x="10841" y="9459"/>
                  <a:pt x="10957" y="9563"/>
                </a:cubicBezTo>
                <a:cubicBezTo>
                  <a:pt x="11073" y="9669"/>
                  <a:pt x="11203" y="9748"/>
                  <a:pt x="11349" y="9804"/>
                </a:cubicBezTo>
                <a:cubicBezTo>
                  <a:pt x="11494" y="9860"/>
                  <a:pt x="11642" y="9889"/>
                  <a:pt x="11791" y="9889"/>
                </a:cubicBezTo>
                <a:cubicBezTo>
                  <a:pt x="12687" y="9889"/>
                  <a:pt x="12687" y="9889"/>
                  <a:pt x="12687" y="9889"/>
                </a:cubicBezTo>
                <a:cubicBezTo>
                  <a:pt x="12687" y="10504"/>
                  <a:pt x="12687" y="10504"/>
                  <a:pt x="12687" y="10504"/>
                </a:cubicBezTo>
                <a:cubicBezTo>
                  <a:pt x="11747" y="10504"/>
                  <a:pt x="11747" y="10504"/>
                  <a:pt x="11747" y="10504"/>
                </a:cubicBezTo>
                <a:cubicBezTo>
                  <a:pt x="11508" y="10504"/>
                  <a:pt x="11279" y="10450"/>
                  <a:pt x="11063" y="10342"/>
                </a:cubicBezTo>
                <a:cubicBezTo>
                  <a:pt x="10847" y="10234"/>
                  <a:pt x="10654" y="10089"/>
                  <a:pt x="10486" y="9910"/>
                </a:cubicBezTo>
                <a:cubicBezTo>
                  <a:pt x="10319" y="9731"/>
                  <a:pt x="10186" y="9530"/>
                  <a:pt x="10089" y="9306"/>
                </a:cubicBezTo>
                <a:cubicBezTo>
                  <a:pt x="9992" y="9083"/>
                  <a:pt x="9944" y="8855"/>
                  <a:pt x="9944" y="8623"/>
                </a:cubicBezTo>
                <a:cubicBezTo>
                  <a:pt x="9944" y="8340"/>
                  <a:pt x="10033" y="8123"/>
                  <a:pt x="10212" y="7974"/>
                </a:cubicBezTo>
                <a:cubicBezTo>
                  <a:pt x="10392" y="7824"/>
                  <a:pt x="10616" y="7750"/>
                  <a:pt x="10884" y="7750"/>
                </a:cubicBezTo>
                <a:cubicBezTo>
                  <a:pt x="13930" y="7750"/>
                  <a:pt x="13930" y="7750"/>
                  <a:pt x="13930" y="7750"/>
                </a:cubicBezTo>
                <a:cubicBezTo>
                  <a:pt x="14034" y="7750"/>
                  <a:pt x="14087" y="7704"/>
                  <a:pt x="14087" y="7615"/>
                </a:cubicBezTo>
                <a:cubicBezTo>
                  <a:pt x="14087" y="7156"/>
                  <a:pt x="14087" y="7156"/>
                  <a:pt x="14087" y="7156"/>
                </a:cubicBezTo>
                <a:cubicBezTo>
                  <a:pt x="14087" y="6879"/>
                  <a:pt x="14008" y="6663"/>
                  <a:pt x="13852" y="6507"/>
                </a:cubicBezTo>
                <a:cubicBezTo>
                  <a:pt x="13695" y="6350"/>
                  <a:pt x="13479" y="6271"/>
                  <a:pt x="13202" y="6271"/>
                </a:cubicBezTo>
                <a:cubicBezTo>
                  <a:pt x="10896" y="6271"/>
                  <a:pt x="10896" y="6271"/>
                  <a:pt x="10896" y="6271"/>
                </a:cubicBezTo>
                <a:cubicBezTo>
                  <a:pt x="10530" y="6271"/>
                  <a:pt x="10194" y="6329"/>
                  <a:pt x="9887" y="6445"/>
                </a:cubicBezTo>
                <a:cubicBezTo>
                  <a:pt x="9581" y="6561"/>
                  <a:pt x="9317" y="6723"/>
                  <a:pt x="9092" y="6932"/>
                </a:cubicBezTo>
                <a:cubicBezTo>
                  <a:pt x="8869" y="7141"/>
                  <a:pt x="8693" y="7393"/>
                  <a:pt x="8566" y="7688"/>
                </a:cubicBezTo>
                <a:cubicBezTo>
                  <a:pt x="8439" y="7983"/>
                  <a:pt x="8376" y="8313"/>
                  <a:pt x="8376" y="8679"/>
                </a:cubicBezTo>
                <a:cubicBezTo>
                  <a:pt x="8376" y="9135"/>
                  <a:pt x="8466" y="9563"/>
                  <a:pt x="8645" y="9966"/>
                </a:cubicBezTo>
                <a:cubicBezTo>
                  <a:pt x="8824" y="10370"/>
                  <a:pt x="9068" y="10721"/>
                  <a:pt x="9378" y="11018"/>
                </a:cubicBezTo>
                <a:cubicBezTo>
                  <a:pt x="9688" y="11318"/>
                  <a:pt x="10046" y="11553"/>
                  <a:pt x="10453" y="11725"/>
                </a:cubicBezTo>
                <a:cubicBezTo>
                  <a:pt x="10860" y="11896"/>
                  <a:pt x="11287" y="11983"/>
                  <a:pt x="11735" y="11983"/>
                </a:cubicBezTo>
                <a:cubicBezTo>
                  <a:pt x="14042" y="11983"/>
                  <a:pt x="14042" y="11983"/>
                  <a:pt x="14042" y="11983"/>
                </a:cubicBezTo>
                <a:cubicBezTo>
                  <a:pt x="14147" y="11983"/>
                  <a:pt x="14199" y="11937"/>
                  <a:pt x="14199" y="11848"/>
                </a:cubicBezTo>
                <a:moveTo>
                  <a:pt x="20010" y="5621"/>
                </a:moveTo>
                <a:cubicBezTo>
                  <a:pt x="20010" y="4412"/>
                  <a:pt x="20010" y="4412"/>
                  <a:pt x="20010" y="4412"/>
                </a:cubicBezTo>
                <a:cubicBezTo>
                  <a:pt x="20010" y="4359"/>
                  <a:pt x="19999" y="4326"/>
                  <a:pt x="19976" y="4311"/>
                </a:cubicBezTo>
                <a:cubicBezTo>
                  <a:pt x="19954" y="4296"/>
                  <a:pt x="19913" y="4281"/>
                  <a:pt x="19853" y="4265"/>
                </a:cubicBezTo>
                <a:cubicBezTo>
                  <a:pt x="19741" y="4244"/>
                  <a:pt x="19635" y="4199"/>
                  <a:pt x="19534" y="4131"/>
                </a:cubicBezTo>
                <a:cubicBezTo>
                  <a:pt x="19433" y="4065"/>
                  <a:pt x="19344" y="3986"/>
                  <a:pt x="19265" y="3897"/>
                </a:cubicBezTo>
                <a:cubicBezTo>
                  <a:pt x="19187" y="3807"/>
                  <a:pt x="19123" y="3708"/>
                  <a:pt x="19075" y="3600"/>
                </a:cubicBezTo>
                <a:cubicBezTo>
                  <a:pt x="19026" y="3492"/>
                  <a:pt x="19002" y="3382"/>
                  <a:pt x="19002" y="3269"/>
                </a:cubicBezTo>
                <a:cubicBezTo>
                  <a:pt x="19002" y="885"/>
                  <a:pt x="19002" y="885"/>
                  <a:pt x="19002" y="885"/>
                </a:cubicBezTo>
                <a:cubicBezTo>
                  <a:pt x="19002" y="609"/>
                  <a:pt x="18923" y="392"/>
                  <a:pt x="18767" y="236"/>
                </a:cubicBezTo>
                <a:cubicBezTo>
                  <a:pt x="18610" y="78"/>
                  <a:pt x="18393" y="0"/>
                  <a:pt x="18117" y="0"/>
                </a:cubicBezTo>
                <a:cubicBezTo>
                  <a:pt x="17591" y="0"/>
                  <a:pt x="17591" y="0"/>
                  <a:pt x="17591" y="0"/>
                </a:cubicBezTo>
                <a:cubicBezTo>
                  <a:pt x="17486" y="0"/>
                  <a:pt x="17435" y="45"/>
                  <a:pt x="17435" y="135"/>
                </a:cubicBezTo>
                <a:cubicBezTo>
                  <a:pt x="17435" y="3314"/>
                  <a:pt x="17435" y="3314"/>
                  <a:pt x="17435" y="3314"/>
                </a:cubicBezTo>
                <a:cubicBezTo>
                  <a:pt x="17435" y="3642"/>
                  <a:pt x="17500" y="3949"/>
                  <a:pt x="17630" y="4233"/>
                </a:cubicBezTo>
                <a:cubicBezTo>
                  <a:pt x="17761" y="4516"/>
                  <a:pt x="17936" y="4768"/>
                  <a:pt x="18157" y="4989"/>
                </a:cubicBezTo>
                <a:cubicBezTo>
                  <a:pt x="18376" y="5208"/>
                  <a:pt x="18633" y="5386"/>
                  <a:pt x="18923" y="5520"/>
                </a:cubicBezTo>
                <a:cubicBezTo>
                  <a:pt x="19215" y="5655"/>
                  <a:pt x="19525" y="5737"/>
                  <a:pt x="19853" y="5766"/>
                </a:cubicBezTo>
                <a:cubicBezTo>
                  <a:pt x="19958" y="5774"/>
                  <a:pt x="20010" y="5726"/>
                  <a:pt x="20010" y="5621"/>
                </a:cubicBezTo>
                <a:moveTo>
                  <a:pt x="22053" y="1321"/>
                </a:moveTo>
                <a:cubicBezTo>
                  <a:pt x="22053" y="884"/>
                  <a:pt x="22053" y="884"/>
                  <a:pt x="22053" y="884"/>
                </a:cubicBezTo>
                <a:cubicBezTo>
                  <a:pt x="22053" y="608"/>
                  <a:pt x="21975" y="392"/>
                  <a:pt x="21818" y="235"/>
                </a:cubicBezTo>
                <a:cubicBezTo>
                  <a:pt x="21661" y="78"/>
                  <a:pt x="21445" y="0"/>
                  <a:pt x="21169" y="0"/>
                </a:cubicBezTo>
                <a:cubicBezTo>
                  <a:pt x="20620" y="0"/>
                  <a:pt x="20620" y="0"/>
                  <a:pt x="20620" y="0"/>
                </a:cubicBezTo>
                <a:cubicBezTo>
                  <a:pt x="20530" y="0"/>
                  <a:pt x="20485" y="52"/>
                  <a:pt x="20485" y="157"/>
                </a:cubicBezTo>
                <a:cubicBezTo>
                  <a:pt x="20485" y="1321"/>
                  <a:pt x="20485" y="1321"/>
                  <a:pt x="20485" y="1321"/>
                </a:cubicBezTo>
                <a:cubicBezTo>
                  <a:pt x="20485" y="1425"/>
                  <a:pt x="20530" y="1477"/>
                  <a:pt x="20620" y="1477"/>
                </a:cubicBezTo>
                <a:cubicBezTo>
                  <a:pt x="21919" y="1477"/>
                  <a:pt x="21919" y="1477"/>
                  <a:pt x="21919" y="1477"/>
                </a:cubicBezTo>
                <a:cubicBezTo>
                  <a:pt x="22009" y="1477"/>
                  <a:pt x="22053" y="1425"/>
                  <a:pt x="22053" y="1321"/>
                </a:cubicBezTo>
                <a:moveTo>
                  <a:pt x="22053" y="5578"/>
                </a:moveTo>
                <a:cubicBezTo>
                  <a:pt x="22053" y="2897"/>
                  <a:pt x="22053" y="2897"/>
                  <a:pt x="22053" y="2897"/>
                </a:cubicBezTo>
                <a:cubicBezTo>
                  <a:pt x="22053" y="2897"/>
                  <a:pt x="22053" y="2897"/>
                  <a:pt x="22053" y="2897"/>
                </a:cubicBezTo>
                <a:cubicBezTo>
                  <a:pt x="22051" y="2626"/>
                  <a:pt x="21973" y="2414"/>
                  <a:pt x="21818" y="2259"/>
                </a:cubicBezTo>
                <a:cubicBezTo>
                  <a:pt x="21661" y="2102"/>
                  <a:pt x="21445" y="2024"/>
                  <a:pt x="21169" y="2024"/>
                </a:cubicBezTo>
                <a:cubicBezTo>
                  <a:pt x="20643" y="2024"/>
                  <a:pt x="20643" y="2024"/>
                  <a:pt x="20643" y="2024"/>
                </a:cubicBezTo>
                <a:cubicBezTo>
                  <a:pt x="20538" y="2024"/>
                  <a:pt x="20485" y="2068"/>
                  <a:pt x="20485" y="2158"/>
                </a:cubicBezTo>
                <a:cubicBezTo>
                  <a:pt x="20485" y="2897"/>
                  <a:pt x="20485" y="2897"/>
                  <a:pt x="20485" y="2897"/>
                </a:cubicBezTo>
                <a:cubicBezTo>
                  <a:pt x="20485" y="4827"/>
                  <a:pt x="20485" y="4827"/>
                  <a:pt x="20485" y="4827"/>
                </a:cubicBezTo>
                <a:cubicBezTo>
                  <a:pt x="20485" y="5104"/>
                  <a:pt x="20564" y="5321"/>
                  <a:pt x="20721" y="5477"/>
                </a:cubicBezTo>
                <a:cubicBezTo>
                  <a:pt x="20877" y="5634"/>
                  <a:pt x="21094" y="5712"/>
                  <a:pt x="21370" y="5712"/>
                </a:cubicBezTo>
                <a:cubicBezTo>
                  <a:pt x="21896" y="5712"/>
                  <a:pt x="21896" y="5712"/>
                  <a:pt x="21896" y="5712"/>
                </a:cubicBezTo>
                <a:cubicBezTo>
                  <a:pt x="22001" y="5712"/>
                  <a:pt x="22053" y="5668"/>
                  <a:pt x="22053" y="5578"/>
                </a:cubicBezTo>
                <a:moveTo>
                  <a:pt x="7850" y="7592"/>
                </a:moveTo>
                <a:cubicBezTo>
                  <a:pt x="7850" y="7155"/>
                  <a:pt x="7850" y="7155"/>
                  <a:pt x="7850" y="7155"/>
                </a:cubicBezTo>
                <a:cubicBezTo>
                  <a:pt x="7850" y="6879"/>
                  <a:pt x="7772" y="6663"/>
                  <a:pt x="7615" y="6505"/>
                </a:cubicBezTo>
                <a:cubicBezTo>
                  <a:pt x="7458" y="6349"/>
                  <a:pt x="7242" y="6271"/>
                  <a:pt x="6966" y="6271"/>
                </a:cubicBezTo>
                <a:cubicBezTo>
                  <a:pt x="6417" y="6271"/>
                  <a:pt x="6417" y="6271"/>
                  <a:pt x="6417" y="6271"/>
                </a:cubicBezTo>
                <a:cubicBezTo>
                  <a:pt x="6328" y="6271"/>
                  <a:pt x="6283" y="6323"/>
                  <a:pt x="6283" y="6427"/>
                </a:cubicBezTo>
                <a:cubicBezTo>
                  <a:pt x="6283" y="7592"/>
                  <a:pt x="6283" y="7592"/>
                  <a:pt x="6283" y="7592"/>
                </a:cubicBezTo>
                <a:cubicBezTo>
                  <a:pt x="6283" y="7696"/>
                  <a:pt x="6328" y="7748"/>
                  <a:pt x="6417" y="7748"/>
                </a:cubicBezTo>
                <a:cubicBezTo>
                  <a:pt x="7716" y="7748"/>
                  <a:pt x="7716" y="7748"/>
                  <a:pt x="7716" y="7748"/>
                </a:cubicBezTo>
                <a:cubicBezTo>
                  <a:pt x="7806" y="7748"/>
                  <a:pt x="7850" y="7696"/>
                  <a:pt x="7850" y="7592"/>
                </a:cubicBezTo>
                <a:moveTo>
                  <a:pt x="7850" y="11848"/>
                </a:moveTo>
                <a:cubicBezTo>
                  <a:pt x="7850" y="9168"/>
                  <a:pt x="7850" y="9168"/>
                  <a:pt x="7850" y="9168"/>
                </a:cubicBezTo>
                <a:cubicBezTo>
                  <a:pt x="7850" y="9168"/>
                  <a:pt x="7850" y="9168"/>
                  <a:pt x="7850" y="9168"/>
                </a:cubicBezTo>
                <a:cubicBezTo>
                  <a:pt x="7848" y="8897"/>
                  <a:pt x="7770" y="8684"/>
                  <a:pt x="7615" y="8530"/>
                </a:cubicBezTo>
                <a:cubicBezTo>
                  <a:pt x="7458" y="8373"/>
                  <a:pt x="7242" y="8294"/>
                  <a:pt x="6966" y="8294"/>
                </a:cubicBezTo>
                <a:cubicBezTo>
                  <a:pt x="6440" y="8294"/>
                  <a:pt x="6440" y="8294"/>
                  <a:pt x="6440" y="8294"/>
                </a:cubicBezTo>
                <a:cubicBezTo>
                  <a:pt x="6335" y="8294"/>
                  <a:pt x="6283" y="8339"/>
                  <a:pt x="6283" y="8429"/>
                </a:cubicBezTo>
                <a:cubicBezTo>
                  <a:pt x="6283" y="9168"/>
                  <a:pt x="6283" y="9168"/>
                  <a:pt x="6283" y="9168"/>
                </a:cubicBezTo>
                <a:cubicBezTo>
                  <a:pt x="6283" y="11098"/>
                  <a:pt x="6283" y="11098"/>
                  <a:pt x="6283" y="11098"/>
                </a:cubicBezTo>
                <a:cubicBezTo>
                  <a:pt x="6283" y="11374"/>
                  <a:pt x="6361" y="11591"/>
                  <a:pt x="6518" y="11748"/>
                </a:cubicBezTo>
                <a:cubicBezTo>
                  <a:pt x="6674" y="11905"/>
                  <a:pt x="6891" y="11983"/>
                  <a:pt x="7167" y="11983"/>
                </a:cubicBezTo>
                <a:cubicBezTo>
                  <a:pt x="7693" y="11983"/>
                  <a:pt x="7693" y="11983"/>
                  <a:pt x="7693" y="11983"/>
                </a:cubicBezTo>
                <a:cubicBezTo>
                  <a:pt x="7798" y="11983"/>
                  <a:pt x="7850" y="11938"/>
                  <a:pt x="7850" y="11848"/>
                </a:cubicBezTo>
              </a:path>
            </a:pathLst>
          </a:custGeom>
          <a:solidFill>
            <a:schemeClr val="bg2"/>
          </a:solidFill>
          <a:ln>
            <a:noFill/>
          </a:ln>
        </p:spPr>
        <p:txBody>
          <a:bodyPr vert="horz" wrap="square" lIns="68580" tIns="34290" rIns="68580" bIns="34290" numCol="1" anchor="t" anchorCtr="0" compatLnSpc="1">
            <a:prstTxWarp prst="textNoShape">
              <a:avLst/>
            </a:prstTxWarp>
          </a:bodyPr>
          <a:lstStyle/>
          <a:p>
            <a:endParaRPr lang="de-DE" sz="1350"/>
          </a:p>
        </p:txBody>
      </p:sp>
    </p:spTree>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Plastic | Pictur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002"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6" name="Rectangle 25"/>
          <p:cNvSpPr/>
          <p:nvPr userDrawn="1"/>
        </p:nvSpPr>
        <p:spPr bwMode="gray">
          <a:xfrm>
            <a:off x="1" y="2"/>
            <a:ext cx="12192000" cy="6858001"/>
          </a:xfrm>
          <a:prstGeom prst="rect">
            <a:avLst/>
          </a:prstGeom>
          <a:solidFill>
            <a:srgbClr val="A5CD50"/>
          </a:solidFill>
          <a:ln w="9525" cap="flat" cmpd="sng" algn="ctr">
            <a:noFill/>
            <a:prstDash val="solid"/>
          </a:ln>
          <a:effectLst/>
        </p:spPr>
        <p:txBody>
          <a:bodyPr rtlCol="0" anchor="ctr" anchorCtr="0"/>
          <a:lstStyle/>
          <a:p>
            <a:pPr marL="0" indent="0" algn="ctr">
              <a:spcBef>
                <a:spcPts val="225"/>
              </a:spcBef>
              <a:spcAft>
                <a:spcPts val="225"/>
              </a:spcAft>
              <a:buClr>
                <a:schemeClr val="bg1"/>
              </a:buClr>
              <a:buSzPct val="100000"/>
              <a:buFont typeface="Arial" panose="020B0604020202020204" pitchFamily="34" charset="0"/>
              <a:buNone/>
            </a:pPr>
            <a:endParaRPr lang="en-US" sz="1050" kern="0">
              <a:solidFill>
                <a:srgbClr val="FFFFFF"/>
              </a:solidFill>
              <a:latin typeface="Verdana"/>
            </a:endParaRPr>
          </a:p>
        </p:txBody>
      </p:sp>
      <p:sp>
        <p:nvSpPr>
          <p:cNvPr id="25" name="Freihandform 24"/>
          <p:cNvSpPr/>
          <p:nvPr userDrawn="1"/>
        </p:nvSpPr>
        <p:spPr bwMode="gray">
          <a:xfrm>
            <a:off x="2080007" y="1596994"/>
            <a:ext cx="128588" cy="577024"/>
          </a:xfrm>
          <a:custGeom>
            <a:avLst/>
            <a:gdLst>
              <a:gd name="connsiteX0" fmla="*/ 0 w 128588"/>
              <a:gd name="connsiteY0" fmla="*/ 0 h 577024"/>
              <a:gd name="connsiteX1" fmla="*/ 111894 w 128588"/>
              <a:gd name="connsiteY1" fmla="*/ 344776 h 577024"/>
              <a:gd name="connsiteX2" fmla="*/ 124387 w 128588"/>
              <a:gd name="connsiteY2" fmla="*/ 394867 h 577024"/>
              <a:gd name="connsiteX3" fmla="*/ 113945 w 128588"/>
              <a:gd name="connsiteY3" fmla="*/ 540518 h 577024"/>
              <a:gd name="connsiteX4" fmla="*/ 94620 w 128588"/>
              <a:gd name="connsiteY4" fmla="*/ 577024 h 577024"/>
              <a:gd name="connsiteX5" fmla="*/ 69548 w 128588"/>
              <a:gd name="connsiteY5" fmla="*/ 424122 h 577024"/>
              <a:gd name="connsiteX6" fmla="*/ 36876 w 128588"/>
              <a:gd name="connsiteY6" fmla="*/ 224880 h 577024"/>
              <a:gd name="connsiteX7" fmla="*/ 0 w 128588"/>
              <a:gd name="connsiteY7" fmla="*/ 0 h 577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588" h="577024">
                <a:moveTo>
                  <a:pt x="0" y="0"/>
                </a:moveTo>
                <a:lnTo>
                  <a:pt x="111894" y="344776"/>
                </a:lnTo>
                <a:lnTo>
                  <a:pt x="124387" y="394867"/>
                </a:lnTo>
                <a:cubicBezTo>
                  <a:pt x="132657" y="445250"/>
                  <a:pt x="128481" y="495806"/>
                  <a:pt x="113945" y="540518"/>
                </a:cubicBezTo>
                <a:lnTo>
                  <a:pt x="94620" y="577024"/>
                </a:lnTo>
                <a:lnTo>
                  <a:pt x="69548" y="424122"/>
                </a:lnTo>
                <a:cubicBezTo>
                  <a:pt x="59400" y="362234"/>
                  <a:pt x="48526" y="295925"/>
                  <a:pt x="36876" y="224880"/>
                </a:cubicBezTo>
                <a:lnTo>
                  <a:pt x="0" y="0"/>
                </a:lnTo>
                <a:close/>
              </a:path>
            </a:pathLst>
          </a:custGeom>
          <a:solidFill>
            <a:srgbClr val="52328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a:solidFill>
                <a:schemeClr val="tx1"/>
              </a:solidFill>
            </a:endParaRPr>
          </a:p>
        </p:txBody>
      </p:sp>
      <p:grpSp>
        <p:nvGrpSpPr>
          <p:cNvPr id="5" name="Gruppieren 4"/>
          <p:cNvGrpSpPr/>
          <p:nvPr userDrawn="1"/>
        </p:nvGrpSpPr>
        <p:grpSpPr bwMode="gray">
          <a:xfrm>
            <a:off x="2" y="3"/>
            <a:ext cx="6160369" cy="5981521"/>
            <a:chOff x="1" y="1"/>
            <a:chExt cx="6160369" cy="5981521"/>
          </a:xfrm>
        </p:grpSpPr>
        <p:sp>
          <p:nvSpPr>
            <p:cNvPr id="24" name="Freihandform 23"/>
            <p:cNvSpPr/>
            <p:nvPr userDrawn="1"/>
          </p:nvSpPr>
          <p:spPr bwMode="gray">
            <a:xfrm>
              <a:off x="1" y="1"/>
              <a:ext cx="2246612" cy="2662617"/>
            </a:xfrm>
            <a:custGeom>
              <a:avLst/>
              <a:gdLst>
                <a:gd name="connsiteX0" fmla="*/ 500398 w 2246612"/>
                <a:gd name="connsiteY0" fmla="*/ 0 h 2662617"/>
                <a:gd name="connsiteX1" fmla="*/ 954996 w 2246612"/>
                <a:gd name="connsiteY1" fmla="*/ 0 h 2662617"/>
                <a:gd name="connsiteX2" fmla="*/ 966522 w 2246612"/>
                <a:gd name="connsiteY2" fmla="*/ 7772 h 2662617"/>
                <a:gd name="connsiteX3" fmla="*/ 1413376 w 2246612"/>
                <a:gd name="connsiteY3" fmla="*/ 253371 h 2662617"/>
                <a:gd name="connsiteX4" fmla="*/ 1776605 w 2246612"/>
                <a:gd name="connsiteY4" fmla="*/ 233048 h 2662617"/>
                <a:gd name="connsiteX5" fmla="*/ 2055400 w 2246612"/>
                <a:gd name="connsiteY5" fmla="*/ 0 h 2662617"/>
                <a:gd name="connsiteX6" fmla="*/ 2246612 w 2246612"/>
                <a:gd name="connsiteY6" fmla="*/ 0 h 2662617"/>
                <a:gd name="connsiteX7" fmla="*/ 1871641 w 2246612"/>
                <a:gd name="connsiteY7" fmla="*/ 317812 h 2662617"/>
                <a:gd name="connsiteX8" fmla="*/ 1785210 w 2246612"/>
                <a:gd name="connsiteY8" fmla="*/ 688648 h 2662617"/>
                <a:gd name="connsiteX9" fmla="*/ 2191896 w 2246612"/>
                <a:gd name="connsiteY9" fmla="*/ 1941757 h 2662617"/>
                <a:gd name="connsiteX10" fmla="*/ 2191899 w 2246612"/>
                <a:gd name="connsiteY10" fmla="*/ 1941769 h 2662617"/>
                <a:gd name="connsiteX11" fmla="*/ 2080005 w 2246612"/>
                <a:gd name="connsiteY11" fmla="*/ 1596993 h 2662617"/>
                <a:gd name="connsiteX12" fmla="*/ 2116881 w 2246612"/>
                <a:gd name="connsiteY12" fmla="*/ 1821873 h 2662617"/>
                <a:gd name="connsiteX13" fmla="*/ 2149553 w 2246612"/>
                <a:gd name="connsiteY13" fmla="*/ 2021115 h 2662617"/>
                <a:gd name="connsiteX14" fmla="*/ 2174625 w 2246612"/>
                <a:gd name="connsiteY14" fmla="*/ 2174017 h 2662617"/>
                <a:gd name="connsiteX15" fmla="*/ 2151682 w 2246612"/>
                <a:gd name="connsiteY15" fmla="*/ 2217358 h 2662617"/>
                <a:gd name="connsiteX16" fmla="*/ 2085496 w 2246612"/>
                <a:gd name="connsiteY16" fmla="*/ 2270920 h 2662617"/>
                <a:gd name="connsiteX17" fmla="*/ 1306147 w 2246612"/>
                <a:gd name="connsiteY17" fmla="*/ 2644371 h 2662617"/>
                <a:gd name="connsiteX18" fmla="*/ 982487 w 2246612"/>
                <a:gd name="connsiteY18" fmla="*/ 2525680 h 2662617"/>
                <a:gd name="connsiteX19" fmla="*/ 0 w 2246612"/>
                <a:gd name="connsiteY19" fmla="*/ 1029945 h 2662617"/>
                <a:gd name="connsiteX20" fmla="*/ 0 w 2246612"/>
                <a:gd name="connsiteY20" fmla="*/ 407538 h 2662617"/>
                <a:gd name="connsiteX21" fmla="*/ 490569 w 2246612"/>
                <a:gd name="connsiteY21" fmla="*/ 8907 h 2662617"/>
                <a:gd name="connsiteX22" fmla="*/ 500398 w 2246612"/>
                <a:gd name="connsiteY22" fmla="*/ 0 h 2662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46612" h="2662617">
                  <a:moveTo>
                    <a:pt x="500398" y="0"/>
                  </a:moveTo>
                  <a:lnTo>
                    <a:pt x="954996" y="0"/>
                  </a:lnTo>
                  <a:lnTo>
                    <a:pt x="966522" y="7772"/>
                  </a:lnTo>
                  <a:lnTo>
                    <a:pt x="1413376" y="253371"/>
                  </a:lnTo>
                  <a:cubicBezTo>
                    <a:pt x="1524743" y="311277"/>
                    <a:pt x="1688138" y="303257"/>
                    <a:pt x="1776605" y="233048"/>
                  </a:cubicBezTo>
                  <a:lnTo>
                    <a:pt x="2055400" y="0"/>
                  </a:lnTo>
                  <a:lnTo>
                    <a:pt x="2246612" y="0"/>
                  </a:lnTo>
                  <a:lnTo>
                    <a:pt x="1871641" y="317812"/>
                  </a:lnTo>
                  <a:cubicBezTo>
                    <a:pt x="1779936" y="389573"/>
                    <a:pt x="1746443" y="557888"/>
                    <a:pt x="1785210" y="688648"/>
                  </a:cubicBezTo>
                  <a:lnTo>
                    <a:pt x="2191896" y="1941757"/>
                  </a:lnTo>
                  <a:lnTo>
                    <a:pt x="2191899" y="1941769"/>
                  </a:lnTo>
                  <a:lnTo>
                    <a:pt x="2080005" y="1596993"/>
                  </a:lnTo>
                  <a:lnTo>
                    <a:pt x="2116881" y="1821873"/>
                  </a:lnTo>
                  <a:cubicBezTo>
                    <a:pt x="2128531" y="1892918"/>
                    <a:pt x="2139405" y="1959227"/>
                    <a:pt x="2149553" y="2021115"/>
                  </a:cubicBezTo>
                  <a:lnTo>
                    <a:pt x="2174625" y="2174017"/>
                  </a:lnTo>
                  <a:lnTo>
                    <a:pt x="2151682" y="2217358"/>
                  </a:lnTo>
                  <a:cubicBezTo>
                    <a:pt x="2133401" y="2240187"/>
                    <a:pt x="2111133" y="2258636"/>
                    <a:pt x="2085496" y="2270920"/>
                  </a:cubicBezTo>
                  <a:lnTo>
                    <a:pt x="1306147" y="2644371"/>
                  </a:lnTo>
                  <a:cubicBezTo>
                    <a:pt x="1203601" y="2693509"/>
                    <a:pt x="1055796" y="2639888"/>
                    <a:pt x="982487" y="2525680"/>
                  </a:cubicBezTo>
                  <a:lnTo>
                    <a:pt x="0" y="1029945"/>
                  </a:lnTo>
                  <a:lnTo>
                    <a:pt x="0" y="407538"/>
                  </a:lnTo>
                  <a:lnTo>
                    <a:pt x="490569" y="8907"/>
                  </a:lnTo>
                  <a:lnTo>
                    <a:pt x="500398"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a:solidFill>
                  <a:schemeClr val="tx1"/>
                </a:solidFill>
              </a:endParaRPr>
            </a:p>
          </p:txBody>
        </p:sp>
        <p:sp>
          <p:nvSpPr>
            <p:cNvPr id="23" name="Freihandform 22"/>
            <p:cNvSpPr/>
            <p:nvPr userDrawn="1"/>
          </p:nvSpPr>
          <p:spPr bwMode="gray">
            <a:xfrm>
              <a:off x="2653779" y="1"/>
              <a:ext cx="3506591" cy="1390583"/>
            </a:xfrm>
            <a:custGeom>
              <a:avLst/>
              <a:gdLst>
                <a:gd name="connsiteX0" fmla="*/ 0 w 3506591"/>
                <a:gd name="connsiteY0" fmla="*/ 0 h 1390583"/>
                <a:gd name="connsiteX1" fmla="*/ 3390444 w 3506591"/>
                <a:gd name="connsiteY1" fmla="*/ 0 h 1390583"/>
                <a:gd name="connsiteX2" fmla="*/ 3460045 w 3506591"/>
                <a:gd name="connsiteY2" fmla="*/ 104891 h 1390583"/>
                <a:gd name="connsiteX3" fmla="*/ 3413013 w 3506591"/>
                <a:gd name="connsiteY3" fmla="*/ 405605 h 1390583"/>
                <a:gd name="connsiteX4" fmla="*/ 1397716 w 3506591"/>
                <a:gd name="connsiteY4" fmla="*/ 1371303 h 1390583"/>
                <a:gd name="connsiteX5" fmla="*/ 1050940 w 3506591"/>
                <a:gd name="connsiteY5" fmla="*/ 1268080 h 1390583"/>
                <a:gd name="connsiteX6" fmla="*/ 0 w 3506591"/>
                <a:gd name="connsiteY6" fmla="*/ 0 h 1390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6591" h="1390583">
                  <a:moveTo>
                    <a:pt x="0" y="0"/>
                  </a:moveTo>
                  <a:lnTo>
                    <a:pt x="3390444" y="0"/>
                  </a:lnTo>
                  <a:lnTo>
                    <a:pt x="3460045" y="104891"/>
                  </a:lnTo>
                  <a:cubicBezTo>
                    <a:pt x="3537733" y="219929"/>
                    <a:pt x="3515559" y="356467"/>
                    <a:pt x="3413013" y="405605"/>
                  </a:cubicBezTo>
                  <a:lnTo>
                    <a:pt x="1397716" y="1371303"/>
                  </a:lnTo>
                  <a:cubicBezTo>
                    <a:pt x="1296249" y="1419924"/>
                    <a:pt x="1139871" y="1373339"/>
                    <a:pt x="1050940" y="1268080"/>
                  </a:cubicBez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a:solidFill>
                  <a:schemeClr val="tx1"/>
                </a:solidFill>
              </a:endParaRPr>
            </a:p>
          </p:txBody>
        </p:sp>
        <p:sp>
          <p:nvSpPr>
            <p:cNvPr id="21" name="Freihandform 20"/>
            <p:cNvSpPr/>
            <p:nvPr userDrawn="1"/>
          </p:nvSpPr>
          <p:spPr bwMode="gray">
            <a:xfrm>
              <a:off x="1" y="2978510"/>
              <a:ext cx="1254096" cy="3003012"/>
            </a:xfrm>
            <a:custGeom>
              <a:avLst/>
              <a:gdLst>
                <a:gd name="connsiteX0" fmla="*/ 0 w 1254096"/>
                <a:gd name="connsiteY0" fmla="*/ 0 h 3003012"/>
                <a:gd name="connsiteX1" fmla="*/ 983737 w 1254096"/>
                <a:gd name="connsiteY1" fmla="*/ 707595 h 3003012"/>
                <a:gd name="connsiteX2" fmla="*/ 1196849 w 1254096"/>
                <a:gd name="connsiteY2" fmla="*/ 1088625 h 3003012"/>
                <a:gd name="connsiteX3" fmla="*/ 1253012 w 1254096"/>
                <a:gd name="connsiteY3" fmla="*/ 1729339 h 3003012"/>
                <a:gd name="connsiteX4" fmla="*/ 1087196 w 1254096"/>
                <a:gd name="connsiteY4" fmla="*/ 2059155 h 3003012"/>
                <a:gd name="connsiteX5" fmla="*/ 213936 w 1254096"/>
                <a:gd name="connsiteY5" fmla="*/ 2477607 h 3003012"/>
                <a:gd name="connsiteX6" fmla="*/ 13209 w 1254096"/>
                <a:gd name="connsiteY6" fmla="*/ 2806583 h 3003012"/>
                <a:gd name="connsiteX7" fmla="*/ 0 w 1254096"/>
                <a:gd name="connsiteY7" fmla="*/ 3003012 h 3003012"/>
                <a:gd name="connsiteX8" fmla="*/ 0 w 1254096"/>
                <a:gd name="connsiteY8" fmla="*/ 0 h 300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4096" h="3003012">
                  <a:moveTo>
                    <a:pt x="0" y="0"/>
                  </a:moveTo>
                  <a:lnTo>
                    <a:pt x="983737" y="707595"/>
                  </a:lnTo>
                  <a:cubicBezTo>
                    <a:pt x="1092175" y="781545"/>
                    <a:pt x="1186903" y="954302"/>
                    <a:pt x="1196849" y="1088625"/>
                  </a:cubicBezTo>
                  <a:lnTo>
                    <a:pt x="1253012" y="1729339"/>
                  </a:lnTo>
                  <a:cubicBezTo>
                    <a:pt x="1264037" y="1863145"/>
                    <a:pt x="1189742" y="2010016"/>
                    <a:pt x="1087196" y="2059155"/>
                  </a:cubicBezTo>
                  <a:lnTo>
                    <a:pt x="213936" y="2477607"/>
                  </a:lnTo>
                  <a:cubicBezTo>
                    <a:pt x="111391" y="2526745"/>
                    <a:pt x="19192" y="2677804"/>
                    <a:pt x="13209" y="2806583"/>
                  </a:cubicBezTo>
                  <a:lnTo>
                    <a:pt x="0" y="3003012"/>
                  </a:ln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a:solidFill>
                  <a:schemeClr val="tx1"/>
                </a:solidFill>
              </a:endParaRPr>
            </a:p>
          </p:txBody>
        </p:sp>
      </p:grpSp>
      <p:grpSp>
        <p:nvGrpSpPr>
          <p:cNvPr id="6" name="Gruppieren 5"/>
          <p:cNvGrpSpPr/>
          <p:nvPr userDrawn="1"/>
        </p:nvGrpSpPr>
        <p:grpSpPr bwMode="gray">
          <a:xfrm>
            <a:off x="0" y="3"/>
            <a:ext cx="6160368" cy="5981521"/>
            <a:chOff x="0" y="1"/>
            <a:chExt cx="6160368" cy="5981521"/>
          </a:xfrm>
        </p:grpSpPr>
        <p:sp>
          <p:nvSpPr>
            <p:cNvPr id="34" name="Freeform 33"/>
            <p:cNvSpPr>
              <a:spLocks/>
            </p:cNvSpPr>
            <p:nvPr userDrawn="1"/>
          </p:nvSpPr>
          <p:spPr bwMode="gray">
            <a:xfrm>
              <a:off x="0" y="2978510"/>
              <a:ext cx="1253258" cy="3003012"/>
            </a:xfrm>
            <a:custGeom>
              <a:avLst/>
              <a:gdLst>
                <a:gd name="connsiteX0" fmla="*/ 0 w 1253258"/>
                <a:gd name="connsiteY0" fmla="*/ 0 h 3003012"/>
                <a:gd name="connsiteX1" fmla="*/ 644699 w 1253258"/>
                <a:gd name="connsiteY1" fmla="*/ 463727 h 3003012"/>
                <a:gd name="connsiteX2" fmla="*/ 625018 w 1253258"/>
                <a:gd name="connsiteY2" fmla="*/ 474245 h 3003012"/>
                <a:gd name="connsiteX3" fmla="*/ 465974 w 1253258"/>
                <a:gd name="connsiteY3" fmla="*/ 627800 h 3003012"/>
                <a:gd name="connsiteX4" fmla="*/ 267051 w 1253258"/>
                <a:gd name="connsiteY4" fmla="*/ 928336 h 3003012"/>
                <a:gd name="connsiteX5" fmla="*/ 345869 w 1253258"/>
                <a:gd name="connsiteY5" fmla="*/ 1247655 h 3003012"/>
                <a:gd name="connsiteX6" fmla="*/ 1238476 w 1253258"/>
                <a:gd name="connsiteY6" fmla="*/ 1756027 h 3003012"/>
                <a:gd name="connsiteX7" fmla="*/ 1253183 w 1253258"/>
                <a:gd name="connsiteY7" fmla="*/ 1764403 h 3003012"/>
                <a:gd name="connsiteX8" fmla="*/ 1253258 w 1253258"/>
                <a:gd name="connsiteY8" fmla="*/ 1779912 h 3003012"/>
                <a:gd name="connsiteX9" fmla="*/ 1087196 w 1253258"/>
                <a:gd name="connsiteY9" fmla="*/ 2059155 h 3003012"/>
                <a:gd name="connsiteX10" fmla="*/ 213936 w 1253258"/>
                <a:gd name="connsiteY10" fmla="*/ 2477607 h 3003012"/>
                <a:gd name="connsiteX11" fmla="*/ 13209 w 1253258"/>
                <a:gd name="connsiteY11" fmla="*/ 2806583 h 3003012"/>
                <a:gd name="connsiteX12" fmla="*/ 0 w 1253258"/>
                <a:gd name="connsiteY12" fmla="*/ 3003012 h 3003012"/>
                <a:gd name="connsiteX13" fmla="*/ 0 w 1253258"/>
                <a:gd name="connsiteY13" fmla="*/ 1103514 h 3003012"/>
                <a:gd name="connsiteX14" fmla="*/ 30463 w 1253258"/>
                <a:gd name="connsiteY14" fmla="*/ 1057811 h 3003012"/>
                <a:gd name="connsiteX15" fmla="*/ 327103 w 1253258"/>
                <a:gd name="connsiteY15" fmla="*/ 612773 h 3003012"/>
                <a:gd name="connsiteX16" fmla="*/ 255791 w 1253258"/>
                <a:gd name="connsiteY16" fmla="*/ 289697 h 3003012"/>
                <a:gd name="connsiteX17" fmla="*/ 62447 w 1253258"/>
                <a:gd name="connsiteY17" fmla="*/ 165880 h 3003012"/>
                <a:gd name="connsiteX18" fmla="*/ 0 w 1253258"/>
                <a:gd name="connsiteY18" fmla="*/ 125890 h 3003012"/>
                <a:gd name="connsiteX19" fmla="*/ 0 w 1253258"/>
                <a:gd name="connsiteY19" fmla="*/ 0 h 300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53258" h="3003012">
                  <a:moveTo>
                    <a:pt x="0" y="0"/>
                  </a:moveTo>
                  <a:lnTo>
                    <a:pt x="644699" y="463727"/>
                  </a:lnTo>
                  <a:lnTo>
                    <a:pt x="625018" y="474245"/>
                  </a:lnTo>
                  <a:cubicBezTo>
                    <a:pt x="559805" y="516977"/>
                    <a:pt x="501629" y="571450"/>
                    <a:pt x="465974" y="627800"/>
                  </a:cubicBezTo>
                  <a:cubicBezTo>
                    <a:pt x="465974" y="627800"/>
                    <a:pt x="465974" y="627800"/>
                    <a:pt x="267051" y="928336"/>
                  </a:cubicBezTo>
                  <a:cubicBezTo>
                    <a:pt x="195739" y="1037280"/>
                    <a:pt x="233272" y="1183791"/>
                    <a:pt x="345869" y="1247655"/>
                  </a:cubicBezTo>
                  <a:cubicBezTo>
                    <a:pt x="345869" y="1247655"/>
                    <a:pt x="345869" y="1247655"/>
                    <a:pt x="1238476" y="1756027"/>
                  </a:cubicBezTo>
                  <a:lnTo>
                    <a:pt x="1253183" y="1764403"/>
                  </a:lnTo>
                  <a:lnTo>
                    <a:pt x="1253258" y="1779912"/>
                  </a:lnTo>
                  <a:cubicBezTo>
                    <a:pt x="1245022" y="1898336"/>
                    <a:pt x="1176924" y="2016159"/>
                    <a:pt x="1087196" y="2059155"/>
                  </a:cubicBezTo>
                  <a:lnTo>
                    <a:pt x="213936" y="2477607"/>
                  </a:lnTo>
                  <a:cubicBezTo>
                    <a:pt x="111391" y="2526745"/>
                    <a:pt x="19192" y="2677804"/>
                    <a:pt x="13209" y="2806583"/>
                  </a:cubicBezTo>
                  <a:lnTo>
                    <a:pt x="0" y="3003012"/>
                  </a:lnTo>
                  <a:lnTo>
                    <a:pt x="0" y="1103514"/>
                  </a:lnTo>
                  <a:lnTo>
                    <a:pt x="30463" y="1057811"/>
                  </a:lnTo>
                  <a:cubicBezTo>
                    <a:pt x="123035" y="918929"/>
                    <a:pt x="221777" y="770789"/>
                    <a:pt x="327103" y="612773"/>
                  </a:cubicBezTo>
                  <a:cubicBezTo>
                    <a:pt x="398415" y="507585"/>
                    <a:pt x="368389" y="357317"/>
                    <a:pt x="255791" y="289697"/>
                  </a:cubicBezTo>
                  <a:cubicBezTo>
                    <a:pt x="255791" y="289697"/>
                    <a:pt x="255791" y="289697"/>
                    <a:pt x="62447" y="165880"/>
                  </a:cubicBezTo>
                  <a:lnTo>
                    <a:pt x="0" y="12589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sz="1350" dirty="0"/>
            </a:p>
          </p:txBody>
        </p:sp>
        <p:sp>
          <p:nvSpPr>
            <p:cNvPr id="31" name="Freeform 30"/>
            <p:cNvSpPr/>
            <p:nvPr userDrawn="1"/>
          </p:nvSpPr>
          <p:spPr bwMode="gray">
            <a:xfrm>
              <a:off x="3045424" y="1"/>
              <a:ext cx="3114944" cy="1390583"/>
            </a:xfrm>
            <a:custGeom>
              <a:avLst/>
              <a:gdLst>
                <a:gd name="connsiteX0" fmla="*/ 1954302 w 3114944"/>
                <a:gd name="connsiteY0" fmla="*/ 0 h 1390583"/>
                <a:gd name="connsiteX1" fmla="*/ 2998798 w 3114944"/>
                <a:gd name="connsiteY1" fmla="*/ 0 h 1390583"/>
                <a:gd name="connsiteX2" fmla="*/ 3068398 w 3114944"/>
                <a:gd name="connsiteY2" fmla="*/ 104891 h 1390583"/>
                <a:gd name="connsiteX3" fmla="*/ 3021366 w 3114944"/>
                <a:gd name="connsiteY3" fmla="*/ 405605 h 1390583"/>
                <a:gd name="connsiteX4" fmla="*/ 2489182 w 3114944"/>
                <a:gd name="connsiteY4" fmla="*/ 660619 h 1390583"/>
                <a:gd name="connsiteX5" fmla="*/ 2437018 w 3114944"/>
                <a:gd name="connsiteY5" fmla="*/ 627214 h 1390583"/>
                <a:gd name="connsiteX6" fmla="*/ 2175618 w 3114944"/>
                <a:gd name="connsiteY6" fmla="*/ 459813 h 1390583"/>
                <a:gd name="connsiteX7" fmla="*/ 1762760 w 3114944"/>
                <a:gd name="connsiteY7" fmla="*/ 441030 h 1390583"/>
                <a:gd name="connsiteX8" fmla="*/ 1327382 w 3114944"/>
                <a:gd name="connsiteY8" fmla="*/ 673945 h 1390583"/>
                <a:gd name="connsiteX9" fmla="*/ 1079668 w 3114944"/>
                <a:gd name="connsiteY9" fmla="*/ 1019562 h 1390583"/>
                <a:gd name="connsiteX10" fmla="*/ 1026896 w 3114944"/>
                <a:gd name="connsiteY10" fmla="*/ 1341833 h 1390583"/>
                <a:gd name="connsiteX11" fmla="*/ 1023432 w 3114944"/>
                <a:gd name="connsiteY11" fmla="*/ 1362983 h 1390583"/>
                <a:gd name="connsiteX12" fmla="*/ 1006070 w 3114944"/>
                <a:gd name="connsiteY12" fmla="*/ 1371303 h 1390583"/>
                <a:gd name="connsiteX13" fmla="*/ 659294 w 3114944"/>
                <a:gd name="connsiteY13" fmla="*/ 1268080 h 1390583"/>
                <a:gd name="connsiteX14" fmla="*/ 0 w 3114944"/>
                <a:gd name="connsiteY14" fmla="*/ 472566 h 1390583"/>
                <a:gd name="connsiteX15" fmla="*/ 40018 w 3114944"/>
                <a:gd name="connsiteY15" fmla="*/ 482354 h 1390583"/>
                <a:gd name="connsiteX16" fmla="*/ 824446 w 3114944"/>
                <a:gd name="connsiteY16" fmla="*/ 636378 h 1390583"/>
                <a:gd name="connsiteX17" fmla="*/ 1267330 w 3114944"/>
                <a:gd name="connsiteY17" fmla="*/ 572514 h 1390583"/>
                <a:gd name="connsiteX18" fmla="*/ 1725228 w 3114944"/>
                <a:gd name="connsiteY18" fmla="*/ 328329 h 1390583"/>
                <a:gd name="connsiteX19" fmla="*/ 1949470 w 3114944"/>
                <a:gd name="connsiteY19" fmla="*/ 28021 h 1390583"/>
                <a:gd name="connsiteX20" fmla="*/ 1954302 w 3114944"/>
                <a:gd name="connsiteY20" fmla="*/ 0 h 1390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14944" h="1390583">
                  <a:moveTo>
                    <a:pt x="1954302" y="0"/>
                  </a:moveTo>
                  <a:lnTo>
                    <a:pt x="2998798" y="0"/>
                  </a:lnTo>
                  <a:lnTo>
                    <a:pt x="3068398" y="104891"/>
                  </a:lnTo>
                  <a:cubicBezTo>
                    <a:pt x="3146086" y="219929"/>
                    <a:pt x="3123914" y="356467"/>
                    <a:pt x="3021366" y="405605"/>
                  </a:cubicBezTo>
                  <a:lnTo>
                    <a:pt x="2489182" y="660619"/>
                  </a:lnTo>
                  <a:lnTo>
                    <a:pt x="2437018" y="627214"/>
                  </a:lnTo>
                  <a:cubicBezTo>
                    <a:pt x="2361228" y="578677"/>
                    <a:pt x="2274610" y="523207"/>
                    <a:pt x="2175618" y="459813"/>
                  </a:cubicBezTo>
                  <a:cubicBezTo>
                    <a:pt x="2063020" y="392193"/>
                    <a:pt x="1879110" y="380923"/>
                    <a:pt x="1762760" y="441030"/>
                  </a:cubicBezTo>
                  <a:cubicBezTo>
                    <a:pt x="1762760" y="441030"/>
                    <a:pt x="1762760" y="441030"/>
                    <a:pt x="1327382" y="673945"/>
                  </a:cubicBezTo>
                  <a:cubicBezTo>
                    <a:pt x="1211032" y="737809"/>
                    <a:pt x="1098434" y="891834"/>
                    <a:pt x="1079668" y="1019562"/>
                  </a:cubicBezTo>
                  <a:cubicBezTo>
                    <a:pt x="1079668" y="1019562"/>
                    <a:pt x="1079668" y="1019562"/>
                    <a:pt x="1026896" y="1341833"/>
                  </a:cubicBezTo>
                  <a:lnTo>
                    <a:pt x="1023432" y="1362983"/>
                  </a:lnTo>
                  <a:lnTo>
                    <a:pt x="1006070" y="1371303"/>
                  </a:lnTo>
                  <a:cubicBezTo>
                    <a:pt x="904602" y="1419924"/>
                    <a:pt x="748226" y="1373339"/>
                    <a:pt x="659294" y="1268080"/>
                  </a:cubicBezTo>
                  <a:lnTo>
                    <a:pt x="0" y="472566"/>
                  </a:lnTo>
                  <a:lnTo>
                    <a:pt x="40018" y="482354"/>
                  </a:lnTo>
                  <a:cubicBezTo>
                    <a:pt x="40018" y="482354"/>
                    <a:pt x="40018" y="482354"/>
                    <a:pt x="824446" y="636378"/>
                  </a:cubicBezTo>
                  <a:cubicBezTo>
                    <a:pt x="952058" y="662675"/>
                    <a:pt x="1150980" y="632622"/>
                    <a:pt x="1267330" y="572514"/>
                  </a:cubicBezTo>
                  <a:cubicBezTo>
                    <a:pt x="1267330" y="572514"/>
                    <a:pt x="1267330" y="572514"/>
                    <a:pt x="1725228" y="328329"/>
                  </a:cubicBezTo>
                  <a:cubicBezTo>
                    <a:pt x="1827034" y="272448"/>
                    <a:pt x="1920222" y="144662"/>
                    <a:pt x="1949470" y="28021"/>
                  </a:cubicBezTo>
                  <a:lnTo>
                    <a:pt x="195430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2" name="Freeform 31"/>
            <p:cNvSpPr/>
            <p:nvPr userDrawn="1"/>
          </p:nvSpPr>
          <p:spPr bwMode="gray">
            <a:xfrm>
              <a:off x="0" y="137804"/>
              <a:ext cx="2047830" cy="1873007"/>
            </a:xfrm>
            <a:custGeom>
              <a:avLst/>
              <a:gdLst>
                <a:gd name="connsiteX0" fmla="*/ 331946 w 2047830"/>
                <a:gd name="connsiteY0" fmla="*/ 0 h 1873007"/>
                <a:gd name="connsiteX1" fmla="*/ 360420 w 2047830"/>
                <a:gd name="connsiteY1" fmla="*/ 47686 h 1873007"/>
                <a:gd name="connsiteX2" fmla="*/ 717140 w 2047830"/>
                <a:gd name="connsiteY2" fmla="*/ 645087 h 1873007"/>
                <a:gd name="connsiteX3" fmla="*/ 1073698 w 2047830"/>
                <a:gd name="connsiteY3" fmla="*/ 896785 h 1873007"/>
                <a:gd name="connsiteX4" fmla="*/ 1861882 w 2047830"/>
                <a:gd name="connsiteY4" fmla="*/ 1062080 h 1873007"/>
                <a:gd name="connsiteX5" fmla="*/ 1912830 w 2047830"/>
                <a:gd name="connsiteY5" fmla="*/ 1067987 h 1873007"/>
                <a:gd name="connsiteX6" fmla="*/ 1952650 w 2047830"/>
                <a:gd name="connsiteY6" fmla="*/ 1066776 h 1873007"/>
                <a:gd name="connsiteX7" fmla="*/ 2047830 w 2047830"/>
                <a:gd name="connsiteY7" fmla="*/ 1360050 h 1873007"/>
                <a:gd name="connsiteX8" fmla="*/ 1986678 w 2047830"/>
                <a:gd name="connsiteY8" fmla="*/ 1274333 h 1873007"/>
                <a:gd name="connsiteX9" fmla="*/ 1809336 w 2047830"/>
                <a:gd name="connsiteY9" fmla="*/ 1171024 h 1873007"/>
                <a:gd name="connsiteX10" fmla="*/ 1148764 w 2047830"/>
                <a:gd name="connsiteY10" fmla="*/ 1028270 h 1873007"/>
                <a:gd name="connsiteX11" fmla="*/ 844750 w 2047830"/>
                <a:gd name="connsiteY11" fmla="*/ 1212348 h 1873007"/>
                <a:gd name="connsiteX12" fmla="*/ 649990 w 2047830"/>
                <a:gd name="connsiteY12" fmla="*/ 1854215 h 1873007"/>
                <a:gd name="connsiteX13" fmla="*/ 644290 w 2047830"/>
                <a:gd name="connsiteY13" fmla="*/ 1873007 h 1873007"/>
                <a:gd name="connsiteX14" fmla="*/ 0 w 2047830"/>
                <a:gd name="connsiteY14" fmla="*/ 892142 h 1873007"/>
                <a:gd name="connsiteX15" fmla="*/ 0 w 2047830"/>
                <a:gd name="connsiteY15" fmla="*/ 269735 h 1873007"/>
                <a:gd name="connsiteX16" fmla="*/ 331946 w 2047830"/>
                <a:gd name="connsiteY16" fmla="*/ 0 h 187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47830" h="1873007">
                  <a:moveTo>
                    <a:pt x="331946" y="0"/>
                  </a:moveTo>
                  <a:lnTo>
                    <a:pt x="360420" y="47686"/>
                  </a:lnTo>
                  <a:cubicBezTo>
                    <a:pt x="455658" y="207182"/>
                    <a:pt x="572874" y="403484"/>
                    <a:pt x="717140" y="645087"/>
                  </a:cubicBezTo>
                  <a:cubicBezTo>
                    <a:pt x="784698" y="754031"/>
                    <a:pt x="946088" y="870488"/>
                    <a:pt x="1073698" y="896785"/>
                  </a:cubicBezTo>
                  <a:cubicBezTo>
                    <a:pt x="1073698" y="896785"/>
                    <a:pt x="1073698" y="896785"/>
                    <a:pt x="1861882" y="1062080"/>
                  </a:cubicBezTo>
                  <a:cubicBezTo>
                    <a:pt x="1878302" y="1065367"/>
                    <a:pt x="1895368" y="1067304"/>
                    <a:pt x="1912830" y="1067987"/>
                  </a:cubicBezTo>
                  <a:lnTo>
                    <a:pt x="1952650" y="1066776"/>
                  </a:lnTo>
                  <a:lnTo>
                    <a:pt x="2047830" y="1360050"/>
                  </a:lnTo>
                  <a:lnTo>
                    <a:pt x="1986678" y="1274333"/>
                  </a:lnTo>
                  <a:cubicBezTo>
                    <a:pt x="1937886" y="1222679"/>
                    <a:pt x="1875018" y="1184173"/>
                    <a:pt x="1809336" y="1171024"/>
                  </a:cubicBezTo>
                  <a:cubicBezTo>
                    <a:pt x="1809336" y="1171024"/>
                    <a:pt x="1809336" y="1171024"/>
                    <a:pt x="1148764" y="1028270"/>
                  </a:cubicBezTo>
                  <a:cubicBezTo>
                    <a:pt x="1017400" y="1001973"/>
                    <a:pt x="882282" y="1084620"/>
                    <a:pt x="844750" y="1212348"/>
                  </a:cubicBezTo>
                  <a:cubicBezTo>
                    <a:pt x="844750" y="1212348"/>
                    <a:pt x="844750" y="1212348"/>
                    <a:pt x="649990" y="1854215"/>
                  </a:cubicBezTo>
                  <a:lnTo>
                    <a:pt x="644290" y="1873007"/>
                  </a:lnTo>
                  <a:lnTo>
                    <a:pt x="0" y="892142"/>
                  </a:lnTo>
                  <a:lnTo>
                    <a:pt x="0" y="269735"/>
                  </a:lnTo>
                  <a:lnTo>
                    <a:pt x="331946"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sp>
        <p:nvSpPr>
          <p:cNvPr id="28" name="Picture Placeholder 19"/>
          <p:cNvSpPr>
            <a:spLocks noGrp="1"/>
          </p:cNvSpPr>
          <p:nvPr userDrawn="1">
            <p:ph type="pic" sz="quarter" idx="18"/>
          </p:nvPr>
        </p:nvSpPr>
        <p:spPr bwMode="gray">
          <a:xfrm>
            <a:off x="1416001" y="1501933"/>
            <a:ext cx="4385900" cy="3924309"/>
          </a:xfrm>
          <a:custGeom>
            <a:avLst/>
            <a:gdLst>
              <a:gd name="connsiteX0" fmla="*/ 2640160 w 4025900"/>
              <a:gd name="connsiteY0" fmla="*/ 1421 h 3602197"/>
              <a:gd name="connsiteX1" fmla="*/ 3141707 w 4025900"/>
              <a:gd name="connsiteY1" fmla="*/ 189633 h 3602197"/>
              <a:gd name="connsiteX2" fmla="*/ 3728661 w 4025900"/>
              <a:gd name="connsiteY2" fmla="*/ 513040 h 3602197"/>
              <a:gd name="connsiteX3" fmla="*/ 4025900 w 4025900"/>
              <a:gd name="connsiteY3" fmla="*/ 1016954 h 3602197"/>
              <a:gd name="connsiteX4" fmla="*/ 4025900 w 4025900"/>
              <a:gd name="connsiteY4" fmla="*/ 3295850 h 3602197"/>
              <a:gd name="connsiteX5" fmla="*/ 3687273 w 4025900"/>
              <a:gd name="connsiteY5" fmla="*/ 3600454 h 3602197"/>
              <a:gd name="connsiteX6" fmla="*/ 338627 w 4025900"/>
              <a:gd name="connsiteY6" fmla="*/ 3235681 h 3602197"/>
              <a:gd name="connsiteX7" fmla="*/ 0 w 4025900"/>
              <a:gd name="connsiteY7" fmla="*/ 2855865 h 3602197"/>
              <a:gd name="connsiteX8" fmla="*/ 0 w 4025900"/>
              <a:gd name="connsiteY8" fmla="*/ 1550953 h 3602197"/>
              <a:gd name="connsiteX9" fmla="*/ 308527 w 4025900"/>
              <a:gd name="connsiteY9" fmla="*/ 1065842 h 3602197"/>
              <a:gd name="connsiteX10" fmla="*/ 2374152 w 4025900"/>
              <a:gd name="connsiteY10" fmla="*/ 95619 h 3602197"/>
              <a:gd name="connsiteX11" fmla="*/ 2640160 w 4025900"/>
              <a:gd name="connsiteY11" fmla="*/ 1421 h 3602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25900" h="3602197">
                <a:moveTo>
                  <a:pt x="2640160" y="1421"/>
                </a:moveTo>
                <a:cubicBezTo>
                  <a:pt x="2765455" y="-10147"/>
                  <a:pt x="2883034" y="48612"/>
                  <a:pt x="3141707" y="189633"/>
                </a:cubicBezTo>
                <a:cubicBezTo>
                  <a:pt x="3141707" y="189633"/>
                  <a:pt x="3141707" y="189633"/>
                  <a:pt x="3728661" y="513040"/>
                </a:cubicBezTo>
                <a:cubicBezTo>
                  <a:pt x="3890449" y="603293"/>
                  <a:pt x="4025900" y="828927"/>
                  <a:pt x="4025900" y="1016954"/>
                </a:cubicBezTo>
                <a:cubicBezTo>
                  <a:pt x="4025900" y="1016954"/>
                  <a:pt x="4025900" y="1016954"/>
                  <a:pt x="4025900" y="3295850"/>
                </a:cubicBezTo>
                <a:cubicBezTo>
                  <a:pt x="4025900" y="3483877"/>
                  <a:pt x="3875399" y="3619257"/>
                  <a:pt x="3687273" y="3600454"/>
                </a:cubicBezTo>
                <a:cubicBezTo>
                  <a:pt x="3687273" y="3600454"/>
                  <a:pt x="3687273" y="3600454"/>
                  <a:pt x="338627" y="3235681"/>
                </a:cubicBezTo>
                <a:cubicBezTo>
                  <a:pt x="154264" y="3213117"/>
                  <a:pt x="0" y="3043892"/>
                  <a:pt x="0" y="2855865"/>
                </a:cubicBezTo>
                <a:cubicBezTo>
                  <a:pt x="0" y="2855865"/>
                  <a:pt x="0" y="2855865"/>
                  <a:pt x="0" y="1550953"/>
                </a:cubicBezTo>
                <a:cubicBezTo>
                  <a:pt x="0" y="1366686"/>
                  <a:pt x="139213" y="1144813"/>
                  <a:pt x="308527" y="1065842"/>
                </a:cubicBezTo>
                <a:cubicBezTo>
                  <a:pt x="308527" y="1065842"/>
                  <a:pt x="308527" y="1065842"/>
                  <a:pt x="2374152" y="95619"/>
                </a:cubicBezTo>
                <a:cubicBezTo>
                  <a:pt x="2487028" y="40621"/>
                  <a:pt x="2564983" y="8362"/>
                  <a:pt x="2640160" y="1421"/>
                </a:cubicBezTo>
                <a:close/>
              </a:path>
            </a:pathLst>
          </a:custGeom>
          <a:solidFill>
            <a:schemeClr val="accent1"/>
          </a:solidFill>
        </p:spPr>
        <p:txBody>
          <a:bodyPr wrap="square" tIns="756000" anchor="ctr">
            <a:noAutofit/>
          </a:bodyPr>
          <a:lstStyle>
            <a:lvl1pPr algn="ctr">
              <a:spcBef>
                <a:spcPts val="0"/>
              </a:spcBef>
              <a:spcAft>
                <a:spcPts val="0"/>
              </a:spcAft>
              <a:defRPr sz="750" baseline="0">
                <a:solidFill>
                  <a:schemeClr val="bg1"/>
                </a:solidFill>
              </a:defRPr>
            </a:lvl1pPr>
          </a:lstStyle>
          <a:p>
            <a:r>
              <a:rPr lang="en-US" noProof="0" dirty="0"/>
              <a:t>Click icon to add picture</a:t>
            </a:r>
          </a:p>
        </p:txBody>
      </p:sp>
      <p:sp>
        <p:nvSpPr>
          <p:cNvPr id="7" name="Text Placeholder 12"/>
          <p:cNvSpPr>
            <a:spLocks noGrp="1"/>
          </p:cNvSpPr>
          <p:nvPr userDrawn="1">
            <p:ph type="body" sz="quarter" idx="10" hasCustomPrompt="1"/>
          </p:nvPr>
        </p:nvSpPr>
        <p:spPr bwMode="gray">
          <a:xfrm>
            <a:off x="6096001" y="4293098"/>
            <a:ext cx="5472113"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latin typeface="+mn-lt"/>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dirty="0"/>
              <a:t>Name</a:t>
            </a:r>
          </a:p>
          <a:p>
            <a:r>
              <a:rPr lang="en-US" noProof="0" dirty="0"/>
              <a:t>Place, Date</a:t>
            </a:r>
          </a:p>
        </p:txBody>
      </p:sp>
      <p:sp>
        <p:nvSpPr>
          <p:cNvPr id="3" name="Subtitle 2"/>
          <p:cNvSpPr>
            <a:spLocks noGrp="1"/>
          </p:cNvSpPr>
          <p:nvPr userDrawn="1">
            <p:ph type="subTitle" idx="1" hasCustomPrompt="1"/>
          </p:nvPr>
        </p:nvSpPr>
        <p:spPr bwMode="gray">
          <a:xfrm>
            <a:off x="6096001" y="3501080"/>
            <a:ext cx="5472113" cy="648000"/>
          </a:xfrm>
          <a:prstGeom prst="rect">
            <a:avLst/>
          </a:prstGeom>
        </p:spPr>
        <p:txBody>
          <a:bodyPr>
            <a:noAutofit/>
          </a:bodyPr>
          <a:lstStyle>
            <a:lvl1pPr marL="0" indent="0" algn="l">
              <a:spcBef>
                <a:spcPts val="0"/>
              </a:spcBef>
              <a:spcAft>
                <a:spcPts val="0"/>
              </a:spcAft>
              <a:buNone/>
              <a:defRPr sz="1200" b="1" i="0" baseline="0">
                <a:solidFill>
                  <a:schemeClr val="accent1"/>
                </a:solidFill>
                <a:latin typeface="+mn-lt"/>
              </a:defRPr>
            </a:lvl1pPr>
            <a:lvl2pPr marL="0" indent="0" algn="l">
              <a:spcBef>
                <a:spcPts val="0"/>
              </a:spcBef>
              <a:spcAft>
                <a:spcPts val="0"/>
              </a:spcAft>
              <a:buNone/>
              <a:defRPr sz="1200" b="1">
                <a:solidFill>
                  <a:schemeClr val="accent1"/>
                </a:solidFill>
              </a:defRPr>
            </a:lvl2pPr>
            <a:lvl3pPr marL="0" indent="0" algn="l">
              <a:spcBef>
                <a:spcPts val="0"/>
              </a:spcBef>
              <a:spcAft>
                <a:spcPts val="0"/>
              </a:spcAft>
              <a:buNone/>
              <a:defRPr sz="1200" b="1">
                <a:solidFill>
                  <a:schemeClr val="accent1"/>
                </a:solidFill>
              </a:defRPr>
            </a:lvl3pPr>
            <a:lvl4pPr marL="0" indent="0" algn="l">
              <a:spcBef>
                <a:spcPts val="0"/>
              </a:spcBef>
              <a:spcAft>
                <a:spcPts val="0"/>
              </a:spcAft>
              <a:buNone/>
              <a:defRPr sz="1200" b="1">
                <a:solidFill>
                  <a:schemeClr val="accent1"/>
                </a:solidFill>
              </a:defRPr>
            </a:lvl4pPr>
            <a:lvl5pPr marL="0" indent="0" algn="l">
              <a:spcBef>
                <a:spcPts val="0"/>
              </a:spcBef>
              <a:spcAft>
                <a:spcPts val="0"/>
              </a:spcAft>
              <a:buNone/>
              <a:defRPr sz="1200" b="1">
                <a:solidFill>
                  <a:schemeClr val="accent1"/>
                </a:solidFill>
              </a:defRPr>
            </a:lvl5pPr>
            <a:lvl6pPr marL="0" indent="0" algn="l">
              <a:spcBef>
                <a:spcPts val="0"/>
              </a:spcBef>
              <a:spcAft>
                <a:spcPts val="0"/>
              </a:spcAft>
              <a:buNone/>
              <a:defRPr sz="1200" b="1">
                <a:solidFill>
                  <a:schemeClr val="accent1"/>
                </a:solidFill>
              </a:defRPr>
            </a:lvl6pPr>
            <a:lvl7pPr marL="0" indent="0" algn="l">
              <a:spcBef>
                <a:spcPts val="0"/>
              </a:spcBef>
              <a:spcAft>
                <a:spcPts val="0"/>
              </a:spcAft>
              <a:buNone/>
              <a:defRPr sz="1200" b="1">
                <a:solidFill>
                  <a:schemeClr val="accent1"/>
                </a:solidFill>
              </a:defRPr>
            </a:lvl7pPr>
            <a:lvl8pPr marL="0" indent="0" algn="l">
              <a:spcBef>
                <a:spcPts val="0"/>
              </a:spcBef>
              <a:spcAft>
                <a:spcPts val="0"/>
              </a:spcAft>
              <a:buNone/>
              <a:defRPr sz="1200" b="1">
                <a:solidFill>
                  <a:schemeClr val="accent1"/>
                </a:solidFill>
              </a:defRPr>
            </a:lvl8pPr>
            <a:lvl9pPr marL="0" indent="0" algn="l">
              <a:spcBef>
                <a:spcPts val="0"/>
              </a:spcBef>
              <a:spcAft>
                <a:spcPts val="0"/>
              </a:spcAft>
              <a:buNone/>
              <a:defRPr sz="1200" b="1">
                <a:solidFill>
                  <a:schemeClr val="accent1"/>
                </a:solidFill>
              </a:defRPr>
            </a:lvl9pPr>
          </a:lstStyle>
          <a:p>
            <a:r>
              <a:rPr lang="en-US" noProof="0" dirty="0"/>
              <a:t>Subtitle and other information of this presentation</a:t>
            </a:r>
          </a:p>
        </p:txBody>
      </p:sp>
      <p:sp>
        <p:nvSpPr>
          <p:cNvPr id="2" name="Title 1"/>
          <p:cNvSpPr>
            <a:spLocks noGrp="1"/>
          </p:cNvSpPr>
          <p:nvPr userDrawn="1">
            <p:ph type="ctrTitle" hasCustomPrompt="1"/>
          </p:nvPr>
        </p:nvSpPr>
        <p:spPr bwMode="gray">
          <a:xfrm>
            <a:off x="6096001" y="2877160"/>
            <a:ext cx="5472113" cy="479841"/>
          </a:xfrm>
          <a:prstGeom prst="rect">
            <a:avLst/>
          </a:prstGeom>
          <a:noFill/>
        </p:spPr>
        <p:txBody>
          <a:bodyPr anchor="b"/>
          <a:lstStyle>
            <a:lvl1pPr algn="l">
              <a:lnSpc>
                <a:spcPct val="100000"/>
              </a:lnSpc>
              <a:defRPr sz="300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pic>
        <p:nvPicPr>
          <p:cNvPr id="4" name="Grafik 3"/>
          <p:cNvPicPr>
            <a:picLocks noChangeAspect="1"/>
          </p:cNvPicPr>
          <p:nvPr userDrawn="1"/>
        </p:nvPicPr>
        <p:blipFill>
          <a:blip r:embed="rId6"/>
          <a:stretch>
            <a:fillRect/>
          </a:stretch>
        </p:blipFill>
        <p:spPr bwMode="gray">
          <a:xfrm>
            <a:off x="1271744" y="5271079"/>
            <a:ext cx="2520000" cy="1254267"/>
          </a:xfrm>
          <a:prstGeom prst="rect">
            <a:avLst/>
          </a:prstGeom>
        </p:spPr>
      </p:pic>
      <p:sp>
        <p:nvSpPr>
          <p:cNvPr id="29" name="Rechteck 18"/>
          <p:cNvSpPr/>
          <p:nvPr userDrawn="1"/>
        </p:nvSpPr>
        <p:spPr bwMode="gray">
          <a:xfrm rot="420000">
            <a:off x="4023407" y="5431455"/>
            <a:ext cx="1690556" cy="360040"/>
          </a:xfrm>
          <a:prstGeom prst="rect">
            <a:avLst/>
          </a:prstGeom>
          <a:noFill/>
          <a:ln w="9525" cap="flat" cmpd="sng" algn="ctr">
            <a:noFill/>
            <a:prstDash val="solid"/>
          </a:ln>
          <a:effectLst/>
        </p:spPr>
        <p:txBody>
          <a:bodyPr lIns="0" tIns="0" rIns="0" bIns="0" rtlCol="0" anchor="t" anchorCtr="0"/>
          <a:lstStyle/>
          <a:p>
            <a:pPr marL="0" indent="0" algn="l">
              <a:spcBef>
                <a:spcPts val="225"/>
              </a:spcBef>
              <a:spcAft>
                <a:spcPts val="225"/>
              </a:spcAft>
              <a:buClr>
                <a:schemeClr val="bg1"/>
              </a:buClr>
              <a:buSzPct val="100000"/>
              <a:buFont typeface="Arial" panose="020B0604020202020204" pitchFamily="34" charset="0"/>
              <a:buNone/>
            </a:pPr>
            <a:r>
              <a:rPr lang="en-US" sz="525" kern="0" dirty="0">
                <a:solidFill>
                  <a:srgbClr val="EB3C96"/>
                </a:solidFill>
                <a:latin typeface="+mn-lt"/>
              </a:rPr>
              <a:t>MilliporeSigma is a business of</a:t>
            </a:r>
            <a:br>
              <a:rPr lang="en-US" sz="525" kern="0" dirty="0">
                <a:solidFill>
                  <a:srgbClr val="EB3C96"/>
                </a:solidFill>
                <a:latin typeface="+mn-lt"/>
              </a:rPr>
            </a:br>
            <a:r>
              <a:rPr lang="en-US" sz="525" kern="0" dirty="0">
                <a:solidFill>
                  <a:srgbClr val="EB3C96"/>
                </a:solidFill>
                <a:latin typeface="+mn-lt"/>
              </a:rPr>
              <a:t>Merck KGaA, Darmstadt, Germany</a:t>
            </a:r>
            <a:endParaRPr lang="de-DE" sz="525" kern="0" dirty="0">
              <a:solidFill>
                <a:srgbClr val="EB3C96"/>
              </a:solidFill>
              <a:latin typeface="Verdana"/>
            </a:endParaRPr>
          </a:p>
        </p:txBody>
      </p:sp>
      <p:sp>
        <p:nvSpPr>
          <p:cNvPr id="30" name="Rechteck 19"/>
          <p:cNvSpPr/>
          <p:nvPr userDrawn="1"/>
        </p:nvSpPr>
        <p:spPr bwMode="gray">
          <a:xfrm>
            <a:off x="0" y="-387424"/>
            <a:ext cx="12192000" cy="288032"/>
          </a:xfrm>
          <a:prstGeom prst="rect">
            <a:avLst/>
          </a:prstGeom>
          <a:solidFill>
            <a:srgbClr val="E61E50"/>
          </a:solidFill>
          <a:ln w="9525" cap="flat" cmpd="sng" algn="ctr">
            <a:noFill/>
            <a:prstDash val="solid"/>
          </a:ln>
          <a:effectLst/>
        </p:spPr>
        <p:txBody>
          <a:bodyPr rtlCol="0" anchor="ctr" anchorCtr="0"/>
          <a:lstStyle/>
          <a:p>
            <a:pPr marL="0" indent="0" algn="ctr">
              <a:spcBef>
                <a:spcPts val="225"/>
              </a:spcBef>
              <a:spcAft>
                <a:spcPts val="225"/>
              </a:spcAft>
              <a:buClr>
                <a:schemeClr val="bg1"/>
              </a:buClr>
              <a:buSzPct val="100000"/>
              <a:buFont typeface="Arial" panose="020B0604020202020204" pitchFamily="34" charset="0"/>
              <a:buNone/>
            </a:pPr>
            <a:r>
              <a:rPr lang="en-US" sz="1050" kern="0" dirty="0">
                <a:solidFill>
                  <a:srgbClr val="FFFFFF"/>
                </a:solidFill>
                <a:latin typeface="+mn-lt"/>
              </a:rPr>
              <a:t>Only to be used in USA &amp; Canada, never outside these two countries</a:t>
            </a:r>
            <a:endParaRPr lang="de-DE" sz="1050" kern="0" dirty="0">
              <a:solidFill>
                <a:srgbClr val="FFFFFF"/>
              </a:solidFill>
              <a:latin typeface="Verdana"/>
            </a:endParaRPr>
          </a:p>
        </p:txBody>
      </p:sp>
      <p:sp>
        <p:nvSpPr>
          <p:cNvPr id="27" name="Freeform 5"/>
          <p:cNvSpPr>
            <a:spLocks noEditPoints="1"/>
          </p:cNvSpPr>
          <p:nvPr userDrawn="1"/>
        </p:nvSpPr>
        <p:spPr bwMode="auto">
          <a:xfrm>
            <a:off x="9969502" y="6060209"/>
            <a:ext cx="1820863" cy="465137"/>
          </a:xfrm>
          <a:custGeom>
            <a:avLst/>
            <a:gdLst>
              <a:gd name="T0" fmla="*/ 5746 w 47033"/>
              <a:gd name="T1" fmla="*/ 7214 h 11985"/>
              <a:gd name="T2" fmla="*/ 157 w 47033"/>
              <a:gd name="T3" fmla="*/ 7953 h 11985"/>
              <a:gd name="T4" fmla="*/ 3892 w 47033"/>
              <a:gd name="T5" fmla="*/ 10065 h 11985"/>
              <a:gd name="T6" fmla="*/ 1042 w 47033"/>
              <a:gd name="T7" fmla="*/ 10025 h 11985"/>
              <a:gd name="T8" fmla="*/ 2274 w 47033"/>
              <a:gd name="T9" fmla="*/ 11918 h 11985"/>
              <a:gd name="T10" fmla="*/ 5242 w 47033"/>
              <a:gd name="T11" fmla="*/ 9018 h 11985"/>
              <a:gd name="T12" fmla="*/ 12027 w 47033"/>
              <a:gd name="T13" fmla="*/ 840 h 11985"/>
              <a:gd name="T14" fmla="*/ 2328 w 47033"/>
              <a:gd name="T15" fmla="*/ 405 h 11985"/>
              <a:gd name="T16" fmla="*/ 1484 w 47033"/>
              <a:gd name="T17" fmla="*/ 5712 h 11985"/>
              <a:gd name="T18" fmla="*/ 9685 w 47033"/>
              <a:gd name="T19" fmla="*/ 3071 h 11985"/>
              <a:gd name="T20" fmla="*/ 12027 w 47033"/>
              <a:gd name="T21" fmla="*/ 5543 h 11985"/>
              <a:gd name="T22" fmla="*/ 37476 w 47033"/>
              <a:gd name="T23" fmla="*/ 4017 h 11985"/>
              <a:gd name="T24" fmla="*/ 39160 w 47033"/>
              <a:gd name="T25" fmla="*/ 2513 h 11985"/>
              <a:gd name="T26" fmla="*/ 35890 w 47033"/>
              <a:gd name="T27" fmla="*/ 5657 h 11985"/>
              <a:gd name="T28" fmla="*/ 35115 w 47033"/>
              <a:gd name="T29" fmla="*/ 124 h 11985"/>
              <a:gd name="T30" fmla="*/ 40508 w 47033"/>
              <a:gd name="T31" fmla="*/ 3372 h 11985"/>
              <a:gd name="T32" fmla="*/ 43843 w 47033"/>
              <a:gd name="T33" fmla="*/ 4078 h 11985"/>
              <a:gd name="T34" fmla="*/ 43824 w 47033"/>
              <a:gd name="T35" fmla="*/ 1468 h 11985"/>
              <a:gd name="T36" fmla="*/ 44709 w 47033"/>
              <a:gd name="T37" fmla="*/ 3605 h 11985"/>
              <a:gd name="T38" fmla="*/ 43809 w 47033"/>
              <a:gd name="T39" fmla="*/ 0 h 11985"/>
              <a:gd name="T40" fmla="*/ 44542 w 47033"/>
              <a:gd name="T41" fmla="*/ 5712 h 11985"/>
              <a:gd name="T42" fmla="*/ 28851 w 47033"/>
              <a:gd name="T43" fmla="*/ 157 h 11985"/>
              <a:gd name="T44" fmla="*/ 33992 w 47033"/>
              <a:gd name="T45" fmla="*/ 5141 h 11985"/>
              <a:gd name="T46" fmla="*/ 28986 w 47033"/>
              <a:gd name="T47" fmla="*/ 0 h 11985"/>
              <a:gd name="T48" fmla="*/ 32855 w 47033"/>
              <a:gd name="T49" fmla="*/ 4077 h 11985"/>
              <a:gd name="T50" fmla="*/ 26686 w 47033"/>
              <a:gd name="T51" fmla="*/ 7111 h 11985"/>
              <a:gd name="T52" fmla="*/ 16988 w 47033"/>
              <a:gd name="T53" fmla="*/ 6676 h 11985"/>
              <a:gd name="T54" fmla="*/ 16144 w 47033"/>
              <a:gd name="T55" fmla="*/ 11982 h 11985"/>
              <a:gd name="T56" fmla="*/ 24345 w 47033"/>
              <a:gd name="T57" fmla="*/ 9342 h 11985"/>
              <a:gd name="T58" fmla="*/ 26686 w 47033"/>
              <a:gd name="T59" fmla="*/ 11814 h 11985"/>
              <a:gd name="T60" fmla="*/ 12607 w 47033"/>
              <a:gd name="T61" fmla="*/ 157 h 11985"/>
              <a:gd name="T62" fmla="*/ 14174 w 47033"/>
              <a:gd name="T63" fmla="*/ 2897 h 11985"/>
              <a:gd name="T64" fmla="*/ 12842 w 47033"/>
              <a:gd name="T65" fmla="*/ 5477 h 11985"/>
              <a:gd name="T66" fmla="*/ 17175 w 47033"/>
              <a:gd name="T67" fmla="*/ 4265 h 11985"/>
              <a:gd name="T68" fmla="*/ 15440 w 47033"/>
              <a:gd name="T69" fmla="*/ 0 h 11985"/>
              <a:gd name="T70" fmla="*/ 17175 w 47033"/>
              <a:gd name="T71" fmla="*/ 5766 h 11985"/>
              <a:gd name="T72" fmla="*/ 24357 w 47033"/>
              <a:gd name="T73" fmla="*/ 2588 h 11985"/>
              <a:gd name="T74" fmla="*/ 26793 w 47033"/>
              <a:gd name="T75" fmla="*/ 2823 h 11985"/>
              <a:gd name="T76" fmla="*/ 22772 w 47033"/>
              <a:gd name="T77" fmla="*/ 1 h 11985"/>
              <a:gd name="T78" fmla="*/ 24206 w 47033"/>
              <a:gd name="T79" fmla="*/ 4279 h 11985"/>
              <a:gd name="T80" fmla="*/ 27395 w 47033"/>
              <a:gd name="T81" fmla="*/ 10806 h 11985"/>
              <a:gd name="T82" fmla="*/ 32640 w 47033"/>
              <a:gd name="T83" fmla="*/ 8287 h 11985"/>
              <a:gd name="T84" fmla="*/ 27502 w 47033"/>
              <a:gd name="T85" fmla="*/ 7515 h 11985"/>
              <a:gd name="T86" fmla="*/ 27098 w 47033"/>
              <a:gd name="T87" fmla="*/ 9798 h 11985"/>
              <a:gd name="T88" fmla="*/ 29175 w 47033"/>
              <a:gd name="T89" fmla="*/ 10517 h 11985"/>
              <a:gd name="T90" fmla="*/ 10571 w 47033"/>
              <a:gd name="T91" fmla="*/ 8701 h 11985"/>
              <a:gd name="T92" fmla="*/ 11747 w 47033"/>
              <a:gd name="T93" fmla="*/ 10504 h 11985"/>
              <a:gd name="T94" fmla="*/ 13930 w 47033"/>
              <a:gd name="T95" fmla="*/ 7750 h 11985"/>
              <a:gd name="T96" fmla="*/ 9092 w 47033"/>
              <a:gd name="T97" fmla="*/ 6932 h 11985"/>
              <a:gd name="T98" fmla="*/ 14042 w 47033"/>
              <a:gd name="T99" fmla="*/ 11983 h 11985"/>
              <a:gd name="T100" fmla="*/ 19265 w 47033"/>
              <a:gd name="T101" fmla="*/ 3897 h 11985"/>
              <a:gd name="T102" fmla="*/ 17435 w 47033"/>
              <a:gd name="T103" fmla="*/ 135 h 11985"/>
              <a:gd name="T104" fmla="*/ 22053 w 47033"/>
              <a:gd name="T105" fmla="*/ 1321 h 11985"/>
              <a:gd name="T106" fmla="*/ 20620 w 47033"/>
              <a:gd name="T107" fmla="*/ 1477 h 11985"/>
              <a:gd name="T108" fmla="*/ 21169 w 47033"/>
              <a:gd name="T109" fmla="*/ 2024 h 11985"/>
              <a:gd name="T110" fmla="*/ 21896 w 47033"/>
              <a:gd name="T111" fmla="*/ 5712 h 11985"/>
              <a:gd name="T112" fmla="*/ 6283 w 47033"/>
              <a:gd name="T113" fmla="*/ 6427 h 11985"/>
              <a:gd name="T114" fmla="*/ 7850 w 47033"/>
              <a:gd name="T115" fmla="*/ 9168 h 11985"/>
              <a:gd name="T116" fmla="*/ 6518 w 47033"/>
              <a:gd name="T117" fmla="*/ 11748 h 11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033" h="11985">
                <a:moveTo>
                  <a:pt x="3646" y="7701"/>
                </a:moveTo>
                <a:cubicBezTo>
                  <a:pt x="3911" y="7772"/>
                  <a:pt x="4140" y="7863"/>
                  <a:pt x="4335" y="7976"/>
                </a:cubicBezTo>
                <a:cubicBezTo>
                  <a:pt x="4432" y="8036"/>
                  <a:pt x="4505" y="8073"/>
                  <a:pt x="4553" y="8088"/>
                </a:cubicBezTo>
                <a:cubicBezTo>
                  <a:pt x="4602" y="8103"/>
                  <a:pt x="4656" y="8110"/>
                  <a:pt x="4716" y="8110"/>
                </a:cubicBezTo>
                <a:cubicBezTo>
                  <a:pt x="4850" y="8110"/>
                  <a:pt x="4992" y="8036"/>
                  <a:pt x="5141" y="7886"/>
                </a:cubicBezTo>
                <a:cubicBezTo>
                  <a:pt x="5712" y="7292"/>
                  <a:pt x="5712" y="7292"/>
                  <a:pt x="5712" y="7292"/>
                </a:cubicBezTo>
                <a:cubicBezTo>
                  <a:pt x="5735" y="7270"/>
                  <a:pt x="5746" y="7244"/>
                  <a:pt x="5746" y="7214"/>
                </a:cubicBezTo>
                <a:cubicBezTo>
                  <a:pt x="5746" y="7177"/>
                  <a:pt x="5723" y="7136"/>
                  <a:pt x="5679" y="7091"/>
                </a:cubicBezTo>
                <a:cubicBezTo>
                  <a:pt x="5358" y="6800"/>
                  <a:pt x="4942" y="6572"/>
                  <a:pt x="4430" y="6408"/>
                </a:cubicBezTo>
                <a:cubicBezTo>
                  <a:pt x="3919" y="6244"/>
                  <a:pt x="3379" y="6162"/>
                  <a:pt x="2812" y="6162"/>
                </a:cubicBezTo>
                <a:cubicBezTo>
                  <a:pt x="2460" y="6162"/>
                  <a:pt x="2127" y="6194"/>
                  <a:pt x="1809" y="6262"/>
                </a:cubicBezTo>
                <a:cubicBezTo>
                  <a:pt x="1492" y="6329"/>
                  <a:pt x="1210" y="6434"/>
                  <a:pt x="964" y="6576"/>
                </a:cubicBezTo>
                <a:cubicBezTo>
                  <a:pt x="717" y="6718"/>
                  <a:pt x="521" y="6903"/>
                  <a:pt x="376" y="7130"/>
                </a:cubicBezTo>
                <a:cubicBezTo>
                  <a:pt x="230" y="7358"/>
                  <a:pt x="157" y="7632"/>
                  <a:pt x="157" y="7953"/>
                </a:cubicBezTo>
                <a:cubicBezTo>
                  <a:pt x="157" y="8237"/>
                  <a:pt x="220" y="8479"/>
                  <a:pt x="348" y="8682"/>
                </a:cubicBezTo>
                <a:cubicBezTo>
                  <a:pt x="475" y="8883"/>
                  <a:pt x="650" y="9054"/>
                  <a:pt x="873" y="9196"/>
                </a:cubicBezTo>
                <a:cubicBezTo>
                  <a:pt x="1098" y="9338"/>
                  <a:pt x="1363" y="9452"/>
                  <a:pt x="1669" y="9538"/>
                </a:cubicBezTo>
                <a:cubicBezTo>
                  <a:pt x="1975" y="9624"/>
                  <a:pt x="2307" y="9693"/>
                  <a:pt x="2666" y="9745"/>
                </a:cubicBezTo>
                <a:cubicBezTo>
                  <a:pt x="2927" y="9783"/>
                  <a:pt x="3140" y="9818"/>
                  <a:pt x="3304" y="9852"/>
                </a:cubicBezTo>
                <a:cubicBezTo>
                  <a:pt x="3469" y="9885"/>
                  <a:pt x="3599" y="9919"/>
                  <a:pt x="3696" y="9952"/>
                </a:cubicBezTo>
                <a:cubicBezTo>
                  <a:pt x="3793" y="9986"/>
                  <a:pt x="3859" y="10023"/>
                  <a:pt x="3892" y="10065"/>
                </a:cubicBezTo>
                <a:cubicBezTo>
                  <a:pt x="3926" y="10105"/>
                  <a:pt x="3943" y="10156"/>
                  <a:pt x="3943" y="10216"/>
                </a:cubicBezTo>
                <a:cubicBezTo>
                  <a:pt x="3943" y="10335"/>
                  <a:pt x="3870" y="10419"/>
                  <a:pt x="3724" y="10468"/>
                </a:cubicBezTo>
                <a:cubicBezTo>
                  <a:pt x="3579" y="10516"/>
                  <a:pt x="3386" y="10541"/>
                  <a:pt x="3148" y="10541"/>
                </a:cubicBezTo>
                <a:cubicBezTo>
                  <a:pt x="2752" y="10541"/>
                  <a:pt x="2416" y="10507"/>
                  <a:pt x="2139" y="10440"/>
                </a:cubicBezTo>
                <a:cubicBezTo>
                  <a:pt x="1863" y="10372"/>
                  <a:pt x="1624" y="10279"/>
                  <a:pt x="1422" y="10160"/>
                </a:cubicBezTo>
                <a:cubicBezTo>
                  <a:pt x="1326" y="10100"/>
                  <a:pt x="1253" y="10063"/>
                  <a:pt x="1205" y="10048"/>
                </a:cubicBezTo>
                <a:cubicBezTo>
                  <a:pt x="1156" y="10033"/>
                  <a:pt x="1102" y="10025"/>
                  <a:pt x="1042" y="10025"/>
                </a:cubicBezTo>
                <a:cubicBezTo>
                  <a:pt x="907" y="10025"/>
                  <a:pt x="766" y="10100"/>
                  <a:pt x="616" y="10249"/>
                </a:cubicBezTo>
                <a:cubicBezTo>
                  <a:pt x="34" y="10854"/>
                  <a:pt x="34" y="10854"/>
                  <a:pt x="34" y="10854"/>
                </a:cubicBezTo>
                <a:cubicBezTo>
                  <a:pt x="11" y="10877"/>
                  <a:pt x="0" y="10903"/>
                  <a:pt x="0" y="10932"/>
                </a:cubicBezTo>
                <a:cubicBezTo>
                  <a:pt x="0" y="10970"/>
                  <a:pt x="23" y="11011"/>
                  <a:pt x="68" y="11056"/>
                </a:cubicBezTo>
                <a:cubicBezTo>
                  <a:pt x="210" y="11198"/>
                  <a:pt x="390" y="11327"/>
                  <a:pt x="611" y="11442"/>
                </a:cubicBezTo>
                <a:cubicBezTo>
                  <a:pt x="831" y="11558"/>
                  <a:pt x="1081" y="11655"/>
                  <a:pt x="1361" y="11733"/>
                </a:cubicBezTo>
                <a:cubicBezTo>
                  <a:pt x="1641" y="11812"/>
                  <a:pt x="1945" y="11873"/>
                  <a:pt x="2274" y="11918"/>
                </a:cubicBezTo>
                <a:cubicBezTo>
                  <a:pt x="2602" y="11963"/>
                  <a:pt x="2946" y="11985"/>
                  <a:pt x="3304" y="11985"/>
                </a:cubicBezTo>
                <a:cubicBezTo>
                  <a:pt x="5668" y="11985"/>
                  <a:pt x="5668" y="11985"/>
                  <a:pt x="5668" y="11985"/>
                </a:cubicBezTo>
                <a:cubicBezTo>
                  <a:pt x="5705" y="11985"/>
                  <a:pt x="5731" y="11970"/>
                  <a:pt x="5746" y="11941"/>
                </a:cubicBezTo>
                <a:cubicBezTo>
                  <a:pt x="5753" y="11926"/>
                  <a:pt x="5757" y="11907"/>
                  <a:pt x="5757" y="11884"/>
                </a:cubicBezTo>
                <a:cubicBezTo>
                  <a:pt x="5757" y="10574"/>
                  <a:pt x="5757" y="10574"/>
                  <a:pt x="5757" y="10574"/>
                </a:cubicBezTo>
                <a:cubicBezTo>
                  <a:pt x="5757" y="10193"/>
                  <a:pt x="5712" y="9878"/>
                  <a:pt x="5623" y="9628"/>
                </a:cubicBezTo>
                <a:cubicBezTo>
                  <a:pt x="5534" y="9378"/>
                  <a:pt x="5406" y="9174"/>
                  <a:pt x="5242" y="9018"/>
                </a:cubicBezTo>
                <a:cubicBezTo>
                  <a:pt x="5078" y="8860"/>
                  <a:pt x="4878" y="8741"/>
                  <a:pt x="4643" y="8659"/>
                </a:cubicBezTo>
                <a:cubicBezTo>
                  <a:pt x="4408" y="8577"/>
                  <a:pt x="4144" y="8513"/>
                  <a:pt x="3853" y="8469"/>
                </a:cubicBezTo>
                <a:cubicBezTo>
                  <a:pt x="3248" y="8379"/>
                  <a:pt x="2770" y="8297"/>
                  <a:pt x="2419" y="8222"/>
                </a:cubicBezTo>
                <a:cubicBezTo>
                  <a:pt x="2069" y="8147"/>
                  <a:pt x="1893" y="8039"/>
                  <a:pt x="1893" y="7897"/>
                </a:cubicBezTo>
                <a:cubicBezTo>
                  <a:pt x="1893" y="7696"/>
                  <a:pt x="2177" y="7595"/>
                  <a:pt x="2745" y="7595"/>
                </a:cubicBezTo>
                <a:cubicBezTo>
                  <a:pt x="3081" y="7595"/>
                  <a:pt x="3381" y="7630"/>
                  <a:pt x="3646" y="7701"/>
                </a:cubicBezTo>
                <a:close/>
                <a:moveTo>
                  <a:pt x="12027" y="840"/>
                </a:moveTo>
                <a:cubicBezTo>
                  <a:pt x="12027" y="376"/>
                  <a:pt x="11651" y="0"/>
                  <a:pt x="11187" y="0"/>
                </a:cubicBezTo>
                <a:cubicBezTo>
                  <a:pt x="10297" y="0"/>
                  <a:pt x="10297" y="0"/>
                  <a:pt x="10297" y="0"/>
                </a:cubicBezTo>
                <a:cubicBezTo>
                  <a:pt x="10253" y="1"/>
                  <a:pt x="10213" y="18"/>
                  <a:pt x="10183" y="46"/>
                </a:cubicBezTo>
                <a:cubicBezTo>
                  <a:pt x="8399" y="1721"/>
                  <a:pt x="8399" y="1721"/>
                  <a:pt x="8399" y="1721"/>
                </a:cubicBezTo>
                <a:cubicBezTo>
                  <a:pt x="7789" y="2294"/>
                  <a:pt x="6967" y="2617"/>
                  <a:pt x="6063" y="2617"/>
                </a:cubicBezTo>
                <a:cubicBezTo>
                  <a:pt x="5121" y="2617"/>
                  <a:pt x="4269" y="2265"/>
                  <a:pt x="3651" y="1648"/>
                </a:cubicBezTo>
                <a:cubicBezTo>
                  <a:pt x="3651" y="1648"/>
                  <a:pt x="2340" y="416"/>
                  <a:pt x="2328" y="405"/>
                </a:cubicBezTo>
                <a:cubicBezTo>
                  <a:pt x="2077" y="171"/>
                  <a:pt x="1730" y="9"/>
                  <a:pt x="1332" y="0"/>
                </a:cubicBezTo>
                <a:cubicBezTo>
                  <a:pt x="267" y="0"/>
                  <a:pt x="267" y="0"/>
                  <a:pt x="267" y="0"/>
                </a:cubicBezTo>
                <a:cubicBezTo>
                  <a:pt x="175" y="0"/>
                  <a:pt x="99" y="76"/>
                  <a:pt x="99" y="168"/>
                </a:cubicBezTo>
                <a:cubicBezTo>
                  <a:pt x="99" y="4872"/>
                  <a:pt x="99" y="4872"/>
                  <a:pt x="99" y="4872"/>
                </a:cubicBezTo>
                <a:cubicBezTo>
                  <a:pt x="99" y="5336"/>
                  <a:pt x="475" y="5712"/>
                  <a:pt x="939" y="5712"/>
                </a:cubicBezTo>
                <a:cubicBezTo>
                  <a:pt x="1264" y="5712"/>
                  <a:pt x="1264" y="5712"/>
                  <a:pt x="1264" y="5712"/>
                </a:cubicBezTo>
                <a:cubicBezTo>
                  <a:pt x="1484" y="5712"/>
                  <a:pt x="1484" y="5712"/>
                  <a:pt x="1484" y="5712"/>
                </a:cubicBezTo>
                <a:cubicBezTo>
                  <a:pt x="1577" y="5712"/>
                  <a:pt x="1653" y="5636"/>
                  <a:pt x="1653" y="5543"/>
                </a:cubicBezTo>
                <a:cubicBezTo>
                  <a:pt x="1653" y="3869"/>
                  <a:pt x="1653" y="3869"/>
                  <a:pt x="1653" y="3869"/>
                </a:cubicBezTo>
                <a:cubicBezTo>
                  <a:pt x="1653" y="3432"/>
                  <a:pt x="2010" y="3071"/>
                  <a:pt x="2441" y="3071"/>
                </a:cubicBezTo>
                <a:cubicBezTo>
                  <a:pt x="3242" y="3071"/>
                  <a:pt x="3816" y="3757"/>
                  <a:pt x="4335" y="4216"/>
                </a:cubicBezTo>
                <a:cubicBezTo>
                  <a:pt x="4971" y="4777"/>
                  <a:pt x="5461" y="5318"/>
                  <a:pt x="6063" y="5318"/>
                </a:cubicBezTo>
                <a:cubicBezTo>
                  <a:pt x="6665" y="5318"/>
                  <a:pt x="7155" y="4777"/>
                  <a:pt x="7791" y="4216"/>
                </a:cubicBezTo>
                <a:cubicBezTo>
                  <a:pt x="8310" y="3757"/>
                  <a:pt x="8884" y="3071"/>
                  <a:pt x="9685" y="3071"/>
                </a:cubicBezTo>
                <a:cubicBezTo>
                  <a:pt x="10113" y="3071"/>
                  <a:pt x="10469" y="3428"/>
                  <a:pt x="10473" y="3862"/>
                </a:cubicBezTo>
                <a:cubicBezTo>
                  <a:pt x="10473" y="3862"/>
                  <a:pt x="10473" y="4865"/>
                  <a:pt x="10473" y="4872"/>
                </a:cubicBezTo>
                <a:cubicBezTo>
                  <a:pt x="10473" y="5336"/>
                  <a:pt x="10849" y="5711"/>
                  <a:pt x="11313" y="5711"/>
                </a:cubicBezTo>
                <a:cubicBezTo>
                  <a:pt x="11313" y="5711"/>
                  <a:pt x="11662" y="5711"/>
                  <a:pt x="11676" y="5711"/>
                </a:cubicBezTo>
                <a:cubicBezTo>
                  <a:pt x="11770" y="5711"/>
                  <a:pt x="11858" y="5712"/>
                  <a:pt x="11858" y="5712"/>
                </a:cubicBezTo>
                <a:cubicBezTo>
                  <a:pt x="11858" y="5712"/>
                  <a:pt x="11858" y="5712"/>
                  <a:pt x="11858" y="5712"/>
                </a:cubicBezTo>
                <a:cubicBezTo>
                  <a:pt x="11951" y="5712"/>
                  <a:pt x="12027" y="5636"/>
                  <a:pt x="12027" y="5543"/>
                </a:cubicBezTo>
                <a:cubicBezTo>
                  <a:pt x="12027" y="5541"/>
                  <a:pt x="12027" y="880"/>
                  <a:pt x="12027" y="840"/>
                </a:cubicBezTo>
                <a:close/>
                <a:moveTo>
                  <a:pt x="41328" y="5154"/>
                </a:moveTo>
                <a:cubicBezTo>
                  <a:pt x="41328" y="5550"/>
                  <a:pt x="41328" y="5550"/>
                  <a:pt x="41328" y="5550"/>
                </a:cubicBezTo>
                <a:cubicBezTo>
                  <a:pt x="41328" y="5655"/>
                  <a:pt x="41284" y="5713"/>
                  <a:pt x="41196" y="5713"/>
                </a:cubicBezTo>
                <a:cubicBezTo>
                  <a:pt x="39953" y="5711"/>
                  <a:pt x="39953" y="5711"/>
                  <a:pt x="39953" y="5711"/>
                </a:cubicBezTo>
                <a:cubicBezTo>
                  <a:pt x="39741" y="5711"/>
                  <a:pt x="39544" y="5637"/>
                  <a:pt x="39361" y="5504"/>
                </a:cubicBezTo>
                <a:cubicBezTo>
                  <a:pt x="39361" y="5504"/>
                  <a:pt x="37482" y="4022"/>
                  <a:pt x="37476" y="4017"/>
                </a:cubicBezTo>
                <a:cubicBezTo>
                  <a:pt x="37350" y="3905"/>
                  <a:pt x="37266" y="3719"/>
                  <a:pt x="37266" y="3508"/>
                </a:cubicBezTo>
                <a:cubicBezTo>
                  <a:pt x="37266" y="3508"/>
                  <a:pt x="37266" y="2897"/>
                  <a:pt x="37266" y="2897"/>
                </a:cubicBezTo>
                <a:cubicBezTo>
                  <a:pt x="37266" y="2793"/>
                  <a:pt x="37298" y="2741"/>
                  <a:pt x="37364" y="2741"/>
                </a:cubicBezTo>
                <a:cubicBezTo>
                  <a:pt x="37430" y="2741"/>
                  <a:pt x="37520" y="2784"/>
                  <a:pt x="37565" y="2798"/>
                </a:cubicBezTo>
                <a:cubicBezTo>
                  <a:pt x="37662" y="2833"/>
                  <a:pt x="37784" y="2866"/>
                  <a:pt x="37791" y="2868"/>
                </a:cubicBezTo>
                <a:cubicBezTo>
                  <a:pt x="37986" y="2930"/>
                  <a:pt x="38177" y="2963"/>
                  <a:pt x="38363" y="2963"/>
                </a:cubicBezTo>
                <a:cubicBezTo>
                  <a:pt x="38752" y="2963"/>
                  <a:pt x="39062" y="2790"/>
                  <a:pt x="39160" y="2513"/>
                </a:cubicBezTo>
                <a:cubicBezTo>
                  <a:pt x="39251" y="2257"/>
                  <a:pt x="38997" y="1663"/>
                  <a:pt x="38135" y="1445"/>
                </a:cubicBezTo>
                <a:cubicBezTo>
                  <a:pt x="37489" y="1282"/>
                  <a:pt x="36888" y="1408"/>
                  <a:pt x="36713" y="1731"/>
                </a:cubicBezTo>
                <a:cubicBezTo>
                  <a:pt x="36713" y="1731"/>
                  <a:pt x="36686" y="1781"/>
                  <a:pt x="36670" y="1833"/>
                </a:cubicBezTo>
                <a:cubicBezTo>
                  <a:pt x="36655" y="1883"/>
                  <a:pt x="36651" y="1958"/>
                  <a:pt x="36651" y="1989"/>
                </a:cubicBezTo>
                <a:cubicBezTo>
                  <a:pt x="36651" y="1989"/>
                  <a:pt x="36651" y="4294"/>
                  <a:pt x="36651" y="4327"/>
                </a:cubicBezTo>
                <a:cubicBezTo>
                  <a:pt x="36651" y="4678"/>
                  <a:pt x="36597" y="5004"/>
                  <a:pt x="36379" y="5291"/>
                </a:cubicBezTo>
                <a:cubicBezTo>
                  <a:pt x="36254" y="5457"/>
                  <a:pt x="36086" y="5593"/>
                  <a:pt x="35890" y="5657"/>
                </a:cubicBezTo>
                <a:cubicBezTo>
                  <a:pt x="35762" y="5697"/>
                  <a:pt x="35622" y="5712"/>
                  <a:pt x="35492" y="5712"/>
                </a:cubicBezTo>
                <a:cubicBezTo>
                  <a:pt x="35401" y="5712"/>
                  <a:pt x="35241" y="5707"/>
                  <a:pt x="35169" y="5669"/>
                </a:cubicBezTo>
                <a:cubicBezTo>
                  <a:pt x="35115" y="5639"/>
                  <a:pt x="35115" y="5581"/>
                  <a:pt x="35115" y="5527"/>
                </a:cubicBezTo>
                <a:cubicBezTo>
                  <a:pt x="35115" y="5143"/>
                  <a:pt x="35115" y="5143"/>
                  <a:pt x="35115" y="5143"/>
                </a:cubicBezTo>
                <a:cubicBezTo>
                  <a:pt x="35115" y="4848"/>
                  <a:pt x="35115" y="4848"/>
                  <a:pt x="35115" y="4848"/>
                </a:cubicBezTo>
                <a:cubicBezTo>
                  <a:pt x="35115" y="3990"/>
                  <a:pt x="35115" y="3990"/>
                  <a:pt x="35115" y="3990"/>
                </a:cubicBezTo>
                <a:cubicBezTo>
                  <a:pt x="35115" y="3990"/>
                  <a:pt x="35115" y="134"/>
                  <a:pt x="35115" y="124"/>
                </a:cubicBezTo>
                <a:cubicBezTo>
                  <a:pt x="35115" y="56"/>
                  <a:pt x="35171" y="0"/>
                  <a:pt x="35239" y="0"/>
                </a:cubicBezTo>
                <a:cubicBezTo>
                  <a:pt x="35243" y="0"/>
                  <a:pt x="37546" y="0"/>
                  <a:pt x="37546" y="0"/>
                </a:cubicBezTo>
                <a:cubicBezTo>
                  <a:pt x="37926" y="0"/>
                  <a:pt x="38306" y="64"/>
                  <a:pt x="38697" y="195"/>
                </a:cubicBezTo>
                <a:cubicBezTo>
                  <a:pt x="39088" y="326"/>
                  <a:pt x="39442" y="502"/>
                  <a:pt x="39756" y="726"/>
                </a:cubicBezTo>
                <a:cubicBezTo>
                  <a:pt x="40071" y="950"/>
                  <a:pt x="40327" y="1213"/>
                  <a:pt x="40524" y="1515"/>
                </a:cubicBezTo>
                <a:cubicBezTo>
                  <a:pt x="40722" y="1817"/>
                  <a:pt x="40820" y="2140"/>
                  <a:pt x="40820" y="2483"/>
                </a:cubicBezTo>
                <a:cubicBezTo>
                  <a:pt x="40820" y="2848"/>
                  <a:pt x="40711" y="3140"/>
                  <a:pt x="40508" y="3372"/>
                </a:cubicBezTo>
                <a:cubicBezTo>
                  <a:pt x="40181" y="3746"/>
                  <a:pt x="39821" y="3890"/>
                  <a:pt x="39711" y="3960"/>
                </a:cubicBezTo>
                <a:cubicBezTo>
                  <a:pt x="39809" y="4037"/>
                  <a:pt x="40036" y="4217"/>
                  <a:pt x="40343" y="4460"/>
                </a:cubicBezTo>
                <a:cubicBezTo>
                  <a:pt x="40937" y="4930"/>
                  <a:pt x="41237" y="5013"/>
                  <a:pt x="41238" y="5013"/>
                </a:cubicBezTo>
                <a:cubicBezTo>
                  <a:pt x="41280" y="5030"/>
                  <a:pt x="41328" y="5093"/>
                  <a:pt x="41328" y="5154"/>
                </a:cubicBezTo>
                <a:close/>
                <a:moveTo>
                  <a:pt x="46158" y="4229"/>
                </a:moveTo>
                <a:cubicBezTo>
                  <a:pt x="44501" y="4229"/>
                  <a:pt x="44501" y="4229"/>
                  <a:pt x="44501" y="4229"/>
                </a:cubicBezTo>
                <a:cubicBezTo>
                  <a:pt x="44265" y="4229"/>
                  <a:pt x="44051" y="4167"/>
                  <a:pt x="43843" y="4078"/>
                </a:cubicBezTo>
                <a:cubicBezTo>
                  <a:pt x="43665" y="4002"/>
                  <a:pt x="43392" y="3765"/>
                  <a:pt x="43311" y="3675"/>
                </a:cubicBezTo>
                <a:cubicBezTo>
                  <a:pt x="43159" y="3507"/>
                  <a:pt x="43041" y="3313"/>
                  <a:pt x="42956" y="3093"/>
                </a:cubicBezTo>
                <a:cubicBezTo>
                  <a:pt x="42871" y="2874"/>
                  <a:pt x="42829" y="2648"/>
                  <a:pt x="42829" y="2417"/>
                </a:cubicBezTo>
                <a:cubicBezTo>
                  <a:pt x="42829" y="2119"/>
                  <a:pt x="42913" y="1887"/>
                  <a:pt x="43083" y="1723"/>
                </a:cubicBezTo>
                <a:cubicBezTo>
                  <a:pt x="43104" y="1703"/>
                  <a:pt x="43177" y="1643"/>
                  <a:pt x="43262" y="1593"/>
                </a:cubicBezTo>
                <a:cubicBezTo>
                  <a:pt x="43347" y="1543"/>
                  <a:pt x="43440" y="1518"/>
                  <a:pt x="43501" y="1505"/>
                </a:cubicBezTo>
                <a:cubicBezTo>
                  <a:pt x="43599" y="1481"/>
                  <a:pt x="43708" y="1468"/>
                  <a:pt x="43824" y="1468"/>
                </a:cubicBezTo>
                <a:cubicBezTo>
                  <a:pt x="43939" y="1468"/>
                  <a:pt x="44047" y="1481"/>
                  <a:pt x="44146" y="1504"/>
                </a:cubicBezTo>
                <a:cubicBezTo>
                  <a:pt x="44332" y="1541"/>
                  <a:pt x="44515" y="1615"/>
                  <a:pt x="44695" y="1729"/>
                </a:cubicBezTo>
                <a:cubicBezTo>
                  <a:pt x="44953" y="1892"/>
                  <a:pt x="45227" y="2141"/>
                  <a:pt x="45410" y="2381"/>
                </a:cubicBezTo>
                <a:cubicBezTo>
                  <a:pt x="43687" y="2380"/>
                  <a:pt x="43687" y="2380"/>
                  <a:pt x="43687" y="2380"/>
                </a:cubicBezTo>
                <a:cubicBezTo>
                  <a:pt x="43583" y="2380"/>
                  <a:pt x="43532" y="2426"/>
                  <a:pt x="43532" y="2515"/>
                </a:cubicBezTo>
                <a:cubicBezTo>
                  <a:pt x="43532" y="2694"/>
                  <a:pt x="43559" y="2809"/>
                  <a:pt x="43629" y="2954"/>
                </a:cubicBezTo>
                <a:cubicBezTo>
                  <a:pt x="43699" y="3099"/>
                  <a:pt x="44031" y="3605"/>
                  <a:pt x="44709" y="3605"/>
                </a:cubicBezTo>
                <a:cubicBezTo>
                  <a:pt x="46313" y="3606"/>
                  <a:pt x="46313" y="3606"/>
                  <a:pt x="46313" y="3606"/>
                </a:cubicBezTo>
                <a:cubicBezTo>
                  <a:pt x="46594" y="3606"/>
                  <a:pt x="46788" y="3532"/>
                  <a:pt x="46895" y="3382"/>
                </a:cubicBezTo>
                <a:cubicBezTo>
                  <a:pt x="47002" y="3234"/>
                  <a:pt x="47033" y="3105"/>
                  <a:pt x="47033" y="2904"/>
                </a:cubicBezTo>
                <a:cubicBezTo>
                  <a:pt x="47033" y="2576"/>
                  <a:pt x="46946" y="2254"/>
                  <a:pt x="46773" y="1908"/>
                </a:cubicBezTo>
                <a:cubicBezTo>
                  <a:pt x="46599" y="1561"/>
                  <a:pt x="46364" y="1246"/>
                  <a:pt x="46069" y="962"/>
                </a:cubicBezTo>
                <a:cubicBezTo>
                  <a:pt x="45774" y="679"/>
                  <a:pt x="45430" y="448"/>
                  <a:pt x="45039" y="269"/>
                </a:cubicBezTo>
                <a:cubicBezTo>
                  <a:pt x="44647" y="90"/>
                  <a:pt x="44237" y="0"/>
                  <a:pt x="43809" y="0"/>
                </a:cubicBezTo>
                <a:cubicBezTo>
                  <a:pt x="43809" y="0"/>
                  <a:pt x="41455" y="0"/>
                  <a:pt x="41452" y="0"/>
                </a:cubicBezTo>
                <a:cubicBezTo>
                  <a:pt x="41383" y="0"/>
                  <a:pt x="41328" y="56"/>
                  <a:pt x="41328" y="124"/>
                </a:cubicBezTo>
                <a:cubicBezTo>
                  <a:pt x="41328" y="134"/>
                  <a:pt x="41328" y="2473"/>
                  <a:pt x="41328" y="2473"/>
                </a:cubicBezTo>
                <a:cubicBezTo>
                  <a:pt x="41328" y="2913"/>
                  <a:pt x="41412" y="3328"/>
                  <a:pt x="41582" y="3720"/>
                </a:cubicBezTo>
                <a:cubicBezTo>
                  <a:pt x="41752" y="4112"/>
                  <a:pt x="41983" y="4455"/>
                  <a:pt x="42275" y="4749"/>
                </a:cubicBezTo>
                <a:cubicBezTo>
                  <a:pt x="42566" y="5044"/>
                  <a:pt x="42906" y="5277"/>
                  <a:pt x="43294" y="5448"/>
                </a:cubicBezTo>
                <a:cubicBezTo>
                  <a:pt x="43682" y="5620"/>
                  <a:pt x="44099" y="5712"/>
                  <a:pt x="44542" y="5712"/>
                </a:cubicBezTo>
                <a:cubicBezTo>
                  <a:pt x="46909" y="5712"/>
                  <a:pt x="46909" y="5712"/>
                  <a:pt x="46909" y="5712"/>
                </a:cubicBezTo>
                <a:cubicBezTo>
                  <a:pt x="46978" y="5712"/>
                  <a:pt x="47033" y="5657"/>
                  <a:pt x="47033" y="5588"/>
                </a:cubicBezTo>
                <a:cubicBezTo>
                  <a:pt x="47033" y="5113"/>
                  <a:pt x="47033" y="5113"/>
                  <a:pt x="47033" y="5113"/>
                </a:cubicBezTo>
                <a:cubicBezTo>
                  <a:pt x="47033" y="4837"/>
                  <a:pt x="46955" y="4621"/>
                  <a:pt x="46800" y="4464"/>
                </a:cubicBezTo>
                <a:cubicBezTo>
                  <a:pt x="46645" y="4307"/>
                  <a:pt x="46431" y="4229"/>
                  <a:pt x="46158" y="4229"/>
                </a:cubicBezTo>
                <a:close/>
                <a:moveTo>
                  <a:pt x="28986" y="0"/>
                </a:moveTo>
                <a:cubicBezTo>
                  <a:pt x="28896" y="0"/>
                  <a:pt x="28851" y="52"/>
                  <a:pt x="28851" y="157"/>
                </a:cubicBezTo>
                <a:cubicBezTo>
                  <a:pt x="28851" y="2476"/>
                  <a:pt x="28851" y="2476"/>
                  <a:pt x="28851" y="2476"/>
                </a:cubicBezTo>
                <a:cubicBezTo>
                  <a:pt x="28851" y="2923"/>
                  <a:pt x="28944" y="3349"/>
                  <a:pt x="29132" y="3752"/>
                </a:cubicBezTo>
                <a:cubicBezTo>
                  <a:pt x="29318" y="4155"/>
                  <a:pt x="29566" y="4512"/>
                  <a:pt x="29876" y="4822"/>
                </a:cubicBezTo>
                <a:cubicBezTo>
                  <a:pt x="30186" y="5131"/>
                  <a:pt x="30543" y="5376"/>
                  <a:pt x="30945" y="5555"/>
                </a:cubicBezTo>
                <a:cubicBezTo>
                  <a:pt x="31349" y="5735"/>
                  <a:pt x="31767" y="5824"/>
                  <a:pt x="32200" y="5824"/>
                </a:cubicBezTo>
                <a:cubicBezTo>
                  <a:pt x="32574" y="5824"/>
                  <a:pt x="32911" y="5765"/>
                  <a:pt x="33213" y="5644"/>
                </a:cubicBezTo>
                <a:cubicBezTo>
                  <a:pt x="33516" y="5525"/>
                  <a:pt x="33775" y="5358"/>
                  <a:pt x="33992" y="5141"/>
                </a:cubicBezTo>
                <a:cubicBezTo>
                  <a:pt x="34208" y="4924"/>
                  <a:pt x="34376" y="4665"/>
                  <a:pt x="34496" y="4363"/>
                </a:cubicBezTo>
                <a:cubicBezTo>
                  <a:pt x="34616" y="4060"/>
                  <a:pt x="34676" y="3722"/>
                  <a:pt x="34676" y="3349"/>
                </a:cubicBezTo>
                <a:cubicBezTo>
                  <a:pt x="34676" y="2901"/>
                  <a:pt x="34582" y="2476"/>
                  <a:pt x="34395" y="2072"/>
                </a:cubicBezTo>
                <a:cubicBezTo>
                  <a:pt x="34208" y="1669"/>
                  <a:pt x="33960" y="1312"/>
                  <a:pt x="33651" y="1003"/>
                </a:cubicBezTo>
                <a:cubicBezTo>
                  <a:pt x="33341" y="693"/>
                  <a:pt x="32984" y="448"/>
                  <a:pt x="32581" y="269"/>
                </a:cubicBezTo>
                <a:cubicBezTo>
                  <a:pt x="32178" y="90"/>
                  <a:pt x="31760" y="0"/>
                  <a:pt x="31327" y="0"/>
                </a:cubicBezTo>
                <a:lnTo>
                  <a:pt x="28986" y="0"/>
                </a:lnTo>
                <a:close/>
                <a:moveTo>
                  <a:pt x="30677" y="1748"/>
                </a:moveTo>
                <a:cubicBezTo>
                  <a:pt x="30849" y="1568"/>
                  <a:pt x="31069" y="1478"/>
                  <a:pt x="31338" y="1478"/>
                </a:cubicBezTo>
                <a:cubicBezTo>
                  <a:pt x="31547" y="1478"/>
                  <a:pt x="31756" y="1536"/>
                  <a:pt x="31965" y="1652"/>
                </a:cubicBezTo>
                <a:cubicBezTo>
                  <a:pt x="32174" y="1768"/>
                  <a:pt x="32363" y="1918"/>
                  <a:pt x="32531" y="2100"/>
                </a:cubicBezTo>
                <a:cubicBezTo>
                  <a:pt x="32698" y="2283"/>
                  <a:pt x="32836" y="2487"/>
                  <a:pt x="32945" y="2711"/>
                </a:cubicBezTo>
                <a:cubicBezTo>
                  <a:pt x="33053" y="2934"/>
                  <a:pt x="33107" y="3159"/>
                  <a:pt x="33107" y="3383"/>
                </a:cubicBezTo>
                <a:cubicBezTo>
                  <a:pt x="33107" y="3666"/>
                  <a:pt x="33023" y="3898"/>
                  <a:pt x="32855" y="4077"/>
                </a:cubicBezTo>
                <a:cubicBezTo>
                  <a:pt x="32687" y="4256"/>
                  <a:pt x="32465" y="4346"/>
                  <a:pt x="32189" y="4346"/>
                </a:cubicBezTo>
                <a:cubicBezTo>
                  <a:pt x="31980" y="4346"/>
                  <a:pt x="31771" y="4288"/>
                  <a:pt x="31562" y="4172"/>
                </a:cubicBezTo>
                <a:cubicBezTo>
                  <a:pt x="31352" y="4056"/>
                  <a:pt x="31165" y="3907"/>
                  <a:pt x="30997" y="3724"/>
                </a:cubicBezTo>
                <a:cubicBezTo>
                  <a:pt x="30829" y="3541"/>
                  <a:pt x="30690" y="3337"/>
                  <a:pt x="30582" y="3114"/>
                </a:cubicBezTo>
                <a:cubicBezTo>
                  <a:pt x="30473" y="2890"/>
                  <a:pt x="30420" y="2666"/>
                  <a:pt x="30420" y="2442"/>
                </a:cubicBezTo>
                <a:cubicBezTo>
                  <a:pt x="30420" y="2158"/>
                  <a:pt x="30505" y="1927"/>
                  <a:pt x="30677" y="1748"/>
                </a:cubicBezTo>
                <a:close/>
                <a:moveTo>
                  <a:pt x="26686" y="7111"/>
                </a:moveTo>
                <a:cubicBezTo>
                  <a:pt x="26686" y="6647"/>
                  <a:pt x="26310" y="6271"/>
                  <a:pt x="25846" y="6271"/>
                </a:cubicBezTo>
                <a:cubicBezTo>
                  <a:pt x="24957" y="6271"/>
                  <a:pt x="24957" y="6271"/>
                  <a:pt x="24957" y="6271"/>
                </a:cubicBezTo>
                <a:cubicBezTo>
                  <a:pt x="24912" y="6271"/>
                  <a:pt x="24872" y="6289"/>
                  <a:pt x="24842" y="6317"/>
                </a:cubicBezTo>
                <a:cubicBezTo>
                  <a:pt x="23059" y="7991"/>
                  <a:pt x="23059" y="7991"/>
                  <a:pt x="23059" y="7991"/>
                </a:cubicBezTo>
                <a:cubicBezTo>
                  <a:pt x="22448" y="8565"/>
                  <a:pt x="21626" y="8887"/>
                  <a:pt x="20722" y="8887"/>
                </a:cubicBezTo>
                <a:cubicBezTo>
                  <a:pt x="19781" y="8887"/>
                  <a:pt x="18928" y="8535"/>
                  <a:pt x="18311" y="7918"/>
                </a:cubicBezTo>
                <a:cubicBezTo>
                  <a:pt x="18311" y="7918"/>
                  <a:pt x="17000" y="6687"/>
                  <a:pt x="16988" y="6676"/>
                </a:cubicBezTo>
                <a:cubicBezTo>
                  <a:pt x="16736" y="6441"/>
                  <a:pt x="16390" y="6280"/>
                  <a:pt x="15991" y="6271"/>
                </a:cubicBezTo>
                <a:cubicBezTo>
                  <a:pt x="14927" y="6271"/>
                  <a:pt x="14927" y="6271"/>
                  <a:pt x="14927" y="6271"/>
                </a:cubicBezTo>
                <a:cubicBezTo>
                  <a:pt x="14834" y="6271"/>
                  <a:pt x="14759" y="6346"/>
                  <a:pt x="14759" y="6439"/>
                </a:cubicBezTo>
                <a:cubicBezTo>
                  <a:pt x="14759" y="11142"/>
                  <a:pt x="14759" y="11142"/>
                  <a:pt x="14759" y="11142"/>
                </a:cubicBezTo>
                <a:cubicBezTo>
                  <a:pt x="14759" y="11606"/>
                  <a:pt x="15135" y="11983"/>
                  <a:pt x="15599" y="11983"/>
                </a:cubicBezTo>
                <a:cubicBezTo>
                  <a:pt x="15924" y="11983"/>
                  <a:pt x="15924" y="11983"/>
                  <a:pt x="15924" y="11983"/>
                </a:cubicBezTo>
                <a:cubicBezTo>
                  <a:pt x="16144" y="11982"/>
                  <a:pt x="16144" y="11982"/>
                  <a:pt x="16144" y="11982"/>
                </a:cubicBezTo>
                <a:cubicBezTo>
                  <a:pt x="16236" y="11982"/>
                  <a:pt x="16312" y="11907"/>
                  <a:pt x="16312" y="11813"/>
                </a:cubicBezTo>
                <a:cubicBezTo>
                  <a:pt x="16313" y="10140"/>
                  <a:pt x="16313" y="10140"/>
                  <a:pt x="16313" y="10140"/>
                </a:cubicBezTo>
                <a:cubicBezTo>
                  <a:pt x="16313" y="9702"/>
                  <a:pt x="16670" y="9342"/>
                  <a:pt x="17100" y="9342"/>
                </a:cubicBezTo>
                <a:cubicBezTo>
                  <a:pt x="17901" y="9342"/>
                  <a:pt x="18476" y="10028"/>
                  <a:pt x="18995" y="10486"/>
                </a:cubicBezTo>
                <a:cubicBezTo>
                  <a:pt x="19630" y="11048"/>
                  <a:pt x="20120" y="11589"/>
                  <a:pt x="20722" y="11589"/>
                </a:cubicBezTo>
                <a:cubicBezTo>
                  <a:pt x="21325" y="11589"/>
                  <a:pt x="21814" y="11048"/>
                  <a:pt x="22450" y="10486"/>
                </a:cubicBezTo>
                <a:cubicBezTo>
                  <a:pt x="22969" y="10028"/>
                  <a:pt x="23544" y="9342"/>
                  <a:pt x="24345" y="9342"/>
                </a:cubicBezTo>
                <a:cubicBezTo>
                  <a:pt x="24773" y="9342"/>
                  <a:pt x="25128" y="9698"/>
                  <a:pt x="25132" y="10133"/>
                </a:cubicBezTo>
                <a:cubicBezTo>
                  <a:pt x="25132" y="10133"/>
                  <a:pt x="25132" y="11136"/>
                  <a:pt x="25132" y="11142"/>
                </a:cubicBezTo>
                <a:cubicBezTo>
                  <a:pt x="25132" y="11606"/>
                  <a:pt x="25508" y="11981"/>
                  <a:pt x="25972" y="11981"/>
                </a:cubicBezTo>
                <a:cubicBezTo>
                  <a:pt x="25972" y="11981"/>
                  <a:pt x="26321" y="11981"/>
                  <a:pt x="26335" y="11981"/>
                </a:cubicBezTo>
                <a:cubicBezTo>
                  <a:pt x="26430" y="11981"/>
                  <a:pt x="26517" y="11983"/>
                  <a:pt x="26517" y="11983"/>
                </a:cubicBezTo>
                <a:cubicBezTo>
                  <a:pt x="26517" y="11982"/>
                  <a:pt x="26517" y="11982"/>
                  <a:pt x="26517" y="11982"/>
                </a:cubicBezTo>
                <a:cubicBezTo>
                  <a:pt x="26611" y="11982"/>
                  <a:pt x="26686" y="11907"/>
                  <a:pt x="26686" y="11814"/>
                </a:cubicBezTo>
                <a:cubicBezTo>
                  <a:pt x="26686" y="11811"/>
                  <a:pt x="26686" y="7150"/>
                  <a:pt x="26686" y="7111"/>
                </a:cubicBezTo>
                <a:close/>
                <a:moveTo>
                  <a:pt x="14175" y="1321"/>
                </a:moveTo>
                <a:cubicBezTo>
                  <a:pt x="14175" y="884"/>
                  <a:pt x="14175" y="884"/>
                  <a:pt x="14175" y="884"/>
                </a:cubicBezTo>
                <a:cubicBezTo>
                  <a:pt x="14175" y="608"/>
                  <a:pt x="14097" y="392"/>
                  <a:pt x="13940" y="235"/>
                </a:cubicBezTo>
                <a:cubicBezTo>
                  <a:pt x="13783" y="78"/>
                  <a:pt x="13567" y="0"/>
                  <a:pt x="13290" y="0"/>
                </a:cubicBezTo>
                <a:cubicBezTo>
                  <a:pt x="12741" y="0"/>
                  <a:pt x="12741" y="0"/>
                  <a:pt x="12741" y="0"/>
                </a:cubicBezTo>
                <a:cubicBezTo>
                  <a:pt x="12652" y="0"/>
                  <a:pt x="12607" y="52"/>
                  <a:pt x="12607" y="157"/>
                </a:cubicBezTo>
                <a:cubicBezTo>
                  <a:pt x="12607" y="1321"/>
                  <a:pt x="12607" y="1321"/>
                  <a:pt x="12607" y="1321"/>
                </a:cubicBezTo>
                <a:cubicBezTo>
                  <a:pt x="12607" y="1425"/>
                  <a:pt x="12652" y="1477"/>
                  <a:pt x="12741" y="1477"/>
                </a:cubicBezTo>
                <a:cubicBezTo>
                  <a:pt x="14041" y="1477"/>
                  <a:pt x="14041" y="1477"/>
                  <a:pt x="14041" y="1477"/>
                </a:cubicBezTo>
                <a:cubicBezTo>
                  <a:pt x="14131" y="1477"/>
                  <a:pt x="14175" y="1425"/>
                  <a:pt x="14175" y="1321"/>
                </a:cubicBezTo>
                <a:moveTo>
                  <a:pt x="14175" y="5578"/>
                </a:moveTo>
                <a:cubicBezTo>
                  <a:pt x="14175" y="2897"/>
                  <a:pt x="14175" y="2897"/>
                  <a:pt x="14175" y="2897"/>
                </a:cubicBezTo>
                <a:cubicBezTo>
                  <a:pt x="14174" y="2897"/>
                  <a:pt x="14174" y="2897"/>
                  <a:pt x="14174" y="2897"/>
                </a:cubicBezTo>
                <a:cubicBezTo>
                  <a:pt x="14172" y="2626"/>
                  <a:pt x="14094" y="2414"/>
                  <a:pt x="13940" y="2259"/>
                </a:cubicBezTo>
                <a:cubicBezTo>
                  <a:pt x="13783" y="2102"/>
                  <a:pt x="13567" y="2024"/>
                  <a:pt x="13290" y="2024"/>
                </a:cubicBezTo>
                <a:cubicBezTo>
                  <a:pt x="12764" y="2024"/>
                  <a:pt x="12764" y="2024"/>
                  <a:pt x="12764" y="2024"/>
                </a:cubicBezTo>
                <a:cubicBezTo>
                  <a:pt x="12660" y="2024"/>
                  <a:pt x="12607" y="2068"/>
                  <a:pt x="12607" y="2158"/>
                </a:cubicBezTo>
                <a:cubicBezTo>
                  <a:pt x="12607" y="2897"/>
                  <a:pt x="12607" y="2897"/>
                  <a:pt x="12607" y="2897"/>
                </a:cubicBezTo>
                <a:cubicBezTo>
                  <a:pt x="12607" y="4827"/>
                  <a:pt x="12607" y="4827"/>
                  <a:pt x="12607" y="4827"/>
                </a:cubicBezTo>
                <a:cubicBezTo>
                  <a:pt x="12607" y="5104"/>
                  <a:pt x="12686" y="5321"/>
                  <a:pt x="12842" y="5477"/>
                </a:cubicBezTo>
                <a:cubicBezTo>
                  <a:pt x="12999" y="5634"/>
                  <a:pt x="13216" y="5712"/>
                  <a:pt x="13492" y="5712"/>
                </a:cubicBezTo>
                <a:cubicBezTo>
                  <a:pt x="14018" y="5712"/>
                  <a:pt x="14018" y="5712"/>
                  <a:pt x="14018" y="5712"/>
                </a:cubicBezTo>
                <a:cubicBezTo>
                  <a:pt x="14123" y="5712"/>
                  <a:pt x="14175" y="5668"/>
                  <a:pt x="14175" y="5578"/>
                </a:cubicBezTo>
                <a:moveTo>
                  <a:pt x="17332" y="5621"/>
                </a:moveTo>
                <a:cubicBezTo>
                  <a:pt x="17332" y="4412"/>
                  <a:pt x="17332" y="4412"/>
                  <a:pt x="17332" y="4412"/>
                </a:cubicBezTo>
                <a:cubicBezTo>
                  <a:pt x="17332" y="4359"/>
                  <a:pt x="17321" y="4326"/>
                  <a:pt x="17298" y="4311"/>
                </a:cubicBezTo>
                <a:cubicBezTo>
                  <a:pt x="17276" y="4296"/>
                  <a:pt x="17235" y="4281"/>
                  <a:pt x="17175" y="4265"/>
                </a:cubicBezTo>
                <a:cubicBezTo>
                  <a:pt x="17063" y="4244"/>
                  <a:pt x="16957" y="4199"/>
                  <a:pt x="16856" y="4131"/>
                </a:cubicBezTo>
                <a:cubicBezTo>
                  <a:pt x="16755" y="4065"/>
                  <a:pt x="16666" y="3986"/>
                  <a:pt x="16587" y="3897"/>
                </a:cubicBezTo>
                <a:cubicBezTo>
                  <a:pt x="16509" y="3807"/>
                  <a:pt x="16445" y="3708"/>
                  <a:pt x="16397" y="3600"/>
                </a:cubicBezTo>
                <a:cubicBezTo>
                  <a:pt x="16348" y="3492"/>
                  <a:pt x="16324" y="3382"/>
                  <a:pt x="16324" y="3269"/>
                </a:cubicBezTo>
                <a:cubicBezTo>
                  <a:pt x="16324" y="885"/>
                  <a:pt x="16324" y="885"/>
                  <a:pt x="16324" y="885"/>
                </a:cubicBezTo>
                <a:cubicBezTo>
                  <a:pt x="16324" y="609"/>
                  <a:pt x="16246" y="392"/>
                  <a:pt x="16089" y="236"/>
                </a:cubicBezTo>
                <a:cubicBezTo>
                  <a:pt x="15932" y="78"/>
                  <a:pt x="15715" y="0"/>
                  <a:pt x="15440" y="0"/>
                </a:cubicBezTo>
                <a:cubicBezTo>
                  <a:pt x="14913" y="0"/>
                  <a:pt x="14913" y="0"/>
                  <a:pt x="14913" y="0"/>
                </a:cubicBezTo>
                <a:cubicBezTo>
                  <a:pt x="14808" y="0"/>
                  <a:pt x="14757" y="45"/>
                  <a:pt x="14757" y="135"/>
                </a:cubicBezTo>
                <a:cubicBezTo>
                  <a:pt x="14757" y="3314"/>
                  <a:pt x="14757" y="3314"/>
                  <a:pt x="14757" y="3314"/>
                </a:cubicBezTo>
                <a:cubicBezTo>
                  <a:pt x="14757" y="3642"/>
                  <a:pt x="14822" y="3949"/>
                  <a:pt x="14952" y="4233"/>
                </a:cubicBezTo>
                <a:cubicBezTo>
                  <a:pt x="15083" y="4516"/>
                  <a:pt x="15258" y="4768"/>
                  <a:pt x="15479" y="4989"/>
                </a:cubicBezTo>
                <a:cubicBezTo>
                  <a:pt x="15698" y="5208"/>
                  <a:pt x="15955" y="5386"/>
                  <a:pt x="16246" y="5520"/>
                </a:cubicBezTo>
                <a:cubicBezTo>
                  <a:pt x="16537" y="5655"/>
                  <a:pt x="16847" y="5737"/>
                  <a:pt x="17175" y="5766"/>
                </a:cubicBezTo>
                <a:cubicBezTo>
                  <a:pt x="17280" y="5774"/>
                  <a:pt x="17332" y="5726"/>
                  <a:pt x="17332" y="5621"/>
                </a:cubicBezTo>
                <a:moveTo>
                  <a:pt x="26793" y="2823"/>
                </a:moveTo>
                <a:cubicBezTo>
                  <a:pt x="26793" y="3018"/>
                  <a:pt x="26716" y="3172"/>
                  <a:pt x="26563" y="3287"/>
                </a:cubicBezTo>
                <a:cubicBezTo>
                  <a:pt x="26410" y="3404"/>
                  <a:pt x="26206" y="3462"/>
                  <a:pt x="25953" y="3462"/>
                </a:cubicBezTo>
                <a:cubicBezTo>
                  <a:pt x="25736" y="3462"/>
                  <a:pt x="25525" y="3420"/>
                  <a:pt x="25320" y="3338"/>
                </a:cubicBezTo>
                <a:cubicBezTo>
                  <a:pt x="25114" y="3256"/>
                  <a:pt x="24928" y="3152"/>
                  <a:pt x="24760" y="3025"/>
                </a:cubicBezTo>
                <a:cubicBezTo>
                  <a:pt x="24592" y="2898"/>
                  <a:pt x="24458" y="2752"/>
                  <a:pt x="24357" y="2588"/>
                </a:cubicBezTo>
                <a:cubicBezTo>
                  <a:pt x="24256" y="2423"/>
                  <a:pt x="24206" y="2264"/>
                  <a:pt x="24206" y="2106"/>
                </a:cubicBezTo>
                <a:cubicBezTo>
                  <a:pt x="24206" y="1890"/>
                  <a:pt x="24292" y="1730"/>
                  <a:pt x="24463" y="1625"/>
                </a:cubicBezTo>
                <a:cubicBezTo>
                  <a:pt x="24635" y="1520"/>
                  <a:pt x="24829" y="1468"/>
                  <a:pt x="25046" y="1468"/>
                </a:cubicBezTo>
                <a:cubicBezTo>
                  <a:pt x="25262" y="1468"/>
                  <a:pt x="25475" y="1510"/>
                  <a:pt x="25684" y="1591"/>
                </a:cubicBezTo>
                <a:cubicBezTo>
                  <a:pt x="25893" y="1674"/>
                  <a:pt x="26079" y="1780"/>
                  <a:pt x="26244" y="1910"/>
                </a:cubicBezTo>
                <a:cubicBezTo>
                  <a:pt x="26408" y="2041"/>
                  <a:pt x="26541" y="2187"/>
                  <a:pt x="26642" y="2347"/>
                </a:cubicBezTo>
                <a:cubicBezTo>
                  <a:pt x="26742" y="2508"/>
                  <a:pt x="26793" y="2666"/>
                  <a:pt x="26793" y="2823"/>
                </a:cubicBezTo>
                <a:moveTo>
                  <a:pt x="28231" y="3691"/>
                </a:moveTo>
                <a:cubicBezTo>
                  <a:pt x="28347" y="3434"/>
                  <a:pt x="28405" y="3148"/>
                  <a:pt x="28405" y="2834"/>
                </a:cubicBezTo>
                <a:cubicBezTo>
                  <a:pt x="28405" y="2453"/>
                  <a:pt x="28313" y="2094"/>
                  <a:pt x="28131" y="1754"/>
                </a:cubicBezTo>
                <a:cubicBezTo>
                  <a:pt x="27948" y="1414"/>
                  <a:pt x="27701" y="1113"/>
                  <a:pt x="27391" y="853"/>
                </a:cubicBezTo>
                <a:cubicBezTo>
                  <a:pt x="27081" y="591"/>
                  <a:pt x="26727" y="384"/>
                  <a:pt x="26328" y="231"/>
                </a:cubicBezTo>
                <a:cubicBezTo>
                  <a:pt x="25929" y="78"/>
                  <a:pt x="25516" y="1"/>
                  <a:pt x="25090" y="1"/>
                </a:cubicBezTo>
                <a:cubicBezTo>
                  <a:pt x="22772" y="1"/>
                  <a:pt x="22772" y="1"/>
                  <a:pt x="22772" y="1"/>
                </a:cubicBezTo>
                <a:cubicBezTo>
                  <a:pt x="22683" y="1"/>
                  <a:pt x="22638" y="46"/>
                  <a:pt x="22638" y="136"/>
                </a:cubicBezTo>
                <a:cubicBezTo>
                  <a:pt x="22638" y="4827"/>
                  <a:pt x="22638" y="4827"/>
                  <a:pt x="22638" y="4827"/>
                </a:cubicBezTo>
                <a:cubicBezTo>
                  <a:pt x="22638" y="5104"/>
                  <a:pt x="22717" y="5321"/>
                  <a:pt x="22873" y="5477"/>
                </a:cubicBezTo>
                <a:cubicBezTo>
                  <a:pt x="23030" y="5634"/>
                  <a:pt x="23247" y="5712"/>
                  <a:pt x="23523" y="5712"/>
                </a:cubicBezTo>
                <a:cubicBezTo>
                  <a:pt x="24072" y="5712"/>
                  <a:pt x="24072" y="5712"/>
                  <a:pt x="24072" y="5712"/>
                </a:cubicBezTo>
                <a:cubicBezTo>
                  <a:pt x="24161" y="5712"/>
                  <a:pt x="24206" y="5660"/>
                  <a:pt x="24206" y="5555"/>
                </a:cubicBezTo>
                <a:cubicBezTo>
                  <a:pt x="24206" y="4279"/>
                  <a:pt x="24206" y="4279"/>
                  <a:pt x="24206" y="4279"/>
                </a:cubicBezTo>
                <a:cubicBezTo>
                  <a:pt x="24467" y="4488"/>
                  <a:pt x="24749" y="4648"/>
                  <a:pt x="25051" y="4760"/>
                </a:cubicBezTo>
                <a:cubicBezTo>
                  <a:pt x="25353" y="4873"/>
                  <a:pt x="25673" y="4928"/>
                  <a:pt x="26009" y="4928"/>
                </a:cubicBezTo>
                <a:cubicBezTo>
                  <a:pt x="26368" y="4928"/>
                  <a:pt x="26693" y="4878"/>
                  <a:pt x="26989" y="4777"/>
                </a:cubicBezTo>
                <a:cubicBezTo>
                  <a:pt x="27283" y="4677"/>
                  <a:pt x="27535" y="4535"/>
                  <a:pt x="27745" y="4351"/>
                </a:cubicBezTo>
                <a:cubicBezTo>
                  <a:pt x="27953" y="4168"/>
                  <a:pt x="28115" y="3949"/>
                  <a:pt x="28231" y="3691"/>
                </a:cubicBezTo>
                <a:moveTo>
                  <a:pt x="27098" y="9798"/>
                </a:moveTo>
                <a:cubicBezTo>
                  <a:pt x="27098" y="10195"/>
                  <a:pt x="27197" y="10530"/>
                  <a:pt x="27395" y="10806"/>
                </a:cubicBezTo>
                <a:cubicBezTo>
                  <a:pt x="27592" y="11083"/>
                  <a:pt x="27849" y="11309"/>
                  <a:pt x="28162" y="11484"/>
                </a:cubicBezTo>
                <a:cubicBezTo>
                  <a:pt x="28475" y="11659"/>
                  <a:pt x="28821" y="11786"/>
                  <a:pt x="29198" y="11865"/>
                </a:cubicBezTo>
                <a:cubicBezTo>
                  <a:pt x="29575" y="11943"/>
                  <a:pt x="29943" y="11983"/>
                  <a:pt x="30300" y="11983"/>
                </a:cubicBezTo>
                <a:cubicBezTo>
                  <a:pt x="32731" y="11983"/>
                  <a:pt x="32731" y="11983"/>
                  <a:pt x="32731" y="11983"/>
                </a:cubicBezTo>
                <a:cubicBezTo>
                  <a:pt x="32819" y="11983"/>
                  <a:pt x="32865" y="11930"/>
                  <a:pt x="32865" y="11825"/>
                </a:cubicBezTo>
                <a:cubicBezTo>
                  <a:pt x="32865" y="9575"/>
                  <a:pt x="32865" y="9575"/>
                  <a:pt x="32865" y="9575"/>
                </a:cubicBezTo>
                <a:cubicBezTo>
                  <a:pt x="32865" y="9119"/>
                  <a:pt x="32790" y="8690"/>
                  <a:pt x="32640" y="8287"/>
                </a:cubicBezTo>
                <a:cubicBezTo>
                  <a:pt x="32491" y="7884"/>
                  <a:pt x="32277" y="7534"/>
                  <a:pt x="31997" y="7234"/>
                </a:cubicBezTo>
                <a:cubicBezTo>
                  <a:pt x="31717" y="6936"/>
                  <a:pt x="31377" y="6701"/>
                  <a:pt x="30978" y="6529"/>
                </a:cubicBezTo>
                <a:cubicBezTo>
                  <a:pt x="30578" y="6357"/>
                  <a:pt x="30125" y="6271"/>
                  <a:pt x="29617" y="6271"/>
                </a:cubicBezTo>
                <a:cubicBezTo>
                  <a:pt x="27423" y="6271"/>
                  <a:pt x="27423" y="6271"/>
                  <a:pt x="27423" y="6271"/>
                </a:cubicBezTo>
                <a:cubicBezTo>
                  <a:pt x="27318" y="6271"/>
                  <a:pt x="27266" y="6316"/>
                  <a:pt x="27266" y="6405"/>
                </a:cubicBezTo>
                <a:cubicBezTo>
                  <a:pt x="27266" y="6865"/>
                  <a:pt x="27266" y="6865"/>
                  <a:pt x="27266" y="6865"/>
                </a:cubicBezTo>
                <a:cubicBezTo>
                  <a:pt x="27266" y="7141"/>
                  <a:pt x="27344" y="7358"/>
                  <a:pt x="27502" y="7515"/>
                </a:cubicBezTo>
                <a:cubicBezTo>
                  <a:pt x="27658" y="7671"/>
                  <a:pt x="27874" y="7750"/>
                  <a:pt x="28150" y="7750"/>
                </a:cubicBezTo>
                <a:cubicBezTo>
                  <a:pt x="29673" y="7750"/>
                  <a:pt x="29673" y="7750"/>
                  <a:pt x="29673" y="7750"/>
                </a:cubicBezTo>
                <a:cubicBezTo>
                  <a:pt x="29934" y="7750"/>
                  <a:pt x="30171" y="7805"/>
                  <a:pt x="30384" y="7917"/>
                </a:cubicBezTo>
                <a:cubicBezTo>
                  <a:pt x="30597" y="8030"/>
                  <a:pt x="30767" y="8175"/>
                  <a:pt x="30893" y="8354"/>
                </a:cubicBezTo>
                <a:cubicBezTo>
                  <a:pt x="29438" y="8354"/>
                  <a:pt x="29438" y="8354"/>
                  <a:pt x="29438" y="8354"/>
                </a:cubicBezTo>
                <a:cubicBezTo>
                  <a:pt x="28684" y="8354"/>
                  <a:pt x="28106" y="8478"/>
                  <a:pt x="27702" y="8724"/>
                </a:cubicBezTo>
                <a:cubicBezTo>
                  <a:pt x="27299" y="8970"/>
                  <a:pt x="27098" y="9328"/>
                  <a:pt x="27098" y="9798"/>
                </a:cubicBezTo>
                <a:moveTo>
                  <a:pt x="28822" y="10142"/>
                </a:moveTo>
                <a:cubicBezTo>
                  <a:pt x="28822" y="10031"/>
                  <a:pt x="28882" y="9953"/>
                  <a:pt x="29001" y="9908"/>
                </a:cubicBezTo>
                <a:cubicBezTo>
                  <a:pt x="29121" y="9863"/>
                  <a:pt x="29307" y="9840"/>
                  <a:pt x="29561" y="9840"/>
                </a:cubicBezTo>
                <a:cubicBezTo>
                  <a:pt x="31297" y="9840"/>
                  <a:pt x="31297" y="9840"/>
                  <a:pt x="31297" y="9840"/>
                </a:cubicBezTo>
                <a:cubicBezTo>
                  <a:pt x="31281" y="10131"/>
                  <a:pt x="31157" y="10342"/>
                  <a:pt x="30922" y="10473"/>
                </a:cubicBezTo>
                <a:cubicBezTo>
                  <a:pt x="30686" y="10604"/>
                  <a:pt x="30413" y="10669"/>
                  <a:pt x="30099" y="10669"/>
                </a:cubicBezTo>
                <a:cubicBezTo>
                  <a:pt x="29718" y="10669"/>
                  <a:pt x="29410" y="10619"/>
                  <a:pt x="29175" y="10517"/>
                </a:cubicBezTo>
                <a:cubicBezTo>
                  <a:pt x="28940" y="10417"/>
                  <a:pt x="28822" y="10292"/>
                  <a:pt x="28822" y="10142"/>
                </a:cubicBezTo>
                <a:moveTo>
                  <a:pt x="14199" y="11848"/>
                </a:moveTo>
                <a:cubicBezTo>
                  <a:pt x="14199" y="9451"/>
                  <a:pt x="14199" y="9451"/>
                  <a:pt x="14199" y="9451"/>
                </a:cubicBezTo>
                <a:cubicBezTo>
                  <a:pt x="14199" y="9175"/>
                  <a:pt x="14120" y="8959"/>
                  <a:pt x="13964" y="8802"/>
                </a:cubicBezTo>
                <a:cubicBezTo>
                  <a:pt x="13806" y="8646"/>
                  <a:pt x="13590" y="8567"/>
                  <a:pt x="13314" y="8567"/>
                </a:cubicBezTo>
                <a:cubicBezTo>
                  <a:pt x="10728" y="8567"/>
                  <a:pt x="10728" y="8567"/>
                  <a:pt x="10728" y="8567"/>
                </a:cubicBezTo>
                <a:cubicBezTo>
                  <a:pt x="10623" y="8567"/>
                  <a:pt x="10571" y="8612"/>
                  <a:pt x="10571" y="8701"/>
                </a:cubicBezTo>
                <a:cubicBezTo>
                  <a:pt x="10571" y="8880"/>
                  <a:pt x="10606" y="9043"/>
                  <a:pt x="10677" y="9188"/>
                </a:cubicBezTo>
                <a:cubicBezTo>
                  <a:pt x="10748" y="9333"/>
                  <a:pt x="10841" y="9459"/>
                  <a:pt x="10957" y="9563"/>
                </a:cubicBezTo>
                <a:cubicBezTo>
                  <a:pt x="11073" y="9669"/>
                  <a:pt x="11203" y="9748"/>
                  <a:pt x="11349" y="9804"/>
                </a:cubicBezTo>
                <a:cubicBezTo>
                  <a:pt x="11494" y="9860"/>
                  <a:pt x="11642" y="9889"/>
                  <a:pt x="11791" y="9889"/>
                </a:cubicBezTo>
                <a:cubicBezTo>
                  <a:pt x="12687" y="9889"/>
                  <a:pt x="12687" y="9889"/>
                  <a:pt x="12687" y="9889"/>
                </a:cubicBezTo>
                <a:cubicBezTo>
                  <a:pt x="12687" y="10504"/>
                  <a:pt x="12687" y="10504"/>
                  <a:pt x="12687" y="10504"/>
                </a:cubicBezTo>
                <a:cubicBezTo>
                  <a:pt x="11747" y="10504"/>
                  <a:pt x="11747" y="10504"/>
                  <a:pt x="11747" y="10504"/>
                </a:cubicBezTo>
                <a:cubicBezTo>
                  <a:pt x="11508" y="10504"/>
                  <a:pt x="11279" y="10450"/>
                  <a:pt x="11063" y="10342"/>
                </a:cubicBezTo>
                <a:cubicBezTo>
                  <a:pt x="10847" y="10234"/>
                  <a:pt x="10654" y="10089"/>
                  <a:pt x="10486" y="9910"/>
                </a:cubicBezTo>
                <a:cubicBezTo>
                  <a:pt x="10319" y="9731"/>
                  <a:pt x="10186" y="9530"/>
                  <a:pt x="10089" y="9306"/>
                </a:cubicBezTo>
                <a:cubicBezTo>
                  <a:pt x="9992" y="9083"/>
                  <a:pt x="9944" y="8855"/>
                  <a:pt x="9944" y="8623"/>
                </a:cubicBezTo>
                <a:cubicBezTo>
                  <a:pt x="9944" y="8340"/>
                  <a:pt x="10033" y="8123"/>
                  <a:pt x="10212" y="7974"/>
                </a:cubicBezTo>
                <a:cubicBezTo>
                  <a:pt x="10392" y="7824"/>
                  <a:pt x="10616" y="7750"/>
                  <a:pt x="10884" y="7750"/>
                </a:cubicBezTo>
                <a:cubicBezTo>
                  <a:pt x="13930" y="7750"/>
                  <a:pt x="13930" y="7750"/>
                  <a:pt x="13930" y="7750"/>
                </a:cubicBezTo>
                <a:cubicBezTo>
                  <a:pt x="14034" y="7750"/>
                  <a:pt x="14087" y="7704"/>
                  <a:pt x="14087" y="7615"/>
                </a:cubicBezTo>
                <a:cubicBezTo>
                  <a:pt x="14087" y="7156"/>
                  <a:pt x="14087" y="7156"/>
                  <a:pt x="14087" y="7156"/>
                </a:cubicBezTo>
                <a:cubicBezTo>
                  <a:pt x="14087" y="6879"/>
                  <a:pt x="14008" y="6663"/>
                  <a:pt x="13852" y="6507"/>
                </a:cubicBezTo>
                <a:cubicBezTo>
                  <a:pt x="13695" y="6350"/>
                  <a:pt x="13479" y="6271"/>
                  <a:pt x="13202" y="6271"/>
                </a:cubicBezTo>
                <a:cubicBezTo>
                  <a:pt x="10896" y="6271"/>
                  <a:pt x="10896" y="6271"/>
                  <a:pt x="10896" y="6271"/>
                </a:cubicBezTo>
                <a:cubicBezTo>
                  <a:pt x="10530" y="6271"/>
                  <a:pt x="10194" y="6329"/>
                  <a:pt x="9887" y="6445"/>
                </a:cubicBezTo>
                <a:cubicBezTo>
                  <a:pt x="9581" y="6561"/>
                  <a:pt x="9317" y="6723"/>
                  <a:pt x="9092" y="6932"/>
                </a:cubicBezTo>
                <a:cubicBezTo>
                  <a:pt x="8869" y="7141"/>
                  <a:pt x="8693" y="7393"/>
                  <a:pt x="8566" y="7688"/>
                </a:cubicBezTo>
                <a:cubicBezTo>
                  <a:pt x="8439" y="7983"/>
                  <a:pt x="8376" y="8313"/>
                  <a:pt x="8376" y="8679"/>
                </a:cubicBezTo>
                <a:cubicBezTo>
                  <a:pt x="8376" y="9135"/>
                  <a:pt x="8466" y="9563"/>
                  <a:pt x="8645" y="9966"/>
                </a:cubicBezTo>
                <a:cubicBezTo>
                  <a:pt x="8824" y="10370"/>
                  <a:pt x="9068" y="10721"/>
                  <a:pt x="9378" y="11018"/>
                </a:cubicBezTo>
                <a:cubicBezTo>
                  <a:pt x="9688" y="11318"/>
                  <a:pt x="10046" y="11553"/>
                  <a:pt x="10453" y="11725"/>
                </a:cubicBezTo>
                <a:cubicBezTo>
                  <a:pt x="10860" y="11896"/>
                  <a:pt x="11287" y="11983"/>
                  <a:pt x="11735" y="11983"/>
                </a:cubicBezTo>
                <a:cubicBezTo>
                  <a:pt x="14042" y="11983"/>
                  <a:pt x="14042" y="11983"/>
                  <a:pt x="14042" y="11983"/>
                </a:cubicBezTo>
                <a:cubicBezTo>
                  <a:pt x="14147" y="11983"/>
                  <a:pt x="14199" y="11937"/>
                  <a:pt x="14199" y="11848"/>
                </a:cubicBezTo>
                <a:moveTo>
                  <a:pt x="20010" y="5621"/>
                </a:moveTo>
                <a:cubicBezTo>
                  <a:pt x="20010" y="4412"/>
                  <a:pt x="20010" y="4412"/>
                  <a:pt x="20010" y="4412"/>
                </a:cubicBezTo>
                <a:cubicBezTo>
                  <a:pt x="20010" y="4359"/>
                  <a:pt x="19999" y="4326"/>
                  <a:pt x="19976" y="4311"/>
                </a:cubicBezTo>
                <a:cubicBezTo>
                  <a:pt x="19954" y="4296"/>
                  <a:pt x="19913" y="4281"/>
                  <a:pt x="19853" y="4265"/>
                </a:cubicBezTo>
                <a:cubicBezTo>
                  <a:pt x="19741" y="4244"/>
                  <a:pt x="19635" y="4199"/>
                  <a:pt x="19534" y="4131"/>
                </a:cubicBezTo>
                <a:cubicBezTo>
                  <a:pt x="19433" y="4065"/>
                  <a:pt x="19344" y="3986"/>
                  <a:pt x="19265" y="3897"/>
                </a:cubicBezTo>
                <a:cubicBezTo>
                  <a:pt x="19187" y="3807"/>
                  <a:pt x="19123" y="3708"/>
                  <a:pt x="19075" y="3600"/>
                </a:cubicBezTo>
                <a:cubicBezTo>
                  <a:pt x="19026" y="3492"/>
                  <a:pt x="19002" y="3382"/>
                  <a:pt x="19002" y="3269"/>
                </a:cubicBezTo>
                <a:cubicBezTo>
                  <a:pt x="19002" y="885"/>
                  <a:pt x="19002" y="885"/>
                  <a:pt x="19002" y="885"/>
                </a:cubicBezTo>
                <a:cubicBezTo>
                  <a:pt x="19002" y="609"/>
                  <a:pt x="18923" y="392"/>
                  <a:pt x="18767" y="236"/>
                </a:cubicBezTo>
                <a:cubicBezTo>
                  <a:pt x="18610" y="78"/>
                  <a:pt x="18393" y="0"/>
                  <a:pt x="18117" y="0"/>
                </a:cubicBezTo>
                <a:cubicBezTo>
                  <a:pt x="17591" y="0"/>
                  <a:pt x="17591" y="0"/>
                  <a:pt x="17591" y="0"/>
                </a:cubicBezTo>
                <a:cubicBezTo>
                  <a:pt x="17486" y="0"/>
                  <a:pt x="17435" y="45"/>
                  <a:pt x="17435" y="135"/>
                </a:cubicBezTo>
                <a:cubicBezTo>
                  <a:pt x="17435" y="3314"/>
                  <a:pt x="17435" y="3314"/>
                  <a:pt x="17435" y="3314"/>
                </a:cubicBezTo>
                <a:cubicBezTo>
                  <a:pt x="17435" y="3642"/>
                  <a:pt x="17500" y="3949"/>
                  <a:pt x="17630" y="4233"/>
                </a:cubicBezTo>
                <a:cubicBezTo>
                  <a:pt x="17761" y="4516"/>
                  <a:pt x="17936" y="4768"/>
                  <a:pt x="18157" y="4989"/>
                </a:cubicBezTo>
                <a:cubicBezTo>
                  <a:pt x="18376" y="5208"/>
                  <a:pt x="18633" y="5386"/>
                  <a:pt x="18923" y="5520"/>
                </a:cubicBezTo>
                <a:cubicBezTo>
                  <a:pt x="19215" y="5655"/>
                  <a:pt x="19525" y="5737"/>
                  <a:pt x="19853" y="5766"/>
                </a:cubicBezTo>
                <a:cubicBezTo>
                  <a:pt x="19958" y="5774"/>
                  <a:pt x="20010" y="5726"/>
                  <a:pt x="20010" y="5621"/>
                </a:cubicBezTo>
                <a:moveTo>
                  <a:pt x="22053" y="1321"/>
                </a:moveTo>
                <a:cubicBezTo>
                  <a:pt x="22053" y="884"/>
                  <a:pt x="22053" y="884"/>
                  <a:pt x="22053" y="884"/>
                </a:cubicBezTo>
                <a:cubicBezTo>
                  <a:pt x="22053" y="608"/>
                  <a:pt x="21975" y="392"/>
                  <a:pt x="21818" y="235"/>
                </a:cubicBezTo>
                <a:cubicBezTo>
                  <a:pt x="21661" y="78"/>
                  <a:pt x="21445" y="0"/>
                  <a:pt x="21169" y="0"/>
                </a:cubicBezTo>
                <a:cubicBezTo>
                  <a:pt x="20620" y="0"/>
                  <a:pt x="20620" y="0"/>
                  <a:pt x="20620" y="0"/>
                </a:cubicBezTo>
                <a:cubicBezTo>
                  <a:pt x="20530" y="0"/>
                  <a:pt x="20485" y="52"/>
                  <a:pt x="20485" y="157"/>
                </a:cubicBezTo>
                <a:cubicBezTo>
                  <a:pt x="20485" y="1321"/>
                  <a:pt x="20485" y="1321"/>
                  <a:pt x="20485" y="1321"/>
                </a:cubicBezTo>
                <a:cubicBezTo>
                  <a:pt x="20485" y="1425"/>
                  <a:pt x="20530" y="1477"/>
                  <a:pt x="20620" y="1477"/>
                </a:cubicBezTo>
                <a:cubicBezTo>
                  <a:pt x="21919" y="1477"/>
                  <a:pt x="21919" y="1477"/>
                  <a:pt x="21919" y="1477"/>
                </a:cubicBezTo>
                <a:cubicBezTo>
                  <a:pt x="22009" y="1477"/>
                  <a:pt x="22053" y="1425"/>
                  <a:pt x="22053" y="1321"/>
                </a:cubicBezTo>
                <a:moveTo>
                  <a:pt x="22053" y="5578"/>
                </a:moveTo>
                <a:cubicBezTo>
                  <a:pt x="22053" y="2897"/>
                  <a:pt x="22053" y="2897"/>
                  <a:pt x="22053" y="2897"/>
                </a:cubicBezTo>
                <a:cubicBezTo>
                  <a:pt x="22053" y="2897"/>
                  <a:pt x="22053" y="2897"/>
                  <a:pt x="22053" y="2897"/>
                </a:cubicBezTo>
                <a:cubicBezTo>
                  <a:pt x="22051" y="2626"/>
                  <a:pt x="21973" y="2414"/>
                  <a:pt x="21818" y="2259"/>
                </a:cubicBezTo>
                <a:cubicBezTo>
                  <a:pt x="21661" y="2102"/>
                  <a:pt x="21445" y="2024"/>
                  <a:pt x="21169" y="2024"/>
                </a:cubicBezTo>
                <a:cubicBezTo>
                  <a:pt x="20643" y="2024"/>
                  <a:pt x="20643" y="2024"/>
                  <a:pt x="20643" y="2024"/>
                </a:cubicBezTo>
                <a:cubicBezTo>
                  <a:pt x="20538" y="2024"/>
                  <a:pt x="20485" y="2068"/>
                  <a:pt x="20485" y="2158"/>
                </a:cubicBezTo>
                <a:cubicBezTo>
                  <a:pt x="20485" y="2897"/>
                  <a:pt x="20485" y="2897"/>
                  <a:pt x="20485" y="2897"/>
                </a:cubicBezTo>
                <a:cubicBezTo>
                  <a:pt x="20485" y="4827"/>
                  <a:pt x="20485" y="4827"/>
                  <a:pt x="20485" y="4827"/>
                </a:cubicBezTo>
                <a:cubicBezTo>
                  <a:pt x="20485" y="5104"/>
                  <a:pt x="20564" y="5321"/>
                  <a:pt x="20721" y="5477"/>
                </a:cubicBezTo>
                <a:cubicBezTo>
                  <a:pt x="20877" y="5634"/>
                  <a:pt x="21094" y="5712"/>
                  <a:pt x="21370" y="5712"/>
                </a:cubicBezTo>
                <a:cubicBezTo>
                  <a:pt x="21896" y="5712"/>
                  <a:pt x="21896" y="5712"/>
                  <a:pt x="21896" y="5712"/>
                </a:cubicBezTo>
                <a:cubicBezTo>
                  <a:pt x="22001" y="5712"/>
                  <a:pt x="22053" y="5668"/>
                  <a:pt x="22053" y="5578"/>
                </a:cubicBezTo>
                <a:moveTo>
                  <a:pt x="7850" y="7592"/>
                </a:moveTo>
                <a:cubicBezTo>
                  <a:pt x="7850" y="7155"/>
                  <a:pt x="7850" y="7155"/>
                  <a:pt x="7850" y="7155"/>
                </a:cubicBezTo>
                <a:cubicBezTo>
                  <a:pt x="7850" y="6879"/>
                  <a:pt x="7772" y="6663"/>
                  <a:pt x="7615" y="6505"/>
                </a:cubicBezTo>
                <a:cubicBezTo>
                  <a:pt x="7458" y="6349"/>
                  <a:pt x="7242" y="6271"/>
                  <a:pt x="6966" y="6271"/>
                </a:cubicBezTo>
                <a:cubicBezTo>
                  <a:pt x="6417" y="6271"/>
                  <a:pt x="6417" y="6271"/>
                  <a:pt x="6417" y="6271"/>
                </a:cubicBezTo>
                <a:cubicBezTo>
                  <a:pt x="6328" y="6271"/>
                  <a:pt x="6283" y="6323"/>
                  <a:pt x="6283" y="6427"/>
                </a:cubicBezTo>
                <a:cubicBezTo>
                  <a:pt x="6283" y="7592"/>
                  <a:pt x="6283" y="7592"/>
                  <a:pt x="6283" y="7592"/>
                </a:cubicBezTo>
                <a:cubicBezTo>
                  <a:pt x="6283" y="7696"/>
                  <a:pt x="6328" y="7748"/>
                  <a:pt x="6417" y="7748"/>
                </a:cubicBezTo>
                <a:cubicBezTo>
                  <a:pt x="7716" y="7748"/>
                  <a:pt x="7716" y="7748"/>
                  <a:pt x="7716" y="7748"/>
                </a:cubicBezTo>
                <a:cubicBezTo>
                  <a:pt x="7806" y="7748"/>
                  <a:pt x="7850" y="7696"/>
                  <a:pt x="7850" y="7592"/>
                </a:cubicBezTo>
                <a:moveTo>
                  <a:pt x="7850" y="11848"/>
                </a:moveTo>
                <a:cubicBezTo>
                  <a:pt x="7850" y="9168"/>
                  <a:pt x="7850" y="9168"/>
                  <a:pt x="7850" y="9168"/>
                </a:cubicBezTo>
                <a:cubicBezTo>
                  <a:pt x="7850" y="9168"/>
                  <a:pt x="7850" y="9168"/>
                  <a:pt x="7850" y="9168"/>
                </a:cubicBezTo>
                <a:cubicBezTo>
                  <a:pt x="7848" y="8897"/>
                  <a:pt x="7770" y="8684"/>
                  <a:pt x="7615" y="8530"/>
                </a:cubicBezTo>
                <a:cubicBezTo>
                  <a:pt x="7458" y="8373"/>
                  <a:pt x="7242" y="8294"/>
                  <a:pt x="6966" y="8294"/>
                </a:cubicBezTo>
                <a:cubicBezTo>
                  <a:pt x="6440" y="8294"/>
                  <a:pt x="6440" y="8294"/>
                  <a:pt x="6440" y="8294"/>
                </a:cubicBezTo>
                <a:cubicBezTo>
                  <a:pt x="6335" y="8294"/>
                  <a:pt x="6283" y="8339"/>
                  <a:pt x="6283" y="8429"/>
                </a:cubicBezTo>
                <a:cubicBezTo>
                  <a:pt x="6283" y="9168"/>
                  <a:pt x="6283" y="9168"/>
                  <a:pt x="6283" y="9168"/>
                </a:cubicBezTo>
                <a:cubicBezTo>
                  <a:pt x="6283" y="11098"/>
                  <a:pt x="6283" y="11098"/>
                  <a:pt x="6283" y="11098"/>
                </a:cubicBezTo>
                <a:cubicBezTo>
                  <a:pt x="6283" y="11374"/>
                  <a:pt x="6361" y="11591"/>
                  <a:pt x="6518" y="11748"/>
                </a:cubicBezTo>
                <a:cubicBezTo>
                  <a:pt x="6674" y="11905"/>
                  <a:pt x="6891" y="11983"/>
                  <a:pt x="7167" y="11983"/>
                </a:cubicBezTo>
                <a:cubicBezTo>
                  <a:pt x="7693" y="11983"/>
                  <a:pt x="7693" y="11983"/>
                  <a:pt x="7693" y="11983"/>
                </a:cubicBezTo>
                <a:cubicBezTo>
                  <a:pt x="7798" y="11983"/>
                  <a:pt x="7850" y="11938"/>
                  <a:pt x="7850" y="11848"/>
                </a:cubicBezTo>
              </a:path>
            </a:pathLst>
          </a:custGeom>
          <a:solidFill>
            <a:srgbClr val="EB3C96"/>
          </a:solidFill>
          <a:ln>
            <a:noFill/>
          </a:ln>
        </p:spPr>
        <p:txBody>
          <a:bodyPr vert="horz" wrap="square" lIns="68580" tIns="34290" rIns="68580" bIns="34290" numCol="1" anchor="t" anchorCtr="0" compatLnSpc="1">
            <a:prstTxWarp prst="textNoShape">
              <a:avLst/>
            </a:prstTxWarp>
          </a:bodyPr>
          <a:lstStyle/>
          <a:p>
            <a:endParaRPr lang="de-DE" sz="1350"/>
          </a:p>
        </p:txBody>
      </p:sp>
    </p:spTree>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rganic | Picture">
    <p:spTree>
      <p:nvGrpSpPr>
        <p:cNvPr id="1" name=""/>
        <p:cNvGrpSpPr/>
        <p:nvPr/>
      </p:nvGrpSpPr>
      <p:grpSpPr>
        <a:xfrm>
          <a:off x="0" y="0"/>
          <a:ext cx="0" cy="0"/>
          <a:chOff x="0" y="0"/>
          <a:chExt cx="0" cy="0"/>
        </a:xfrm>
      </p:grpSpPr>
      <p:sp>
        <p:nvSpPr>
          <p:cNvPr id="16" name="Rectangle 15"/>
          <p:cNvSpPr/>
          <p:nvPr userDrawn="1"/>
        </p:nvSpPr>
        <p:spPr bwMode="gray">
          <a:xfrm>
            <a:off x="1" y="2"/>
            <a:ext cx="12192000" cy="6858001"/>
          </a:xfrm>
          <a:prstGeom prst="rect">
            <a:avLst/>
          </a:prstGeom>
          <a:solidFill>
            <a:schemeClr val="bg2"/>
          </a:solidFill>
          <a:ln w="9525" cap="flat" cmpd="sng" algn="ctr">
            <a:noFill/>
            <a:prstDash val="solid"/>
          </a:ln>
          <a:effectLst/>
        </p:spPr>
        <p:txBody>
          <a:bodyPr rtlCol="0" anchor="ctr" anchorCtr="0"/>
          <a:lstStyle/>
          <a:p>
            <a:pPr marL="0" indent="0" algn="ctr">
              <a:spcBef>
                <a:spcPts val="225"/>
              </a:spcBef>
              <a:spcAft>
                <a:spcPts val="225"/>
              </a:spcAft>
              <a:buClr>
                <a:schemeClr val="bg1"/>
              </a:buClr>
              <a:buSzPct val="100000"/>
              <a:buFont typeface="Arial" panose="020B0604020202020204" pitchFamily="34" charset="0"/>
              <a:buNone/>
            </a:pPr>
            <a:endParaRPr lang="en-US" sz="1050" kern="0">
              <a:solidFill>
                <a:srgbClr val="FFFFFF"/>
              </a:solidFill>
              <a:latin typeface="Verdana"/>
            </a:endParaRPr>
          </a:p>
        </p:txBody>
      </p:sp>
      <p:sp>
        <p:nvSpPr>
          <p:cNvPr id="19" name="Freeform 18"/>
          <p:cNvSpPr/>
          <p:nvPr userDrawn="1"/>
        </p:nvSpPr>
        <p:spPr bwMode="gray">
          <a:xfrm>
            <a:off x="0" y="0"/>
            <a:ext cx="7668867" cy="6858000"/>
          </a:xfrm>
          <a:custGeom>
            <a:avLst/>
            <a:gdLst>
              <a:gd name="connsiteX0" fmla="*/ 0 w 7668866"/>
              <a:gd name="connsiteY0" fmla="*/ 6118796 h 6858000"/>
              <a:gd name="connsiteX1" fmla="*/ 169917 w 7668866"/>
              <a:gd name="connsiteY1" fmla="*/ 6182092 h 6858000"/>
              <a:gd name="connsiteX2" fmla="*/ 2255428 w 7668866"/>
              <a:gd name="connsiteY2" fmla="*/ 6838640 h 6858000"/>
              <a:gd name="connsiteX3" fmla="*/ 2315677 w 7668866"/>
              <a:gd name="connsiteY3" fmla="*/ 6858000 h 6858000"/>
              <a:gd name="connsiteX4" fmla="*/ 0 w 7668866"/>
              <a:gd name="connsiteY4" fmla="*/ 6858000 h 6858000"/>
              <a:gd name="connsiteX5" fmla="*/ 3581596 w 7668866"/>
              <a:gd name="connsiteY5" fmla="*/ 0 h 6858000"/>
              <a:gd name="connsiteX6" fmla="*/ 4015128 w 7668866"/>
              <a:gd name="connsiteY6" fmla="*/ 0 h 6858000"/>
              <a:gd name="connsiteX7" fmla="*/ 4167882 w 7668866"/>
              <a:gd name="connsiteY7" fmla="*/ 298486 h 6858000"/>
              <a:gd name="connsiteX8" fmla="*/ 6467174 w 7668866"/>
              <a:gd name="connsiteY8" fmla="*/ 3012758 h 6858000"/>
              <a:gd name="connsiteX9" fmla="*/ 7668866 w 7668866"/>
              <a:gd name="connsiteY9" fmla="*/ 3005248 h 6858000"/>
              <a:gd name="connsiteX10" fmla="*/ 7668866 w 7668866"/>
              <a:gd name="connsiteY10" fmla="*/ 3200516 h 6858000"/>
              <a:gd name="connsiteX11" fmla="*/ 7514899 w 7668866"/>
              <a:gd name="connsiteY11" fmla="*/ 3193006 h 6858000"/>
              <a:gd name="connsiteX12" fmla="*/ 6598609 w 7668866"/>
              <a:gd name="connsiteY12" fmla="*/ 3211781 h 6858000"/>
              <a:gd name="connsiteX13" fmla="*/ 5776201 w 7668866"/>
              <a:gd name="connsiteY13" fmla="*/ 4661271 h 6858000"/>
              <a:gd name="connsiteX14" fmla="*/ 6369537 w 7668866"/>
              <a:gd name="connsiteY14" fmla="*/ 5618835 h 6858000"/>
              <a:gd name="connsiteX15" fmla="*/ 7668866 w 7668866"/>
              <a:gd name="connsiteY15" fmla="*/ 6095740 h 6858000"/>
              <a:gd name="connsiteX16" fmla="*/ 7668866 w 7668866"/>
              <a:gd name="connsiteY16" fmla="*/ 6730361 h 6858000"/>
              <a:gd name="connsiteX17" fmla="*/ 7478585 w 7668866"/>
              <a:gd name="connsiteY17" fmla="*/ 6858000 h 6858000"/>
              <a:gd name="connsiteX18" fmla="*/ 5290708 w 7668866"/>
              <a:gd name="connsiteY18" fmla="*/ 6858000 h 6858000"/>
              <a:gd name="connsiteX19" fmla="*/ 5386062 w 7668866"/>
              <a:gd name="connsiteY19" fmla="*/ 6791676 h 6858000"/>
              <a:gd name="connsiteX20" fmla="*/ 6155486 w 7668866"/>
              <a:gd name="connsiteY20" fmla="*/ 5618835 h 6858000"/>
              <a:gd name="connsiteX21" fmla="*/ 5749914 w 7668866"/>
              <a:gd name="connsiteY21" fmla="*/ 4845274 h 6858000"/>
              <a:gd name="connsiteX22" fmla="*/ 5205398 w 7668866"/>
              <a:gd name="connsiteY22" fmla="*/ 4278245 h 6858000"/>
              <a:gd name="connsiteX23" fmla="*/ 2982268 w 7668866"/>
              <a:gd name="connsiteY23" fmla="*/ 3902730 h 6858000"/>
              <a:gd name="connsiteX24" fmla="*/ 669011 w 7668866"/>
              <a:gd name="connsiteY24" fmla="*/ 4101753 h 6858000"/>
              <a:gd name="connsiteX25" fmla="*/ 96300 w 7668866"/>
              <a:gd name="connsiteY25" fmla="*/ 4174560 h 6858000"/>
              <a:gd name="connsiteX26" fmla="*/ 0 w 7668866"/>
              <a:gd name="connsiteY26" fmla="*/ 4192923 h 6858000"/>
              <a:gd name="connsiteX27" fmla="*/ 0 w 7668866"/>
              <a:gd name="connsiteY27" fmla="*/ 3924438 h 6858000"/>
              <a:gd name="connsiteX28" fmla="*/ 292367 w 7668866"/>
              <a:gd name="connsiteY28" fmla="*/ 3925789 h 6858000"/>
              <a:gd name="connsiteX29" fmla="*/ 710319 w 7668866"/>
              <a:gd name="connsiteY29" fmla="*/ 3913995 h 6858000"/>
              <a:gd name="connsiteX30" fmla="*/ 2997289 w 7668866"/>
              <a:gd name="connsiteY30" fmla="*/ 3726238 h 6858000"/>
              <a:gd name="connsiteX31" fmla="*/ 3800920 w 7668866"/>
              <a:gd name="connsiteY31" fmla="*/ 2167848 h 6858000"/>
              <a:gd name="connsiteX32" fmla="*/ 2978512 w 7668866"/>
              <a:gd name="connsiteY32" fmla="*/ 1274122 h 6858000"/>
              <a:gd name="connsiteX33" fmla="*/ 163925 w 7668866"/>
              <a:gd name="connsiteY33" fmla="*/ 873259 h 6858000"/>
              <a:gd name="connsiteX34" fmla="*/ 0 w 7668866"/>
              <a:gd name="connsiteY34" fmla="*/ 900488 h 6858000"/>
              <a:gd name="connsiteX35" fmla="*/ 0 w 7668866"/>
              <a:gd name="connsiteY35" fmla="*/ 135524 h 6858000"/>
              <a:gd name="connsiteX36" fmla="*/ 910757 w 7668866"/>
              <a:gd name="connsiteY36" fmla="*/ 423110 h 6858000"/>
              <a:gd name="connsiteX37" fmla="*/ 2802014 w 7668866"/>
              <a:gd name="connsiteY37" fmla="*/ 999995 h 6858000"/>
              <a:gd name="connsiteX38" fmla="*/ 3586869 w 7668866"/>
              <a:gd name="connsiteY38" fmla="*/ 2365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668866" h="6858000">
                <a:moveTo>
                  <a:pt x="0" y="6118796"/>
                </a:moveTo>
                <a:lnTo>
                  <a:pt x="169917" y="6182092"/>
                </a:lnTo>
                <a:cubicBezTo>
                  <a:pt x="653385" y="6353440"/>
                  <a:pt x="1331769" y="6543923"/>
                  <a:pt x="2255428" y="6838640"/>
                </a:cubicBezTo>
                <a:lnTo>
                  <a:pt x="2315677" y="6858000"/>
                </a:lnTo>
                <a:lnTo>
                  <a:pt x="0" y="6858000"/>
                </a:lnTo>
                <a:close/>
                <a:moveTo>
                  <a:pt x="3581596" y="0"/>
                </a:moveTo>
                <a:lnTo>
                  <a:pt x="4015128" y="0"/>
                </a:lnTo>
                <a:lnTo>
                  <a:pt x="4167882" y="298486"/>
                </a:lnTo>
                <a:cubicBezTo>
                  <a:pt x="4826583" y="1560217"/>
                  <a:pt x="5678564" y="2874756"/>
                  <a:pt x="6467174" y="3012758"/>
                </a:cubicBezTo>
                <a:cubicBezTo>
                  <a:pt x="6673715" y="3050310"/>
                  <a:pt x="7285827" y="3027779"/>
                  <a:pt x="7668866" y="3005248"/>
                </a:cubicBezTo>
                <a:cubicBezTo>
                  <a:pt x="7668866" y="3005248"/>
                  <a:pt x="7668866" y="3005248"/>
                  <a:pt x="7668866" y="3200516"/>
                </a:cubicBezTo>
                <a:cubicBezTo>
                  <a:pt x="7620047" y="3196761"/>
                  <a:pt x="7567473" y="3193006"/>
                  <a:pt x="7514899" y="3193006"/>
                </a:cubicBezTo>
                <a:cubicBezTo>
                  <a:pt x="7345912" y="3193006"/>
                  <a:pt x="6733800" y="3196761"/>
                  <a:pt x="6598609" y="3211781"/>
                </a:cubicBezTo>
                <a:cubicBezTo>
                  <a:pt x="6061603" y="3275619"/>
                  <a:pt x="5333078" y="3827627"/>
                  <a:pt x="5776201" y="4661271"/>
                </a:cubicBezTo>
                <a:cubicBezTo>
                  <a:pt x="5840041" y="4777681"/>
                  <a:pt x="6279410" y="5498671"/>
                  <a:pt x="6369537" y="5618835"/>
                </a:cubicBezTo>
                <a:cubicBezTo>
                  <a:pt x="6531014" y="5832879"/>
                  <a:pt x="7109328" y="6065699"/>
                  <a:pt x="7668866" y="6095740"/>
                </a:cubicBezTo>
                <a:cubicBezTo>
                  <a:pt x="7668866" y="6095740"/>
                  <a:pt x="7668866" y="6095740"/>
                  <a:pt x="7668866" y="6730361"/>
                </a:cubicBezTo>
                <a:lnTo>
                  <a:pt x="7478585" y="6858000"/>
                </a:lnTo>
                <a:lnTo>
                  <a:pt x="5290708" y="6858000"/>
                </a:lnTo>
                <a:lnTo>
                  <a:pt x="5386062" y="6791676"/>
                </a:lnTo>
                <a:cubicBezTo>
                  <a:pt x="5840041" y="6471490"/>
                  <a:pt x="6251245" y="6128598"/>
                  <a:pt x="6155486" y="5618835"/>
                </a:cubicBezTo>
                <a:cubicBezTo>
                  <a:pt x="6132954" y="5498671"/>
                  <a:pt x="5813754" y="4954173"/>
                  <a:pt x="5749914" y="4845274"/>
                </a:cubicBezTo>
                <a:cubicBezTo>
                  <a:pt x="5663543" y="4691312"/>
                  <a:pt x="5487044" y="4424696"/>
                  <a:pt x="5205398" y="4278245"/>
                </a:cubicBezTo>
                <a:cubicBezTo>
                  <a:pt x="4582020" y="3962812"/>
                  <a:pt x="3917334" y="3835137"/>
                  <a:pt x="2982268" y="3902730"/>
                </a:cubicBezTo>
                <a:cubicBezTo>
                  <a:pt x="2426485" y="3944037"/>
                  <a:pt x="1367494" y="4037915"/>
                  <a:pt x="669011" y="4101753"/>
                </a:cubicBezTo>
                <a:cubicBezTo>
                  <a:pt x="508472" y="4117243"/>
                  <a:pt x="303574" y="4139598"/>
                  <a:pt x="96300" y="4174560"/>
                </a:cubicBezTo>
                <a:lnTo>
                  <a:pt x="0" y="4192923"/>
                </a:lnTo>
                <a:lnTo>
                  <a:pt x="0" y="3924438"/>
                </a:lnTo>
                <a:lnTo>
                  <a:pt x="292367" y="3925789"/>
                </a:lnTo>
                <a:cubicBezTo>
                  <a:pt x="431958" y="3924322"/>
                  <a:pt x="571373" y="3920567"/>
                  <a:pt x="710319" y="3913995"/>
                </a:cubicBezTo>
                <a:cubicBezTo>
                  <a:pt x="999476" y="3898975"/>
                  <a:pt x="2670579" y="3756279"/>
                  <a:pt x="2997289" y="3726238"/>
                </a:cubicBezTo>
                <a:cubicBezTo>
                  <a:pt x="3759612" y="3651135"/>
                  <a:pt x="3977419" y="2689815"/>
                  <a:pt x="3800920" y="2167848"/>
                </a:cubicBezTo>
                <a:cubicBezTo>
                  <a:pt x="3639443" y="1698454"/>
                  <a:pt x="3504253" y="1409307"/>
                  <a:pt x="2978512" y="1274122"/>
                </a:cubicBezTo>
                <a:cubicBezTo>
                  <a:pt x="1536482" y="909872"/>
                  <a:pt x="709380" y="808482"/>
                  <a:pt x="163925" y="873259"/>
                </a:cubicBezTo>
                <a:lnTo>
                  <a:pt x="0" y="900488"/>
                </a:lnTo>
                <a:lnTo>
                  <a:pt x="0" y="135524"/>
                </a:lnTo>
                <a:lnTo>
                  <a:pt x="910757" y="423110"/>
                </a:lnTo>
                <a:cubicBezTo>
                  <a:pt x="1537421" y="618847"/>
                  <a:pt x="2167370" y="812238"/>
                  <a:pt x="2802014" y="999995"/>
                </a:cubicBezTo>
                <a:cubicBezTo>
                  <a:pt x="3737081" y="1274122"/>
                  <a:pt x="3699528" y="616970"/>
                  <a:pt x="3586869" y="23655"/>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23" name="Freeform 22"/>
          <p:cNvSpPr/>
          <p:nvPr userDrawn="1"/>
        </p:nvSpPr>
        <p:spPr bwMode="gray">
          <a:xfrm>
            <a:off x="-1" y="-1"/>
            <a:ext cx="12192000" cy="6858001"/>
          </a:xfrm>
          <a:custGeom>
            <a:avLst/>
            <a:gdLst>
              <a:gd name="connsiteX0" fmla="*/ 2376294 w 12192000"/>
              <a:gd name="connsiteY0" fmla="*/ 0 h 6858000"/>
              <a:gd name="connsiteX1" fmla="*/ 2892698 w 12192000"/>
              <a:gd name="connsiteY1" fmla="*/ 0 h 6858000"/>
              <a:gd name="connsiteX2" fmla="*/ 2891112 w 12192000"/>
              <a:gd name="connsiteY2" fmla="*/ 25388 h 6858000"/>
              <a:gd name="connsiteX3" fmla="*/ 3097511 w 12192000"/>
              <a:gd name="connsiteY3" fmla="*/ 567520 h 6858000"/>
              <a:gd name="connsiteX4" fmla="*/ 5003886 w 12192000"/>
              <a:gd name="connsiteY4" fmla="*/ 1145793 h 6858000"/>
              <a:gd name="connsiteX5" fmla="*/ 7398113 w 12192000"/>
              <a:gd name="connsiteY5" fmla="*/ 650130 h 6858000"/>
              <a:gd name="connsiteX6" fmla="*/ 7738316 w 12192000"/>
              <a:gd name="connsiteY6" fmla="*/ 36515 h 6858000"/>
              <a:gd name="connsiteX7" fmla="*/ 7715084 w 12192000"/>
              <a:gd name="connsiteY7" fmla="*/ 0 h 6858000"/>
              <a:gd name="connsiteX8" fmla="*/ 12192000 w 12192000"/>
              <a:gd name="connsiteY8" fmla="*/ 0 h 6858000"/>
              <a:gd name="connsiteX9" fmla="*/ 12192000 w 12192000"/>
              <a:gd name="connsiteY9" fmla="*/ 6858000 h 6858000"/>
              <a:gd name="connsiteX10" fmla="*/ 0 w 12192000"/>
              <a:gd name="connsiteY10" fmla="*/ 6858000 h 6858000"/>
              <a:gd name="connsiteX11" fmla="*/ 0 w 12192000"/>
              <a:gd name="connsiteY11" fmla="*/ 4710669 h 6858000"/>
              <a:gd name="connsiteX12" fmla="*/ 108070 w 12192000"/>
              <a:gd name="connsiteY12" fmla="*/ 4629515 h 6858000"/>
              <a:gd name="connsiteX13" fmla="*/ 538165 w 12192000"/>
              <a:gd name="connsiteY13" fmla="*/ 3421336 h 6858000"/>
              <a:gd name="connsiteX14" fmla="*/ 74237 w 12192000"/>
              <a:gd name="connsiteY14" fmla="*/ 2357257 h 6858000"/>
              <a:gd name="connsiteX15" fmla="*/ 0 w 12192000"/>
              <a:gd name="connsiteY15" fmla="*/ 2257472 h 6858000"/>
              <a:gd name="connsiteX16" fmla="*/ 0 w 12192000"/>
              <a:gd name="connsiteY16" fmla="*/ 667182 h 6858000"/>
              <a:gd name="connsiteX17" fmla="*/ 24044 w 12192000"/>
              <a:gd name="connsiteY17" fmla="*/ 683925 h 6858000"/>
              <a:gd name="connsiteX18" fmla="*/ 1502611 w 12192000"/>
              <a:gd name="connsiteY18" fmla="*/ 1479990 h 6858000"/>
              <a:gd name="connsiteX19" fmla="*/ 2500831 w 12192000"/>
              <a:gd name="connsiteY19" fmla="*/ 1303504 h 6858000"/>
              <a:gd name="connsiteX20" fmla="*/ 2654692 w 12192000"/>
              <a:gd name="connsiteY20" fmla="*/ 376014 h 6858000"/>
              <a:gd name="connsiteX21" fmla="*/ 2507926 w 12192000"/>
              <a:gd name="connsiteY21" fmla="*/ 1752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2000" h="6858000">
                <a:moveTo>
                  <a:pt x="2376294" y="0"/>
                </a:moveTo>
                <a:lnTo>
                  <a:pt x="2892698" y="0"/>
                </a:lnTo>
                <a:lnTo>
                  <a:pt x="2891112" y="25388"/>
                </a:lnTo>
                <a:cubicBezTo>
                  <a:pt x="2895803" y="224874"/>
                  <a:pt x="2968043" y="422951"/>
                  <a:pt x="3097511" y="567520"/>
                </a:cubicBezTo>
                <a:cubicBezTo>
                  <a:pt x="3581610" y="1104488"/>
                  <a:pt x="4362173" y="1164568"/>
                  <a:pt x="5003886" y="1145793"/>
                </a:cubicBezTo>
                <a:cubicBezTo>
                  <a:pt x="5701890" y="1123263"/>
                  <a:pt x="6797680" y="1081958"/>
                  <a:pt x="7398113" y="650130"/>
                </a:cubicBezTo>
                <a:cubicBezTo>
                  <a:pt x="7738202" y="404880"/>
                  <a:pt x="7811864" y="202901"/>
                  <a:pt x="7738316" y="36515"/>
                </a:cubicBezTo>
                <a:lnTo>
                  <a:pt x="7715084" y="0"/>
                </a:lnTo>
                <a:lnTo>
                  <a:pt x="12192000" y="0"/>
                </a:lnTo>
                <a:lnTo>
                  <a:pt x="12192000" y="6858000"/>
                </a:lnTo>
                <a:lnTo>
                  <a:pt x="0" y="6858000"/>
                </a:lnTo>
                <a:lnTo>
                  <a:pt x="0" y="4710669"/>
                </a:lnTo>
                <a:lnTo>
                  <a:pt x="108070" y="4629515"/>
                </a:lnTo>
                <a:cubicBezTo>
                  <a:pt x="459358" y="4359857"/>
                  <a:pt x="743626" y="4069077"/>
                  <a:pt x="538165" y="3421336"/>
                </a:cubicBezTo>
                <a:cubicBezTo>
                  <a:pt x="393686" y="2966979"/>
                  <a:pt x="262341" y="2640292"/>
                  <a:pt x="74237" y="2357257"/>
                </a:cubicBezTo>
                <a:lnTo>
                  <a:pt x="0" y="2257472"/>
                </a:lnTo>
                <a:lnTo>
                  <a:pt x="0" y="667182"/>
                </a:lnTo>
                <a:lnTo>
                  <a:pt x="24044" y="683925"/>
                </a:lnTo>
                <a:cubicBezTo>
                  <a:pt x="485627" y="984327"/>
                  <a:pt x="995996" y="1344809"/>
                  <a:pt x="1502611" y="1479990"/>
                </a:cubicBezTo>
                <a:cubicBezTo>
                  <a:pt x="1814086" y="1562601"/>
                  <a:pt x="2200614" y="1427420"/>
                  <a:pt x="2500831" y="1303504"/>
                </a:cubicBezTo>
                <a:cubicBezTo>
                  <a:pt x="2962414" y="1111998"/>
                  <a:pt x="2891112" y="710211"/>
                  <a:pt x="2654692" y="376014"/>
                </a:cubicBezTo>
                <a:cubicBezTo>
                  <a:pt x="2606845" y="310301"/>
                  <a:pt x="2557825" y="242945"/>
                  <a:pt x="2507926" y="175296"/>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24" name="Picture Placeholder 45"/>
          <p:cNvSpPr>
            <a:spLocks noGrp="1"/>
          </p:cNvSpPr>
          <p:nvPr>
            <p:ph type="pic" sz="quarter" idx="19"/>
          </p:nvPr>
        </p:nvSpPr>
        <p:spPr bwMode="gray">
          <a:xfrm>
            <a:off x="700813" y="1282237"/>
            <a:ext cx="5182809" cy="4539274"/>
          </a:xfrm>
          <a:custGeom>
            <a:avLst/>
            <a:gdLst>
              <a:gd name="connsiteX0" fmla="*/ 3144164 w 5182809"/>
              <a:gd name="connsiteY0" fmla="*/ 0 h 4539274"/>
              <a:gd name="connsiteX1" fmla="*/ 3986889 w 5182809"/>
              <a:gd name="connsiteY1" fmla="*/ 181304 h 4539274"/>
              <a:gd name="connsiteX2" fmla="*/ 4723453 w 5182809"/>
              <a:gd name="connsiteY2" fmla="*/ 3961442 h 4539274"/>
              <a:gd name="connsiteX3" fmla="*/ 2712936 w 5182809"/>
              <a:gd name="connsiteY3" fmla="*/ 4476232 h 4539274"/>
              <a:gd name="connsiteX4" fmla="*/ 446877 w 5182809"/>
              <a:gd name="connsiteY4" fmla="*/ 3157317 h 4539274"/>
              <a:gd name="connsiteX5" fmla="*/ 785095 w 5182809"/>
              <a:gd name="connsiteY5" fmla="*/ 639730 h 4539274"/>
              <a:gd name="connsiteX6" fmla="*/ 2284527 w 5182809"/>
              <a:gd name="connsiteY6" fmla="*/ 106152 h 4539274"/>
              <a:gd name="connsiteX7" fmla="*/ 3144164 w 5182809"/>
              <a:gd name="connsiteY7" fmla="*/ 0 h 4539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2809" h="4539274">
                <a:moveTo>
                  <a:pt x="3144164" y="0"/>
                </a:moveTo>
                <a:cubicBezTo>
                  <a:pt x="3441983" y="0"/>
                  <a:pt x="3736984" y="47910"/>
                  <a:pt x="3986889" y="181304"/>
                </a:cubicBezTo>
                <a:cubicBezTo>
                  <a:pt x="5302181" y="887732"/>
                  <a:pt x="5508869" y="2781558"/>
                  <a:pt x="4723453" y="3961442"/>
                </a:cubicBezTo>
                <a:cubicBezTo>
                  <a:pt x="4257464" y="4585202"/>
                  <a:pt x="3381855" y="4603990"/>
                  <a:pt x="2712936" y="4476232"/>
                </a:cubicBezTo>
                <a:cubicBezTo>
                  <a:pt x="1856118" y="4310898"/>
                  <a:pt x="1093249" y="3747259"/>
                  <a:pt x="446877" y="3157317"/>
                </a:cubicBezTo>
                <a:cubicBezTo>
                  <a:pt x="-293444" y="2477193"/>
                  <a:pt x="-67965" y="1109429"/>
                  <a:pt x="785095" y="639730"/>
                </a:cubicBezTo>
                <a:cubicBezTo>
                  <a:pt x="1251084" y="380457"/>
                  <a:pt x="1773442" y="222638"/>
                  <a:pt x="2284527" y="106152"/>
                </a:cubicBezTo>
                <a:cubicBezTo>
                  <a:pt x="2545706" y="47910"/>
                  <a:pt x="2846344" y="0"/>
                  <a:pt x="3144164" y="0"/>
                </a:cubicBezTo>
                <a:close/>
              </a:path>
            </a:pathLst>
          </a:custGeom>
          <a:solidFill>
            <a:schemeClr val="bg2"/>
          </a:solidFill>
        </p:spPr>
        <p:txBody>
          <a:bodyPr wrap="square" tIns="684000" anchor="ctr">
            <a:noAutofit/>
          </a:bodyPr>
          <a:lstStyle>
            <a:lvl1pPr algn="ctr">
              <a:spcBef>
                <a:spcPts val="0"/>
              </a:spcBef>
              <a:spcAft>
                <a:spcPts val="0"/>
              </a:spcAft>
              <a:defRPr sz="750">
                <a:solidFill>
                  <a:schemeClr val="bg1"/>
                </a:solidFill>
              </a:defRPr>
            </a:lvl1pPr>
          </a:lstStyle>
          <a:p>
            <a:r>
              <a:rPr lang="en-US" noProof="0" dirty="0"/>
              <a:t>Click icon to add picture</a:t>
            </a:r>
          </a:p>
        </p:txBody>
      </p:sp>
      <p:sp>
        <p:nvSpPr>
          <p:cNvPr id="25" name="Text Placeholder 6"/>
          <p:cNvSpPr>
            <a:spLocks noGrp="1"/>
          </p:cNvSpPr>
          <p:nvPr>
            <p:ph type="body" sz="quarter" idx="18" hasCustomPrompt="1"/>
          </p:nvPr>
        </p:nvSpPr>
        <p:spPr bwMode="gray">
          <a:xfrm>
            <a:off x="336000" y="5085000"/>
            <a:ext cx="2880000" cy="1458000"/>
          </a:xfrm>
          <a:prstGeom prst="rect">
            <a:avLst/>
          </a:prstGeom>
          <a:blipFill dpi="0" rotWithShape="1">
            <a:blip r:embed="rId4" cstate="print">
              <a:extLst>
                <a:ext uri="{28A0092B-C50C-407E-A947-70E740481C1C}">
                  <a14:useLocalDpi xmlns:a14="http://schemas.microsoft.com/office/drawing/2010/main" val="0"/>
                </a:ext>
              </a:extLst>
            </a:blip>
            <a:srcRect/>
            <a:stretch>
              <a:fillRect/>
            </a:stretch>
          </a:blipFill>
        </p:spPr>
        <p:txBody>
          <a:bodyPr/>
          <a:lstStyle>
            <a:lvl1pPr>
              <a:defRPr/>
            </a:lvl1pPr>
          </a:lstStyle>
          <a:p>
            <a:pPr lvl="0"/>
            <a:r>
              <a:rPr lang="en-US" dirty="0"/>
              <a:t> </a:t>
            </a:r>
          </a:p>
        </p:txBody>
      </p:sp>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9026"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Text Placeholder 12"/>
          <p:cNvSpPr>
            <a:spLocks noGrp="1"/>
          </p:cNvSpPr>
          <p:nvPr>
            <p:ph type="body" sz="quarter" idx="10" hasCustomPrompt="1"/>
          </p:nvPr>
        </p:nvSpPr>
        <p:spPr bwMode="gray">
          <a:xfrm>
            <a:off x="6240542" y="4364907"/>
            <a:ext cx="5327543" cy="576263"/>
          </a:xfrm>
          <a:prstGeom prst="rect">
            <a:avLst/>
          </a:prstGeom>
        </p:spPr>
        <p:txBody>
          <a:bodyPr>
            <a:noAutofit/>
          </a:bodyPr>
          <a:lstStyle>
            <a:lvl1pPr marL="0" indent="0">
              <a:spcBef>
                <a:spcPts val="0"/>
              </a:spcBef>
              <a:spcAft>
                <a:spcPts val="0"/>
              </a:spcAft>
              <a:buFont typeface="Arial" panose="020B0604020202020204" pitchFamily="34" charset="0"/>
              <a:buNone/>
              <a:defRPr sz="1200" b="0" baseline="0">
                <a:solidFill>
                  <a:schemeClr val="accent4"/>
                </a:solidFill>
                <a:latin typeface="+mj-lt"/>
              </a:defRPr>
            </a:lvl1pPr>
            <a:lvl2pPr marL="0" indent="0">
              <a:spcBef>
                <a:spcPts val="0"/>
              </a:spcBef>
              <a:spcAft>
                <a:spcPts val="0"/>
              </a:spcAft>
              <a:buNone/>
              <a:defRPr sz="1200" b="0">
                <a:solidFill>
                  <a:schemeClr val="accent4"/>
                </a:solidFill>
              </a:defRPr>
            </a:lvl2pPr>
            <a:lvl3pPr marL="0" indent="0">
              <a:spcBef>
                <a:spcPts val="0"/>
              </a:spcBef>
              <a:spcAft>
                <a:spcPts val="0"/>
              </a:spcAft>
              <a:buNone/>
              <a:defRPr sz="1200" b="0">
                <a:solidFill>
                  <a:schemeClr val="accent4"/>
                </a:solidFill>
              </a:defRPr>
            </a:lvl3pPr>
            <a:lvl4pPr marL="0" indent="0">
              <a:spcBef>
                <a:spcPts val="0"/>
              </a:spcBef>
              <a:spcAft>
                <a:spcPts val="0"/>
              </a:spcAft>
              <a:buNone/>
              <a:defRPr sz="1200" b="0">
                <a:solidFill>
                  <a:schemeClr val="accent4"/>
                </a:solidFill>
              </a:defRPr>
            </a:lvl4pPr>
            <a:lvl5pPr marL="0" indent="0">
              <a:spcBef>
                <a:spcPts val="0"/>
              </a:spcBef>
              <a:spcAft>
                <a:spcPts val="0"/>
              </a:spcAft>
              <a:buNone/>
              <a:defRPr sz="1200" b="0">
                <a:solidFill>
                  <a:schemeClr val="accent4"/>
                </a:solidFill>
              </a:defRPr>
            </a:lvl5pPr>
            <a:lvl6pPr marL="0" indent="0">
              <a:spcBef>
                <a:spcPts val="0"/>
              </a:spcBef>
              <a:spcAft>
                <a:spcPts val="0"/>
              </a:spcAft>
              <a:buNone/>
              <a:defRPr sz="1200" b="0">
                <a:solidFill>
                  <a:schemeClr val="accent4"/>
                </a:solidFill>
              </a:defRPr>
            </a:lvl6pPr>
            <a:lvl7pPr marL="0" indent="0">
              <a:spcBef>
                <a:spcPts val="0"/>
              </a:spcBef>
              <a:spcAft>
                <a:spcPts val="0"/>
              </a:spcAft>
              <a:buNone/>
              <a:defRPr sz="1200" b="0">
                <a:solidFill>
                  <a:schemeClr val="accent4"/>
                </a:solidFill>
              </a:defRPr>
            </a:lvl7pPr>
            <a:lvl8pPr marL="0" indent="0">
              <a:spcBef>
                <a:spcPts val="0"/>
              </a:spcBef>
              <a:spcAft>
                <a:spcPts val="0"/>
              </a:spcAft>
              <a:buNone/>
              <a:defRPr sz="1200" b="0">
                <a:solidFill>
                  <a:schemeClr val="accent4"/>
                </a:solidFill>
              </a:defRPr>
            </a:lvl8pPr>
            <a:lvl9pPr marL="0" indent="0">
              <a:spcBef>
                <a:spcPts val="0"/>
              </a:spcBef>
              <a:spcAft>
                <a:spcPts val="0"/>
              </a:spcAft>
              <a:buNone/>
              <a:defRPr sz="1200" b="0">
                <a:solidFill>
                  <a:schemeClr val="accent4"/>
                </a:solidFill>
              </a:defRPr>
            </a:lvl9pPr>
          </a:lstStyle>
          <a:p>
            <a:pPr lvl="0"/>
            <a:r>
              <a:rPr lang="en-US" noProof="0" dirty="0"/>
              <a:t>Name</a:t>
            </a:r>
            <a:br>
              <a:rPr lang="en-US" noProof="0" dirty="0"/>
            </a:br>
            <a:r>
              <a:rPr lang="en-US" noProof="0" dirty="0"/>
              <a:t>Place, Date</a:t>
            </a:r>
          </a:p>
        </p:txBody>
      </p:sp>
      <p:sp>
        <p:nvSpPr>
          <p:cNvPr id="3" name="Subtitle 2"/>
          <p:cNvSpPr>
            <a:spLocks noGrp="1"/>
          </p:cNvSpPr>
          <p:nvPr>
            <p:ph type="subTitle" idx="1" hasCustomPrompt="1"/>
          </p:nvPr>
        </p:nvSpPr>
        <p:spPr bwMode="gray">
          <a:xfrm>
            <a:off x="6240923" y="3573087"/>
            <a:ext cx="5327192" cy="648000"/>
          </a:xfrm>
          <a:prstGeom prst="rect">
            <a:avLst/>
          </a:prstGeom>
        </p:spPr>
        <p:txBody>
          <a:bodyPr>
            <a:noAutofit/>
          </a:bodyPr>
          <a:lstStyle>
            <a:lvl1pPr marL="0" indent="0" algn="l">
              <a:spcBef>
                <a:spcPts val="0"/>
              </a:spcBef>
              <a:spcAft>
                <a:spcPts val="900"/>
              </a:spcAft>
              <a:buNone/>
              <a:defRPr sz="1200" b="1" i="0" baseline="0">
                <a:solidFill>
                  <a:schemeClr val="accent4"/>
                </a:solidFill>
                <a:latin typeface="+mn-lt"/>
              </a:defRPr>
            </a:lvl1pPr>
            <a:lvl2pPr marL="0" indent="0" algn="l">
              <a:spcBef>
                <a:spcPts val="0"/>
              </a:spcBef>
              <a:spcAft>
                <a:spcPts val="900"/>
              </a:spcAft>
              <a:buNone/>
              <a:defRPr sz="1200" b="1">
                <a:solidFill>
                  <a:schemeClr val="accent4"/>
                </a:solidFill>
              </a:defRPr>
            </a:lvl2pPr>
            <a:lvl3pPr marL="0" indent="0" algn="l">
              <a:spcBef>
                <a:spcPts val="0"/>
              </a:spcBef>
              <a:spcAft>
                <a:spcPts val="900"/>
              </a:spcAft>
              <a:buNone/>
              <a:defRPr sz="1200" b="1">
                <a:solidFill>
                  <a:schemeClr val="accent4"/>
                </a:solidFill>
              </a:defRPr>
            </a:lvl3pPr>
            <a:lvl4pPr marL="0" indent="0" algn="l">
              <a:spcBef>
                <a:spcPts val="0"/>
              </a:spcBef>
              <a:spcAft>
                <a:spcPts val="900"/>
              </a:spcAft>
              <a:buNone/>
              <a:defRPr sz="1200" b="1">
                <a:solidFill>
                  <a:schemeClr val="accent4"/>
                </a:solidFill>
              </a:defRPr>
            </a:lvl4pPr>
            <a:lvl5pPr marL="0" indent="0" algn="l">
              <a:spcBef>
                <a:spcPts val="0"/>
              </a:spcBef>
              <a:spcAft>
                <a:spcPts val="900"/>
              </a:spcAft>
              <a:buNone/>
              <a:defRPr sz="1200" b="1">
                <a:solidFill>
                  <a:schemeClr val="accent4"/>
                </a:solidFill>
              </a:defRPr>
            </a:lvl5pPr>
            <a:lvl6pPr marL="0" indent="0" algn="l">
              <a:spcBef>
                <a:spcPts val="0"/>
              </a:spcBef>
              <a:spcAft>
                <a:spcPts val="900"/>
              </a:spcAft>
              <a:buNone/>
              <a:defRPr sz="1200" b="1">
                <a:solidFill>
                  <a:schemeClr val="accent4"/>
                </a:solidFill>
              </a:defRPr>
            </a:lvl6pPr>
            <a:lvl7pPr marL="0" indent="0" algn="l">
              <a:spcBef>
                <a:spcPts val="0"/>
              </a:spcBef>
              <a:spcAft>
                <a:spcPts val="900"/>
              </a:spcAft>
              <a:buNone/>
              <a:defRPr sz="1200" b="1">
                <a:solidFill>
                  <a:schemeClr val="accent4"/>
                </a:solidFill>
              </a:defRPr>
            </a:lvl7pPr>
            <a:lvl8pPr marL="0" indent="0" algn="l">
              <a:spcBef>
                <a:spcPts val="0"/>
              </a:spcBef>
              <a:spcAft>
                <a:spcPts val="900"/>
              </a:spcAft>
              <a:buNone/>
              <a:defRPr sz="1200" b="1">
                <a:solidFill>
                  <a:schemeClr val="accent4"/>
                </a:solidFill>
              </a:defRPr>
            </a:lvl8pPr>
            <a:lvl9pPr marL="0" indent="0" algn="l">
              <a:spcBef>
                <a:spcPts val="0"/>
              </a:spcBef>
              <a:spcAft>
                <a:spcPts val="900"/>
              </a:spcAft>
              <a:buNone/>
              <a:defRPr sz="1200" b="1">
                <a:solidFill>
                  <a:schemeClr val="accent4"/>
                </a:solidFill>
              </a:defRPr>
            </a:lvl9pPr>
          </a:lstStyle>
          <a:p>
            <a:r>
              <a:rPr lang="en-US" noProof="0" dirty="0"/>
              <a:t>Subtitle and other information of this presentation</a:t>
            </a:r>
          </a:p>
        </p:txBody>
      </p:sp>
      <p:sp>
        <p:nvSpPr>
          <p:cNvPr id="2" name="Title 1"/>
          <p:cNvSpPr>
            <a:spLocks noGrp="1"/>
          </p:cNvSpPr>
          <p:nvPr>
            <p:ph type="ctrTitle" hasCustomPrompt="1"/>
          </p:nvPr>
        </p:nvSpPr>
        <p:spPr bwMode="gray">
          <a:xfrm>
            <a:off x="6240923" y="2949752"/>
            <a:ext cx="5327192" cy="479841"/>
          </a:xfrm>
          <a:prstGeom prst="rect">
            <a:avLst/>
          </a:prstGeom>
          <a:noFill/>
        </p:spPr>
        <p:txBody>
          <a:bodyPr anchor="b"/>
          <a:lstStyle>
            <a:lvl1pPr algn="l">
              <a:lnSpc>
                <a:spcPct val="100000"/>
              </a:lnSpc>
              <a:defRPr sz="3000" cap="none" baseline="0">
                <a:solidFill>
                  <a:schemeClr val="bg2"/>
                </a:solidFill>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sp>
        <p:nvSpPr>
          <p:cNvPr id="20" name="Rechteck 18"/>
          <p:cNvSpPr/>
          <p:nvPr userDrawn="1"/>
        </p:nvSpPr>
        <p:spPr bwMode="gray">
          <a:xfrm rot="4440000">
            <a:off x="2220597" y="1787834"/>
            <a:ext cx="4346140" cy="3086553"/>
          </a:xfrm>
          <a:prstGeom prst="rect">
            <a:avLst/>
          </a:prstGeom>
          <a:noFill/>
          <a:ln w="9525" cap="flat" cmpd="sng" algn="ctr">
            <a:noFill/>
            <a:prstDash val="solid"/>
          </a:ln>
          <a:effectLst/>
        </p:spPr>
        <p:txBody>
          <a:bodyPr spcFirstLastPara="1" lIns="0" tIns="0" rIns="0" bIns="0" numCol="1" rtlCol="0" anchor="t" anchorCtr="0">
            <a:prstTxWarp prst="textArchUp">
              <a:avLst/>
            </a:prstTxWarp>
          </a:bodyPr>
          <a:lstStyle/>
          <a:p>
            <a:pPr marL="0" indent="0" algn="ctr">
              <a:spcBef>
                <a:spcPts val="225"/>
              </a:spcBef>
              <a:spcAft>
                <a:spcPts val="225"/>
              </a:spcAft>
              <a:buClr>
                <a:schemeClr val="bg1"/>
              </a:buClr>
              <a:buSzPct val="100000"/>
              <a:buFont typeface="Arial" panose="020B0604020202020204" pitchFamily="34" charset="0"/>
              <a:buNone/>
            </a:pPr>
            <a:r>
              <a:rPr lang="en-US" sz="525" kern="0" dirty="0">
                <a:solidFill>
                  <a:schemeClr val="bg2"/>
                </a:solidFill>
                <a:latin typeface="+mn-lt"/>
              </a:rPr>
              <a:t>MilliporeSigma is a business of Merck KGaA, Darmstadt, Germany</a:t>
            </a:r>
            <a:endParaRPr lang="de-DE" sz="525" kern="0" dirty="0">
              <a:solidFill>
                <a:schemeClr val="bg2"/>
              </a:solidFill>
              <a:latin typeface="Verdana"/>
            </a:endParaRPr>
          </a:p>
        </p:txBody>
      </p:sp>
      <p:sp>
        <p:nvSpPr>
          <p:cNvPr id="21" name="Rechteck 19"/>
          <p:cNvSpPr/>
          <p:nvPr userDrawn="1"/>
        </p:nvSpPr>
        <p:spPr bwMode="gray">
          <a:xfrm>
            <a:off x="0" y="-387424"/>
            <a:ext cx="12192000" cy="288032"/>
          </a:xfrm>
          <a:prstGeom prst="rect">
            <a:avLst/>
          </a:prstGeom>
          <a:solidFill>
            <a:srgbClr val="E61E50"/>
          </a:solidFill>
          <a:ln w="9525" cap="flat" cmpd="sng" algn="ctr">
            <a:noFill/>
            <a:prstDash val="solid"/>
          </a:ln>
          <a:effectLst/>
        </p:spPr>
        <p:txBody>
          <a:bodyPr rtlCol="0" anchor="ctr" anchorCtr="0"/>
          <a:lstStyle/>
          <a:p>
            <a:pPr marL="0" indent="0" algn="ctr">
              <a:spcBef>
                <a:spcPts val="225"/>
              </a:spcBef>
              <a:spcAft>
                <a:spcPts val="225"/>
              </a:spcAft>
              <a:buClr>
                <a:schemeClr val="bg1"/>
              </a:buClr>
              <a:buSzPct val="100000"/>
              <a:buFont typeface="Arial" panose="020B0604020202020204" pitchFamily="34" charset="0"/>
              <a:buNone/>
            </a:pPr>
            <a:r>
              <a:rPr lang="en-US" sz="1050" kern="0" dirty="0">
                <a:solidFill>
                  <a:srgbClr val="FFFFFF"/>
                </a:solidFill>
                <a:latin typeface="+mn-lt"/>
              </a:rPr>
              <a:t>Only to be used in USA &amp; Canada, never outside these two countries</a:t>
            </a:r>
            <a:endParaRPr lang="de-DE" sz="1050" kern="0" dirty="0">
              <a:solidFill>
                <a:srgbClr val="FFFFFF"/>
              </a:solidFill>
              <a:latin typeface="Verdana"/>
            </a:endParaRPr>
          </a:p>
        </p:txBody>
      </p:sp>
      <p:sp>
        <p:nvSpPr>
          <p:cNvPr id="17" name="Freeform 5"/>
          <p:cNvSpPr>
            <a:spLocks noEditPoints="1"/>
          </p:cNvSpPr>
          <p:nvPr userDrawn="1"/>
        </p:nvSpPr>
        <p:spPr bwMode="auto">
          <a:xfrm>
            <a:off x="9969502" y="6060209"/>
            <a:ext cx="1820863" cy="465137"/>
          </a:xfrm>
          <a:custGeom>
            <a:avLst/>
            <a:gdLst>
              <a:gd name="T0" fmla="*/ 5746 w 47033"/>
              <a:gd name="T1" fmla="*/ 7214 h 11985"/>
              <a:gd name="T2" fmla="*/ 157 w 47033"/>
              <a:gd name="T3" fmla="*/ 7953 h 11985"/>
              <a:gd name="T4" fmla="*/ 3892 w 47033"/>
              <a:gd name="T5" fmla="*/ 10065 h 11985"/>
              <a:gd name="T6" fmla="*/ 1042 w 47033"/>
              <a:gd name="T7" fmla="*/ 10025 h 11985"/>
              <a:gd name="T8" fmla="*/ 2274 w 47033"/>
              <a:gd name="T9" fmla="*/ 11918 h 11985"/>
              <a:gd name="T10" fmla="*/ 5242 w 47033"/>
              <a:gd name="T11" fmla="*/ 9018 h 11985"/>
              <a:gd name="T12" fmla="*/ 12027 w 47033"/>
              <a:gd name="T13" fmla="*/ 840 h 11985"/>
              <a:gd name="T14" fmla="*/ 2328 w 47033"/>
              <a:gd name="T15" fmla="*/ 405 h 11985"/>
              <a:gd name="T16" fmla="*/ 1484 w 47033"/>
              <a:gd name="T17" fmla="*/ 5712 h 11985"/>
              <a:gd name="T18" fmla="*/ 9685 w 47033"/>
              <a:gd name="T19" fmla="*/ 3071 h 11985"/>
              <a:gd name="T20" fmla="*/ 12027 w 47033"/>
              <a:gd name="T21" fmla="*/ 5543 h 11985"/>
              <a:gd name="T22" fmla="*/ 37476 w 47033"/>
              <a:gd name="T23" fmla="*/ 4017 h 11985"/>
              <a:gd name="T24" fmla="*/ 39160 w 47033"/>
              <a:gd name="T25" fmla="*/ 2513 h 11985"/>
              <a:gd name="T26" fmla="*/ 35890 w 47033"/>
              <a:gd name="T27" fmla="*/ 5657 h 11985"/>
              <a:gd name="T28" fmla="*/ 35115 w 47033"/>
              <a:gd name="T29" fmla="*/ 124 h 11985"/>
              <a:gd name="T30" fmla="*/ 40508 w 47033"/>
              <a:gd name="T31" fmla="*/ 3372 h 11985"/>
              <a:gd name="T32" fmla="*/ 43843 w 47033"/>
              <a:gd name="T33" fmla="*/ 4078 h 11985"/>
              <a:gd name="T34" fmla="*/ 43824 w 47033"/>
              <a:gd name="T35" fmla="*/ 1468 h 11985"/>
              <a:gd name="T36" fmla="*/ 44709 w 47033"/>
              <a:gd name="T37" fmla="*/ 3605 h 11985"/>
              <a:gd name="T38" fmla="*/ 43809 w 47033"/>
              <a:gd name="T39" fmla="*/ 0 h 11985"/>
              <a:gd name="T40" fmla="*/ 44542 w 47033"/>
              <a:gd name="T41" fmla="*/ 5712 h 11985"/>
              <a:gd name="T42" fmla="*/ 28851 w 47033"/>
              <a:gd name="T43" fmla="*/ 157 h 11985"/>
              <a:gd name="T44" fmla="*/ 33992 w 47033"/>
              <a:gd name="T45" fmla="*/ 5141 h 11985"/>
              <a:gd name="T46" fmla="*/ 28986 w 47033"/>
              <a:gd name="T47" fmla="*/ 0 h 11985"/>
              <a:gd name="T48" fmla="*/ 32855 w 47033"/>
              <a:gd name="T49" fmla="*/ 4077 h 11985"/>
              <a:gd name="T50" fmla="*/ 26686 w 47033"/>
              <a:gd name="T51" fmla="*/ 7111 h 11985"/>
              <a:gd name="T52" fmla="*/ 16988 w 47033"/>
              <a:gd name="T53" fmla="*/ 6676 h 11985"/>
              <a:gd name="T54" fmla="*/ 16144 w 47033"/>
              <a:gd name="T55" fmla="*/ 11982 h 11985"/>
              <a:gd name="T56" fmla="*/ 24345 w 47033"/>
              <a:gd name="T57" fmla="*/ 9342 h 11985"/>
              <a:gd name="T58" fmla="*/ 26686 w 47033"/>
              <a:gd name="T59" fmla="*/ 11814 h 11985"/>
              <a:gd name="T60" fmla="*/ 12607 w 47033"/>
              <a:gd name="T61" fmla="*/ 157 h 11985"/>
              <a:gd name="T62" fmla="*/ 14174 w 47033"/>
              <a:gd name="T63" fmla="*/ 2897 h 11985"/>
              <a:gd name="T64" fmla="*/ 12842 w 47033"/>
              <a:gd name="T65" fmla="*/ 5477 h 11985"/>
              <a:gd name="T66" fmla="*/ 17175 w 47033"/>
              <a:gd name="T67" fmla="*/ 4265 h 11985"/>
              <a:gd name="T68" fmla="*/ 15440 w 47033"/>
              <a:gd name="T69" fmla="*/ 0 h 11985"/>
              <a:gd name="T70" fmla="*/ 17175 w 47033"/>
              <a:gd name="T71" fmla="*/ 5766 h 11985"/>
              <a:gd name="T72" fmla="*/ 24357 w 47033"/>
              <a:gd name="T73" fmla="*/ 2588 h 11985"/>
              <a:gd name="T74" fmla="*/ 26793 w 47033"/>
              <a:gd name="T75" fmla="*/ 2823 h 11985"/>
              <a:gd name="T76" fmla="*/ 22772 w 47033"/>
              <a:gd name="T77" fmla="*/ 1 h 11985"/>
              <a:gd name="T78" fmla="*/ 24206 w 47033"/>
              <a:gd name="T79" fmla="*/ 4279 h 11985"/>
              <a:gd name="T80" fmla="*/ 27395 w 47033"/>
              <a:gd name="T81" fmla="*/ 10806 h 11985"/>
              <a:gd name="T82" fmla="*/ 32640 w 47033"/>
              <a:gd name="T83" fmla="*/ 8287 h 11985"/>
              <a:gd name="T84" fmla="*/ 27502 w 47033"/>
              <a:gd name="T85" fmla="*/ 7515 h 11985"/>
              <a:gd name="T86" fmla="*/ 27098 w 47033"/>
              <a:gd name="T87" fmla="*/ 9798 h 11985"/>
              <a:gd name="T88" fmla="*/ 29175 w 47033"/>
              <a:gd name="T89" fmla="*/ 10517 h 11985"/>
              <a:gd name="T90" fmla="*/ 10571 w 47033"/>
              <a:gd name="T91" fmla="*/ 8701 h 11985"/>
              <a:gd name="T92" fmla="*/ 11747 w 47033"/>
              <a:gd name="T93" fmla="*/ 10504 h 11985"/>
              <a:gd name="T94" fmla="*/ 13930 w 47033"/>
              <a:gd name="T95" fmla="*/ 7750 h 11985"/>
              <a:gd name="T96" fmla="*/ 9092 w 47033"/>
              <a:gd name="T97" fmla="*/ 6932 h 11985"/>
              <a:gd name="T98" fmla="*/ 14042 w 47033"/>
              <a:gd name="T99" fmla="*/ 11983 h 11985"/>
              <a:gd name="T100" fmla="*/ 19265 w 47033"/>
              <a:gd name="T101" fmla="*/ 3897 h 11985"/>
              <a:gd name="T102" fmla="*/ 17435 w 47033"/>
              <a:gd name="T103" fmla="*/ 135 h 11985"/>
              <a:gd name="T104" fmla="*/ 22053 w 47033"/>
              <a:gd name="T105" fmla="*/ 1321 h 11985"/>
              <a:gd name="T106" fmla="*/ 20620 w 47033"/>
              <a:gd name="T107" fmla="*/ 1477 h 11985"/>
              <a:gd name="T108" fmla="*/ 21169 w 47033"/>
              <a:gd name="T109" fmla="*/ 2024 h 11985"/>
              <a:gd name="T110" fmla="*/ 21896 w 47033"/>
              <a:gd name="T111" fmla="*/ 5712 h 11985"/>
              <a:gd name="T112" fmla="*/ 6283 w 47033"/>
              <a:gd name="T113" fmla="*/ 6427 h 11985"/>
              <a:gd name="T114" fmla="*/ 7850 w 47033"/>
              <a:gd name="T115" fmla="*/ 9168 h 11985"/>
              <a:gd name="T116" fmla="*/ 6518 w 47033"/>
              <a:gd name="T117" fmla="*/ 11748 h 11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033" h="11985">
                <a:moveTo>
                  <a:pt x="3646" y="7701"/>
                </a:moveTo>
                <a:cubicBezTo>
                  <a:pt x="3911" y="7772"/>
                  <a:pt x="4140" y="7863"/>
                  <a:pt x="4335" y="7976"/>
                </a:cubicBezTo>
                <a:cubicBezTo>
                  <a:pt x="4432" y="8036"/>
                  <a:pt x="4505" y="8073"/>
                  <a:pt x="4553" y="8088"/>
                </a:cubicBezTo>
                <a:cubicBezTo>
                  <a:pt x="4602" y="8103"/>
                  <a:pt x="4656" y="8110"/>
                  <a:pt x="4716" y="8110"/>
                </a:cubicBezTo>
                <a:cubicBezTo>
                  <a:pt x="4850" y="8110"/>
                  <a:pt x="4992" y="8036"/>
                  <a:pt x="5141" y="7886"/>
                </a:cubicBezTo>
                <a:cubicBezTo>
                  <a:pt x="5712" y="7292"/>
                  <a:pt x="5712" y="7292"/>
                  <a:pt x="5712" y="7292"/>
                </a:cubicBezTo>
                <a:cubicBezTo>
                  <a:pt x="5735" y="7270"/>
                  <a:pt x="5746" y="7244"/>
                  <a:pt x="5746" y="7214"/>
                </a:cubicBezTo>
                <a:cubicBezTo>
                  <a:pt x="5746" y="7177"/>
                  <a:pt x="5723" y="7136"/>
                  <a:pt x="5679" y="7091"/>
                </a:cubicBezTo>
                <a:cubicBezTo>
                  <a:pt x="5358" y="6800"/>
                  <a:pt x="4942" y="6572"/>
                  <a:pt x="4430" y="6408"/>
                </a:cubicBezTo>
                <a:cubicBezTo>
                  <a:pt x="3919" y="6244"/>
                  <a:pt x="3379" y="6162"/>
                  <a:pt x="2812" y="6162"/>
                </a:cubicBezTo>
                <a:cubicBezTo>
                  <a:pt x="2460" y="6162"/>
                  <a:pt x="2127" y="6194"/>
                  <a:pt x="1809" y="6262"/>
                </a:cubicBezTo>
                <a:cubicBezTo>
                  <a:pt x="1492" y="6329"/>
                  <a:pt x="1210" y="6434"/>
                  <a:pt x="964" y="6576"/>
                </a:cubicBezTo>
                <a:cubicBezTo>
                  <a:pt x="717" y="6718"/>
                  <a:pt x="521" y="6903"/>
                  <a:pt x="376" y="7130"/>
                </a:cubicBezTo>
                <a:cubicBezTo>
                  <a:pt x="230" y="7358"/>
                  <a:pt x="157" y="7632"/>
                  <a:pt x="157" y="7953"/>
                </a:cubicBezTo>
                <a:cubicBezTo>
                  <a:pt x="157" y="8237"/>
                  <a:pt x="220" y="8479"/>
                  <a:pt x="348" y="8682"/>
                </a:cubicBezTo>
                <a:cubicBezTo>
                  <a:pt x="475" y="8883"/>
                  <a:pt x="650" y="9054"/>
                  <a:pt x="873" y="9196"/>
                </a:cubicBezTo>
                <a:cubicBezTo>
                  <a:pt x="1098" y="9338"/>
                  <a:pt x="1363" y="9452"/>
                  <a:pt x="1669" y="9538"/>
                </a:cubicBezTo>
                <a:cubicBezTo>
                  <a:pt x="1975" y="9624"/>
                  <a:pt x="2307" y="9693"/>
                  <a:pt x="2666" y="9745"/>
                </a:cubicBezTo>
                <a:cubicBezTo>
                  <a:pt x="2927" y="9783"/>
                  <a:pt x="3140" y="9818"/>
                  <a:pt x="3304" y="9852"/>
                </a:cubicBezTo>
                <a:cubicBezTo>
                  <a:pt x="3469" y="9885"/>
                  <a:pt x="3599" y="9919"/>
                  <a:pt x="3696" y="9952"/>
                </a:cubicBezTo>
                <a:cubicBezTo>
                  <a:pt x="3793" y="9986"/>
                  <a:pt x="3859" y="10023"/>
                  <a:pt x="3892" y="10065"/>
                </a:cubicBezTo>
                <a:cubicBezTo>
                  <a:pt x="3926" y="10105"/>
                  <a:pt x="3943" y="10156"/>
                  <a:pt x="3943" y="10216"/>
                </a:cubicBezTo>
                <a:cubicBezTo>
                  <a:pt x="3943" y="10335"/>
                  <a:pt x="3870" y="10419"/>
                  <a:pt x="3724" y="10468"/>
                </a:cubicBezTo>
                <a:cubicBezTo>
                  <a:pt x="3579" y="10516"/>
                  <a:pt x="3386" y="10541"/>
                  <a:pt x="3148" y="10541"/>
                </a:cubicBezTo>
                <a:cubicBezTo>
                  <a:pt x="2752" y="10541"/>
                  <a:pt x="2416" y="10507"/>
                  <a:pt x="2139" y="10440"/>
                </a:cubicBezTo>
                <a:cubicBezTo>
                  <a:pt x="1863" y="10372"/>
                  <a:pt x="1624" y="10279"/>
                  <a:pt x="1422" y="10160"/>
                </a:cubicBezTo>
                <a:cubicBezTo>
                  <a:pt x="1326" y="10100"/>
                  <a:pt x="1253" y="10063"/>
                  <a:pt x="1205" y="10048"/>
                </a:cubicBezTo>
                <a:cubicBezTo>
                  <a:pt x="1156" y="10033"/>
                  <a:pt x="1102" y="10025"/>
                  <a:pt x="1042" y="10025"/>
                </a:cubicBezTo>
                <a:cubicBezTo>
                  <a:pt x="907" y="10025"/>
                  <a:pt x="766" y="10100"/>
                  <a:pt x="616" y="10249"/>
                </a:cubicBezTo>
                <a:cubicBezTo>
                  <a:pt x="34" y="10854"/>
                  <a:pt x="34" y="10854"/>
                  <a:pt x="34" y="10854"/>
                </a:cubicBezTo>
                <a:cubicBezTo>
                  <a:pt x="11" y="10877"/>
                  <a:pt x="0" y="10903"/>
                  <a:pt x="0" y="10932"/>
                </a:cubicBezTo>
                <a:cubicBezTo>
                  <a:pt x="0" y="10970"/>
                  <a:pt x="23" y="11011"/>
                  <a:pt x="68" y="11056"/>
                </a:cubicBezTo>
                <a:cubicBezTo>
                  <a:pt x="210" y="11198"/>
                  <a:pt x="390" y="11327"/>
                  <a:pt x="611" y="11442"/>
                </a:cubicBezTo>
                <a:cubicBezTo>
                  <a:pt x="831" y="11558"/>
                  <a:pt x="1081" y="11655"/>
                  <a:pt x="1361" y="11733"/>
                </a:cubicBezTo>
                <a:cubicBezTo>
                  <a:pt x="1641" y="11812"/>
                  <a:pt x="1945" y="11873"/>
                  <a:pt x="2274" y="11918"/>
                </a:cubicBezTo>
                <a:cubicBezTo>
                  <a:pt x="2602" y="11963"/>
                  <a:pt x="2946" y="11985"/>
                  <a:pt x="3304" y="11985"/>
                </a:cubicBezTo>
                <a:cubicBezTo>
                  <a:pt x="5668" y="11985"/>
                  <a:pt x="5668" y="11985"/>
                  <a:pt x="5668" y="11985"/>
                </a:cubicBezTo>
                <a:cubicBezTo>
                  <a:pt x="5705" y="11985"/>
                  <a:pt x="5731" y="11970"/>
                  <a:pt x="5746" y="11941"/>
                </a:cubicBezTo>
                <a:cubicBezTo>
                  <a:pt x="5753" y="11926"/>
                  <a:pt x="5757" y="11907"/>
                  <a:pt x="5757" y="11884"/>
                </a:cubicBezTo>
                <a:cubicBezTo>
                  <a:pt x="5757" y="10574"/>
                  <a:pt x="5757" y="10574"/>
                  <a:pt x="5757" y="10574"/>
                </a:cubicBezTo>
                <a:cubicBezTo>
                  <a:pt x="5757" y="10193"/>
                  <a:pt x="5712" y="9878"/>
                  <a:pt x="5623" y="9628"/>
                </a:cubicBezTo>
                <a:cubicBezTo>
                  <a:pt x="5534" y="9378"/>
                  <a:pt x="5406" y="9174"/>
                  <a:pt x="5242" y="9018"/>
                </a:cubicBezTo>
                <a:cubicBezTo>
                  <a:pt x="5078" y="8860"/>
                  <a:pt x="4878" y="8741"/>
                  <a:pt x="4643" y="8659"/>
                </a:cubicBezTo>
                <a:cubicBezTo>
                  <a:pt x="4408" y="8577"/>
                  <a:pt x="4144" y="8513"/>
                  <a:pt x="3853" y="8469"/>
                </a:cubicBezTo>
                <a:cubicBezTo>
                  <a:pt x="3248" y="8379"/>
                  <a:pt x="2770" y="8297"/>
                  <a:pt x="2419" y="8222"/>
                </a:cubicBezTo>
                <a:cubicBezTo>
                  <a:pt x="2069" y="8147"/>
                  <a:pt x="1893" y="8039"/>
                  <a:pt x="1893" y="7897"/>
                </a:cubicBezTo>
                <a:cubicBezTo>
                  <a:pt x="1893" y="7696"/>
                  <a:pt x="2177" y="7595"/>
                  <a:pt x="2745" y="7595"/>
                </a:cubicBezTo>
                <a:cubicBezTo>
                  <a:pt x="3081" y="7595"/>
                  <a:pt x="3381" y="7630"/>
                  <a:pt x="3646" y="7701"/>
                </a:cubicBezTo>
                <a:close/>
                <a:moveTo>
                  <a:pt x="12027" y="840"/>
                </a:moveTo>
                <a:cubicBezTo>
                  <a:pt x="12027" y="376"/>
                  <a:pt x="11651" y="0"/>
                  <a:pt x="11187" y="0"/>
                </a:cubicBezTo>
                <a:cubicBezTo>
                  <a:pt x="10297" y="0"/>
                  <a:pt x="10297" y="0"/>
                  <a:pt x="10297" y="0"/>
                </a:cubicBezTo>
                <a:cubicBezTo>
                  <a:pt x="10253" y="1"/>
                  <a:pt x="10213" y="18"/>
                  <a:pt x="10183" y="46"/>
                </a:cubicBezTo>
                <a:cubicBezTo>
                  <a:pt x="8399" y="1721"/>
                  <a:pt x="8399" y="1721"/>
                  <a:pt x="8399" y="1721"/>
                </a:cubicBezTo>
                <a:cubicBezTo>
                  <a:pt x="7789" y="2294"/>
                  <a:pt x="6967" y="2617"/>
                  <a:pt x="6063" y="2617"/>
                </a:cubicBezTo>
                <a:cubicBezTo>
                  <a:pt x="5121" y="2617"/>
                  <a:pt x="4269" y="2265"/>
                  <a:pt x="3651" y="1648"/>
                </a:cubicBezTo>
                <a:cubicBezTo>
                  <a:pt x="3651" y="1648"/>
                  <a:pt x="2340" y="416"/>
                  <a:pt x="2328" y="405"/>
                </a:cubicBezTo>
                <a:cubicBezTo>
                  <a:pt x="2077" y="171"/>
                  <a:pt x="1730" y="9"/>
                  <a:pt x="1332" y="0"/>
                </a:cubicBezTo>
                <a:cubicBezTo>
                  <a:pt x="267" y="0"/>
                  <a:pt x="267" y="0"/>
                  <a:pt x="267" y="0"/>
                </a:cubicBezTo>
                <a:cubicBezTo>
                  <a:pt x="175" y="0"/>
                  <a:pt x="99" y="76"/>
                  <a:pt x="99" y="168"/>
                </a:cubicBezTo>
                <a:cubicBezTo>
                  <a:pt x="99" y="4872"/>
                  <a:pt x="99" y="4872"/>
                  <a:pt x="99" y="4872"/>
                </a:cubicBezTo>
                <a:cubicBezTo>
                  <a:pt x="99" y="5336"/>
                  <a:pt x="475" y="5712"/>
                  <a:pt x="939" y="5712"/>
                </a:cubicBezTo>
                <a:cubicBezTo>
                  <a:pt x="1264" y="5712"/>
                  <a:pt x="1264" y="5712"/>
                  <a:pt x="1264" y="5712"/>
                </a:cubicBezTo>
                <a:cubicBezTo>
                  <a:pt x="1484" y="5712"/>
                  <a:pt x="1484" y="5712"/>
                  <a:pt x="1484" y="5712"/>
                </a:cubicBezTo>
                <a:cubicBezTo>
                  <a:pt x="1577" y="5712"/>
                  <a:pt x="1653" y="5636"/>
                  <a:pt x="1653" y="5543"/>
                </a:cubicBezTo>
                <a:cubicBezTo>
                  <a:pt x="1653" y="3869"/>
                  <a:pt x="1653" y="3869"/>
                  <a:pt x="1653" y="3869"/>
                </a:cubicBezTo>
                <a:cubicBezTo>
                  <a:pt x="1653" y="3432"/>
                  <a:pt x="2010" y="3071"/>
                  <a:pt x="2441" y="3071"/>
                </a:cubicBezTo>
                <a:cubicBezTo>
                  <a:pt x="3242" y="3071"/>
                  <a:pt x="3816" y="3757"/>
                  <a:pt x="4335" y="4216"/>
                </a:cubicBezTo>
                <a:cubicBezTo>
                  <a:pt x="4971" y="4777"/>
                  <a:pt x="5461" y="5318"/>
                  <a:pt x="6063" y="5318"/>
                </a:cubicBezTo>
                <a:cubicBezTo>
                  <a:pt x="6665" y="5318"/>
                  <a:pt x="7155" y="4777"/>
                  <a:pt x="7791" y="4216"/>
                </a:cubicBezTo>
                <a:cubicBezTo>
                  <a:pt x="8310" y="3757"/>
                  <a:pt x="8884" y="3071"/>
                  <a:pt x="9685" y="3071"/>
                </a:cubicBezTo>
                <a:cubicBezTo>
                  <a:pt x="10113" y="3071"/>
                  <a:pt x="10469" y="3428"/>
                  <a:pt x="10473" y="3862"/>
                </a:cubicBezTo>
                <a:cubicBezTo>
                  <a:pt x="10473" y="3862"/>
                  <a:pt x="10473" y="4865"/>
                  <a:pt x="10473" y="4872"/>
                </a:cubicBezTo>
                <a:cubicBezTo>
                  <a:pt x="10473" y="5336"/>
                  <a:pt x="10849" y="5711"/>
                  <a:pt x="11313" y="5711"/>
                </a:cubicBezTo>
                <a:cubicBezTo>
                  <a:pt x="11313" y="5711"/>
                  <a:pt x="11662" y="5711"/>
                  <a:pt x="11676" y="5711"/>
                </a:cubicBezTo>
                <a:cubicBezTo>
                  <a:pt x="11770" y="5711"/>
                  <a:pt x="11858" y="5712"/>
                  <a:pt x="11858" y="5712"/>
                </a:cubicBezTo>
                <a:cubicBezTo>
                  <a:pt x="11858" y="5712"/>
                  <a:pt x="11858" y="5712"/>
                  <a:pt x="11858" y="5712"/>
                </a:cubicBezTo>
                <a:cubicBezTo>
                  <a:pt x="11951" y="5712"/>
                  <a:pt x="12027" y="5636"/>
                  <a:pt x="12027" y="5543"/>
                </a:cubicBezTo>
                <a:cubicBezTo>
                  <a:pt x="12027" y="5541"/>
                  <a:pt x="12027" y="880"/>
                  <a:pt x="12027" y="840"/>
                </a:cubicBezTo>
                <a:close/>
                <a:moveTo>
                  <a:pt x="41328" y="5154"/>
                </a:moveTo>
                <a:cubicBezTo>
                  <a:pt x="41328" y="5550"/>
                  <a:pt x="41328" y="5550"/>
                  <a:pt x="41328" y="5550"/>
                </a:cubicBezTo>
                <a:cubicBezTo>
                  <a:pt x="41328" y="5655"/>
                  <a:pt x="41284" y="5713"/>
                  <a:pt x="41196" y="5713"/>
                </a:cubicBezTo>
                <a:cubicBezTo>
                  <a:pt x="39953" y="5711"/>
                  <a:pt x="39953" y="5711"/>
                  <a:pt x="39953" y="5711"/>
                </a:cubicBezTo>
                <a:cubicBezTo>
                  <a:pt x="39741" y="5711"/>
                  <a:pt x="39544" y="5637"/>
                  <a:pt x="39361" y="5504"/>
                </a:cubicBezTo>
                <a:cubicBezTo>
                  <a:pt x="39361" y="5504"/>
                  <a:pt x="37482" y="4022"/>
                  <a:pt x="37476" y="4017"/>
                </a:cubicBezTo>
                <a:cubicBezTo>
                  <a:pt x="37350" y="3905"/>
                  <a:pt x="37266" y="3719"/>
                  <a:pt x="37266" y="3508"/>
                </a:cubicBezTo>
                <a:cubicBezTo>
                  <a:pt x="37266" y="3508"/>
                  <a:pt x="37266" y="2897"/>
                  <a:pt x="37266" y="2897"/>
                </a:cubicBezTo>
                <a:cubicBezTo>
                  <a:pt x="37266" y="2793"/>
                  <a:pt x="37298" y="2741"/>
                  <a:pt x="37364" y="2741"/>
                </a:cubicBezTo>
                <a:cubicBezTo>
                  <a:pt x="37430" y="2741"/>
                  <a:pt x="37520" y="2784"/>
                  <a:pt x="37565" y="2798"/>
                </a:cubicBezTo>
                <a:cubicBezTo>
                  <a:pt x="37662" y="2833"/>
                  <a:pt x="37784" y="2866"/>
                  <a:pt x="37791" y="2868"/>
                </a:cubicBezTo>
                <a:cubicBezTo>
                  <a:pt x="37986" y="2930"/>
                  <a:pt x="38177" y="2963"/>
                  <a:pt x="38363" y="2963"/>
                </a:cubicBezTo>
                <a:cubicBezTo>
                  <a:pt x="38752" y="2963"/>
                  <a:pt x="39062" y="2790"/>
                  <a:pt x="39160" y="2513"/>
                </a:cubicBezTo>
                <a:cubicBezTo>
                  <a:pt x="39251" y="2257"/>
                  <a:pt x="38997" y="1663"/>
                  <a:pt x="38135" y="1445"/>
                </a:cubicBezTo>
                <a:cubicBezTo>
                  <a:pt x="37489" y="1282"/>
                  <a:pt x="36888" y="1408"/>
                  <a:pt x="36713" y="1731"/>
                </a:cubicBezTo>
                <a:cubicBezTo>
                  <a:pt x="36713" y="1731"/>
                  <a:pt x="36686" y="1781"/>
                  <a:pt x="36670" y="1833"/>
                </a:cubicBezTo>
                <a:cubicBezTo>
                  <a:pt x="36655" y="1883"/>
                  <a:pt x="36651" y="1958"/>
                  <a:pt x="36651" y="1989"/>
                </a:cubicBezTo>
                <a:cubicBezTo>
                  <a:pt x="36651" y="1989"/>
                  <a:pt x="36651" y="4294"/>
                  <a:pt x="36651" y="4327"/>
                </a:cubicBezTo>
                <a:cubicBezTo>
                  <a:pt x="36651" y="4678"/>
                  <a:pt x="36597" y="5004"/>
                  <a:pt x="36379" y="5291"/>
                </a:cubicBezTo>
                <a:cubicBezTo>
                  <a:pt x="36254" y="5457"/>
                  <a:pt x="36086" y="5593"/>
                  <a:pt x="35890" y="5657"/>
                </a:cubicBezTo>
                <a:cubicBezTo>
                  <a:pt x="35762" y="5697"/>
                  <a:pt x="35622" y="5712"/>
                  <a:pt x="35492" y="5712"/>
                </a:cubicBezTo>
                <a:cubicBezTo>
                  <a:pt x="35401" y="5712"/>
                  <a:pt x="35241" y="5707"/>
                  <a:pt x="35169" y="5669"/>
                </a:cubicBezTo>
                <a:cubicBezTo>
                  <a:pt x="35115" y="5639"/>
                  <a:pt x="35115" y="5581"/>
                  <a:pt x="35115" y="5527"/>
                </a:cubicBezTo>
                <a:cubicBezTo>
                  <a:pt x="35115" y="5143"/>
                  <a:pt x="35115" y="5143"/>
                  <a:pt x="35115" y="5143"/>
                </a:cubicBezTo>
                <a:cubicBezTo>
                  <a:pt x="35115" y="4848"/>
                  <a:pt x="35115" y="4848"/>
                  <a:pt x="35115" y="4848"/>
                </a:cubicBezTo>
                <a:cubicBezTo>
                  <a:pt x="35115" y="3990"/>
                  <a:pt x="35115" y="3990"/>
                  <a:pt x="35115" y="3990"/>
                </a:cubicBezTo>
                <a:cubicBezTo>
                  <a:pt x="35115" y="3990"/>
                  <a:pt x="35115" y="134"/>
                  <a:pt x="35115" y="124"/>
                </a:cubicBezTo>
                <a:cubicBezTo>
                  <a:pt x="35115" y="56"/>
                  <a:pt x="35171" y="0"/>
                  <a:pt x="35239" y="0"/>
                </a:cubicBezTo>
                <a:cubicBezTo>
                  <a:pt x="35243" y="0"/>
                  <a:pt x="37546" y="0"/>
                  <a:pt x="37546" y="0"/>
                </a:cubicBezTo>
                <a:cubicBezTo>
                  <a:pt x="37926" y="0"/>
                  <a:pt x="38306" y="64"/>
                  <a:pt x="38697" y="195"/>
                </a:cubicBezTo>
                <a:cubicBezTo>
                  <a:pt x="39088" y="326"/>
                  <a:pt x="39442" y="502"/>
                  <a:pt x="39756" y="726"/>
                </a:cubicBezTo>
                <a:cubicBezTo>
                  <a:pt x="40071" y="950"/>
                  <a:pt x="40327" y="1213"/>
                  <a:pt x="40524" y="1515"/>
                </a:cubicBezTo>
                <a:cubicBezTo>
                  <a:pt x="40722" y="1817"/>
                  <a:pt x="40820" y="2140"/>
                  <a:pt x="40820" y="2483"/>
                </a:cubicBezTo>
                <a:cubicBezTo>
                  <a:pt x="40820" y="2848"/>
                  <a:pt x="40711" y="3140"/>
                  <a:pt x="40508" y="3372"/>
                </a:cubicBezTo>
                <a:cubicBezTo>
                  <a:pt x="40181" y="3746"/>
                  <a:pt x="39821" y="3890"/>
                  <a:pt x="39711" y="3960"/>
                </a:cubicBezTo>
                <a:cubicBezTo>
                  <a:pt x="39809" y="4037"/>
                  <a:pt x="40036" y="4217"/>
                  <a:pt x="40343" y="4460"/>
                </a:cubicBezTo>
                <a:cubicBezTo>
                  <a:pt x="40937" y="4930"/>
                  <a:pt x="41237" y="5013"/>
                  <a:pt x="41238" y="5013"/>
                </a:cubicBezTo>
                <a:cubicBezTo>
                  <a:pt x="41280" y="5030"/>
                  <a:pt x="41328" y="5093"/>
                  <a:pt x="41328" y="5154"/>
                </a:cubicBezTo>
                <a:close/>
                <a:moveTo>
                  <a:pt x="46158" y="4229"/>
                </a:moveTo>
                <a:cubicBezTo>
                  <a:pt x="44501" y="4229"/>
                  <a:pt x="44501" y="4229"/>
                  <a:pt x="44501" y="4229"/>
                </a:cubicBezTo>
                <a:cubicBezTo>
                  <a:pt x="44265" y="4229"/>
                  <a:pt x="44051" y="4167"/>
                  <a:pt x="43843" y="4078"/>
                </a:cubicBezTo>
                <a:cubicBezTo>
                  <a:pt x="43665" y="4002"/>
                  <a:pt x="43392" y="3765"/>
                  <a:pt x="43311" y="3675"/>
                </a:cubicBezTo>
                <a:cubicBezTo>
                  <a:pt x="43159" y="3507"/>
                  <a:pt x="43041" y="3313"/>
                  <a:pt x="42956" y="3093"/>
                </a:cubicBezTo>
                <a:cubicBezTo>
                  <a:pt x="42871" y="2874"/>
                  <a:pt x="42829" y="2648"/>
                  <a:pt x="42829" y="2417"/>
                </a:cubicBezTo>
                <a:cubicBezTo>
                  <a:pt x="42829" y="2119"/>
                  <a:pt x="42913" y="1887"/>
                  <a:pt x="43083" y="1723"/>
                </a:cubicBezTo>
                <a:cubicBezTo>
                  <a:pt x="43104" y="1703"/>
                  <a:pt x="43177" y="1643"/>
                  <a:pt x="43262" y="1593"/>
                </a:cubicBezTo>
                <a:cubicBezTo>
                  <a:pt x="43347" y="1543"/>
                  <a:pt x="43440" y="1518"/>
                  <a:pt x="43501" y="1505"/>
                </a:cubicBezTo>
                <a:cubicBezTo>
                  <a:pt x="43599" y="1481"/>
                  <a:pt x="43708" y="1468"/>
                  <a:pt x="43824" y="1468"/>
                </a:cubicBezTo>
                <a:cubicBezTo>
                  <a:pt x="43939" y="1468"/>
                  <a:pt x="44047" y="1481"/>
                  <a:pt x="44146" y="1504"/>
                </a:cubicBezTo>
                <a:cubicBezTo>
                  <a:pt x="44332" y="1541"/>
                  <a:pt x="44515" y="1615"/>
                  <a:pt x="44695" y="1729"/>
                </a:cubicBezTo>
                <a:cubicBezTo>
                  <a:pt x="44953" y="1892"/>
                  <a:pt x="45227" y="2141"/>
                  <a:pt x="45410" y="2381"/>
                </a:cubicBezTo>
                <a:cubicBezTo>
                  <a:pt x="43687" y="2380"/>
                  <a:pt x="43687" y="2380"/>
                  <a:pt x="43687" y="2380"/>
                </a:cubicBezTo>
                <a:cubicBezTo>
                  <a:pt x="43583" y="2380"/>
                  <a:pt x="43532" y="2426"/>
                  <a:pt x="43532" y="2515"/>
                </a:cubicBezTo>
                <a:cubicBezTo>
                  <a:pt x="43532" y="2694"/>
                  <a:pt x="43559" y="2809"/>
                  <a:pt x="43629" y="2954"/>
                </a:cubicBezTo>
                <a:cubicBezTo>
                  <a:pt x="43699" y="3099"/>
                  <a:pt x="44031" y="3605"/>
                  <a:pt x="44709" y="3605"/>
                </a:cubicBezTo>
                <a:cubicBezTo>
                  <a:pt x="46313" y="3606"/>
                  <a:pt x="46313" y="3606"/>
                  <a:pt x="46313" y="3606"/>
                </a:cubicBezTo>
                <a:cubicBezTo>
                  <a:pt x="46594" y="3606"/>
                  <a:pt x="46788" y="3532"/>
                  <a:pt x="46895" y="3382"/>
                </a:cubicBezTo>
                <a:cubicBezTo>
                  <a:pt x="47002" y="3234"/>
                  <a:pt x="47033" y="3105"/>
                  <a:pt x="47033" y="2904"/>
                </a:cubicBezTo>
                <a:cubicBezTo>
                  <a:pt x="47033" y="2576"/>
                  <a:pt x="46946" y="2254"/>
                  <a:pt x="46773" y="1908"/>
                </a:cubicBezTo>
                <a:cubicBezTo>
                  <a:pt x="46599" y="1561"/>
                  <a:pt x="46364" y="1246"/>
                  <a:pt x="46069" y="962"/>
                </a:cubicBezTo>
                <a:cubicBezTo>
                  <a:pt x="45774" y="679"/>
                  <a:pt x="45430" y="448"/>
                  <a:pt x="45039" y="269"/>
                </a:cubicBezTo>
                <a:cubicBezTo>
                  <a:pt x="44647" y="90"/>
                  <a:pt x="44237" y="0"/>
                  <a:pt x="43809" y="0"/>
                </a:cubicBezTo>
                <a:cubicBezTo>
                  <a:pt x="43809" y="0"/>
                  <a:pt x="41455" y="0"/>
                  <a:pt x="41452" y="0"/>
                </a:cubicBezTo>
                <a:cubicBezTo>
                  <a:pt x="41383" y="0"/>
                  <a:pt x="41328" y="56"/>
                  <a:pt x="41328" y="124"/>
                </a:cubicBezTo>
                <a:cubicBezTo>
                  <a:pt x="41328" y="134"/>
                  <a:pt x="41328" y="2473"/>
                  <a:pt x="41328" y="2473"/>
                </a:cubicBezTo>
                <a:cubicBezTo>
                  <a:pt x="41328" y="2913"/>
                  <a:pt x="41412" y="3328"/>
                  <a:pt x="41582" y="3720"/>
                </a:cubicBezTo>
                <a:cubicBezTo>
                  <a:pt x="41752" y="4112"/>
                  <a:pt x="41983" y="4455"/>
                  <a:pt x="42275" y="4749"/>
                </a:cubicBezTo>
                <a:cubicBezTo>
                  <a:pt x="42566" y="5044"/>
                  <a:pt x="42906" y="5277"/>
                  <a:pt x="43294" y="5448"/>
                </a:cubicBezTo>
                <a:cubicBezTo>
                  <a:pt x="43682" y="5620"/>
                  <a:pt x="44099" y="5712"/>
                  <a:pt x="44542" y="5712"/>
                </a:cubicBezTo>
                <a:cubicBezTo>
                  <a:pt x="46909" y="5712"/>
                  <a:pt x="46909" y="5712"/>
                  <a:pt x="46909" y="5712"/>
                </a:cubicBezTo>
                <a:cubicBezTo>
                  <a:pt x="46978" y="5712"/>
                  <a:pt x="47033" y="5657"/>
                  <a:pt x="47033" y="5588"/>
                </a:cubicBezTo>
                <a:cubicBezTo>
                  <a:pt x="47033" y="5113"/>
                  <a:pt x="47033" y="5113"/>
                  <a:pt x="47033" y="5113"/>
                </a:cubicBezTo>
                <a:cubicBezTo>
                  <a:pt x="47033" y="4837"/>
                  <a:pt x="46955" y="4621"/>
                  <a:pt x="46800" y="4464"/>
                </a:cubicBezTo>
                <a:cubicBezTo>
                  <a:pt x="46645" y="4307"/>
                  <a:pt x="46431" y="4229"/>
                  <a:pt x="46158" y="4229"/>
                </a:cubicBezTo>
                <a:close/>
                <a:moveTo>
                  <a:pt x="28986" y="0"/>
                </a:moveTo>
                <a:cubicBezTo>
                  <a:pt x="28896" y="0"/>
                  <a:pt x="28851" y="52"/>
                  <a:pt x="28851" y="157"/>
                </a:cubicBezTo>
                <a:cubicBezTo>
                  <a:pt x="28851" y="2476"/>
                  <a:pt x="28851" y="2476"/>
                  <a:pt x="28851" y="2476"/>
                </a:cubicBezTo>
                <a:cubicBezTo>
                  <a:pt x="28851" y="2923"/>
                  <a:pt x="28944" y="3349"/>
                  <a:pt x="29132" y="3752"/>
                </a:cubicBezTo>
                <a:cubicBezTo>
                  <a:pt x="29318" y="4155"/>
                  <a:pt x="29566" y="4512"/>
                  <a:pt x="29876" y="4822"/>
                </a:cubicBezTo>
                <a:cubicBezTo>
                  <a:pt x="30186" y="5131"/>
                  <a:pt x="30543" y="5376"/>
                  <a:pt x="30945" y="5555"/>
                </a:cubicBezTo>
                <a:cubicBezTo>
                  <a:pt x="31349" y="5735"/>
                  <a:pt x="31767" y="5824"/>
                  <a:pt x="32200" y="5824"/>
                </a:cubicBezTo>
                <a:cubicBezTo>
                  <a:pt x="32574" y="5824"/>
                  <a:pt x="32911" y="5765"/>
                  <a:pt x="33213" y="5644"/>
                </a:cubicBezTo>
                <a:cubicBezTo>
                  <a:pt x="33516" y="5525"/>
                  <a:pt x="33775" y="5358"/>
                  <a:pt x="33992" y="5141"/>
                </a:cubicBezTo>
                <a:cubicBezTo>
                  <a:pt x="34208" y="4924"/>
                  <a:pt x="34376" y="4665"/>
                  <a:pt x="34496" y="4363"/>
                </a:cubicBezTo>
                <a:cubicBezTo>
                  <a:pt x="34616" y="4060"/>
                  <a:pt x="34676" y="3722"/>
                  <a:pt x="34676" y="3349"/>
                </a:cubicBezTo>
                <a:cubicBezTo>
                  <a:pt x="34676" y="2901"/>
                  <a:pt x="34582" y="2476"/>
                  <a:pt x="34395" y="2072"/>
                </a:cubicBezTo>
                <a:cubicBezTo>
                  <a:pt x="34208" y="1669"/>
                  <a:pt x="33960" y="1312"/>
                  <a:pt x="33651" y="1003"/>
                </a:cubicBezTo>
                <a:cubicBezTo>
                  <a:pt x="33341" y="693"/>
                  <a:pt x="32984" y="448"/>
                  <a:pt x="32581" y="269"/>
                </a:cubicBezTo>
                <a:cubicBezTo>
                  <a:pt x="32178" y="90"/>
                  <a:pt x="31760" y="0"/>
                  <a:pt x="31327" y="0"/>
                </a:cubicBezTo>
                <a:lnTo>
                  <a:pt x="28986" y="0"/>
                </a:lnTo>
                <a:close/>
                <a:moveTo>
                  <a:pt x="30677" y="1748"/>
                </a:moveTo>
                <a:cubicBezTo>
                  <a:pt x="30849" y="1568"/>
                  <a:pt x="31069" y="1478"/>
                  <a:pt x="31338" y="1478"/>
                </a:cubicBezTo>
                <a:cubicBezTo>
                  <a:pt x="31547" y="1478"/>
                  <a:pt x="31756" y="1536"/>
                  <a:pt x="31965" y="1652"/>
                </a:cubicBezTo>
                <a:cubicBezTo>
                  <a:pt x="32174" y="1768"/>
                  <a:pt x="32363" y="1918"/>
                  <a:pt x="32531" y="2100"/>
                </a:cubicBezTo>
                <a:cubicBezTo>
                  <a:pt x="32698" y="2283"/>
                  <a:pt x="32836" y="2487"/>
                  <a:pt x="32945" y="2711"/>
                </a:cubicBezTo>
                <a:cubicBezTo>
                  <a:pt x="33053" y="2934"/>
                  <a:pt x="33107" y="3159"/>
                  <a:pt x="33107" y="3383"/>
                </a:cubicBezTo>
                <a:cubicBezTo>
                  <a:pt x="33107" y="3666"/>
                  <a:pt x="33023" y="3898"/>
                  <a:pt x="32855" y="4077"/>
                </a:cubicBezTo>
                <a:cubicBezTo>
                  <a:pt x="32687" y="4256"/>
                  <a:pt x="32465" y="4346"/>
                  <a:pt x="32189" y="4346"/>
                </a:cubicBezTo>
                <a:cubicBezTo>
                  <a:pt x="31980" y="4346"/>
                  <a:pt x="31771" y="4288"/>
                  <a:pt x="31562" y="4172"/>
                </a:cubicBezTo>
                <a:cubicBezTo>
                  <a:pt x="31352" y="4056"/>
                  <a:pt x="31165" y="3907"/>
                  <a:pt x="30997" y="3724"/>
                </a:cubicBezTo>
                <a:cubicBezTo>
                  <a:pt x="30829" y="3541"/>
                  <a:pt x="30690" y="3337"/>
                  <a:pt x="30582" y="3114"/>
                </a:cubicBezTo>
                <a:cubicBezTo>
                  <a:pt x="30473" y="2890"/>
                  <a:pt x="30420" y="2666"/>
                  <a:pt x="30420" y="2442"/>
                </a:cubicBezTo>
                <a:cubicBezTo>
                  <a:pt x="30420" y="2158"/>
                  <a:pt x="30505" y="1927"/>
                  <a:pt x="30677" y="1748"/>
                </a:cubicBezTo>
                <a:close/>
                <a:moveTo>
                  <a:pt x="26686" y="7111"/>
                </a:moveTo>
                <a:cubicBezTo>
                  <a:pt x="26686" y="6647"/>
                  <a:pt x="26310" y="6271"/>
                  <a:pt x="25846" y="6271"/>
                </a:cubicBezTo>
                <a:cubicBezTo>
                  <a:pt x="24957" y="6271"/>
                  <a:pt x="24957" y="6271"/>
                  <a:pt x="24957" y="6271"/>
                </a:cubicBezTo>
                <a:cubicBezTo>
                  <a:pt x="24912" y="6271"/>
                  <a:pt x="24872" y="6289"/>
                  <a:pt x="24842" y="6317"/>
                </a:cubicBezTo>
                <a:cubicBezTo>
                  <a:pt x="23059" y="7991"/>
                  <a:pt x="23059" y="7991"/>
                  <a:pt x="23059" y="7991"/>
                </a:cubicBezTo>
                <a:cubicBezTo>
                  <a:pt x="22448" y="8565"/>
                  <a:pt x="21626" y="8887"/>
                  <a:pt x="20722" y="8887"/>
                </a:cubicBezTo>
                <a:cubicBezTo>
                  <a:pt x="19781" y="8887"/>
                  <a:pt x="18928" y="8535"/>
                  <a:pt x="18311" y="7918"/>
                </a:cubicBezTo>
                <a:cubicBezTo>
                  <a:pt x="18311" y="7918"/>
                  <a:pt x="17000" y="6687"/>
                  <a:pt x="16988" y="6676"/>
                </a:cubicBezTo>
                <a:cubicBezTo>
                  <a:pt x="16736" y="6441"/>
                  <a:pt x="16390" y="6280"/>
                  <a:pt x="15991" y="6271"/>
                </a:cubicBezTo>
                <a:cubicBezTo>
                  <a:pt x="14927" y="6271"/>
                  <a:pt x="14927" y="6271"/>
                  <a:pt x="14927" y="6271"/>
                </a:cubicBezTo>
                <a:cubicBezTo>
                  <a:pt x="14834" y="6271"/>
                  <a:pt x="14759" y="6346"/>
                  <a:pt x="14759" y="6439"/>
                </a:cubicBezTo>
                <a:cubicBezTo>
                  <a:pt x="14759" y="11142"/>
                  <a:pt x="14759" y="11142"/>
                  <a:pt x="14759" y="11142"/>
                </a:cubicBezTo>
                <a:cubicBezTo>
                  <a:pt x="14759" y="11606"/>
                  <a:pt x="15135" y="11983"/>
                  <a:pt x="15599" y="11983"/>
                </a:cubicBezTo>
                <a:cubicBezTo>
                  <a:pt x="15924" y="11983"/>
                  <a:pt x="15924" y="11983"/>
                  <a:pt x="15924" y="11983"/>
                </a:cubicBezTo>
                <a:cubicBezTo>
                  <a:pt x="16144" y="11982"/>
                  <a:pt x="16144" y="11982"/>
                  <a:pt x="16144" y="11982"/>
                </a:cubicBezTo>
                <a:cubicBezTo>
                  <a:pt x="16236" y="11982"/>
                  <a:pt x="16312" y="11907"/>
                  <a:pt x="16312" y="11813"/>
                </a:cubicBezTo>
                <a:cubicBezTo>
                  <a:pt x="16313" y="10140"/>
                  <a:pt x="16313" y="10140"/>
                  <a:pt x="16313" y="10140"/>
                </a:cubicBezTo>
                <a:cubicBezTo>
                  <a:pt x="16313" y="9702"/>
                  <a:pt x="16670" y="9342"/>
                  <a:pt x="17100" y="9342"/>
                </a:cubicBezTo>
                <a:cubicBezTo>
                  <a:pt x="17901" y="9342"/>
                  <a:pt x="18476" y="10028"/>
                  <a:pt x="18995" y="10486"/>
                </a:cubicBezTo>
                <a:cubicBezTo>
                  <a:pt x="19630" y="11048"/>
                  <a:pt x="20120" y="11589"/>
                  <a:pt x="20722" y="11589"/>
                </a:cubicBezTo>
                <a:cubicBezTo>
                  <a:pt x="21325" y="11589"/>
                  <a:pt x="21814" y="11048"/>
                  <a:pt x="22450" y="10486"/>
                </a:cubicBezTo>
                <a:cubicBezTo>
                  <a:pt x="22969" y="10028"/>
                  <a:pt x="23544" y="9342"/>
                  <a:pt x="24345" y="9342"/>
                </a:cubicBezTo>
                <a:cubicBezTo>
                  <a:pt x="24773" y="9342"/>
                  <a:pt x="25128" y="9698"/>
                  <a:pt x="25132" y="10133"/>
                </a:cubicBezTo>
                <a:cubicBezTo>
                  <a:pt x="25132" y="10133"/>
                  <a:pt x="25132" y="11136"/>
                  <a:pt x="25132" y="11142"/>
                </a:cubicBezTo>
                <a:cubicBezTo>
                  <a:pt x="25132" y="11606"/>
                  <a:pt x="25508" y="11981"/>
                  <a:pt x="25972" y="11981"/>
                </a:cubicBezTo>
                <a:cubicBezTo>
                  <a:pt x="25972" y="11981"/>
                  <a:pt x="26321" y="11981"/>
                  <a:pt x="26335" y="11981"/>
                </a:cubicBezTo>
                <a:cubicBezTo>
                  <a:pt x="26430" y="11981"/>
                  <a:pt x="26517" y="11983"/>
                  <a:pt x="26517" y="11983"/>
                </a:cubicBezTo>
                <a:cubicBezTo>
                  <a:pt x="26517" y="11982"/>
                  <a:pt x="26517" y="11982"/>
                  <a:pt x="26517" y="11982"/>
                </a:cubicBezTo>
                <a:cubicBezTo>
                  <a:pt x="26611" y="11982"/>
                  <a:pt x="26686" y="11907"/>
                  <a:pt x="26686" y="11814"/>
                </a:cubicBezTo>
                <a:cubicBezTo>
                  <a:pt x="26686" y="11811"/>
                  <a:pt x="26686" y="7150"/>
                  <a:pt x="26686" y="7111"/>
                </a:cubicBezTo>
                <a:close/>
                <a:moveTo>
                  <a:pt x="14175" y="1321"/>
                </a:moveTo>
                <a:cubicBezTo>
                  <a:pt x="14175" y="884"/>
                  <a:pt x="14175" y="884"/>
                  <a:pt x="14175" y="884"/>
                </a:cubicBezTo>
                <a:cubicBezTo>
                  <a:pt x="14175" y="608"/>
                  <a:pt x="14097" y="392"/>
                  <a:pt x="13940" y="235"/>
                </a:cubicBezTo>
                <a:cubicBezTo>
                  <a:pt x="13783" y="78"/>
                  <a:pt x="13567" y="0"/>
                  <a:pt x="13290" y="0"/>
                </a:cubicBezTo>
                <a:cubicBezTo>
                  <a:pt x="12741" y="0"/>
                  <a:pt x="12741" y="0"/>
                  <a:pt x="12741" y="0"/>
                </a:cubicBezTo>
                <a:cubicBezTo>
                  <a:pt x="12652" y="0"/>
                  <a:pt x="12607" y="52"/>
                  <a:pt x="12607" y="157"/>
                </a:cubicBezTo>
                <a:cubicBezTo>
                  <a:pt x="12607" y="1321"/>
                  <a:pt x="12607" y="1321"/>
                  <a:pt x="12607" y="1321"/>
                </a:cubicBezTo>
                <a:cubicBezTo>
                  <a:pt x="12607" y="1425"/>
                  <a:pt x="12652" y="1477"/>
                  <a:pt x="12741" y="1477"/>
                </a:cubicBezTo>
                <a:cubicBezTo>
                  <a:pt x="14041" y="1477"/>
                  <a:pt x="14041" y="1477"/>
                  <a:pt x="14041" y="1477"/>
                </a:cubicBezTo>
                <a:cubicBezTo>
                  <a:pt x="14131" y="1477"/>
                  <a:pt x="14175" y="1425"/>
                  <a:pt x="14175" y="1321"/>
                </a:cubicBezTo>
                <a:moveTo>
                  <a:pt x="14175" y="5578"/>
                </a:moveTo>
                <a:cubicBezTo>
                  <a:pt x="14175" y="2897"/>
                  <a:pt x="14175" y="2897"/>
                  <a:pt x="14175" y="2897"/>
                </a:cubicBezTo>
                <a:cubicBezTo>
                  <a:pt x="14174" y="2897"/>
                  <a:pt x="14174" y="2897"/>
                  <a:pt x="14174" y="2897"/>
                </a:cubicBezTo>
                <a:cubicBezTo>
                  <a:pt x="14172" y="2626"/>
                  <a:pt x="14094" y="2414"/>
                  <a:pt x="13940" y="2259"/>
                </a:cubicBezTo>
                <a:cubicBezTo>
                  <a:pt x="13783" y="2102"/>
                  <a:pt x="13567" y="2024"/>
                  <a:pt x="13290" y="2024"/>
                </a:cubicBezTo>
                <a:cubicBezTo>
                  <a:pt x="12764" y="2024"/>
                  <a:pt x="12764" y="2024"/>
                  <a:pt x="12764" y="2024"/>
                </a:cubicBezTo>
                <a:cubicBezTo>
                  <a:pt x="12660" y="2024"/>
                  <a:pt x="12607" y="2068"/>
                  <a:pt x="12607" y="2158"/>
                </a:cubicBezTo>
                <a:cubicBezTo>
                  <a:pt x="12607" y="2897"/>
                  <a:pt x="12607" y="2897"/>
                  <a:pt x="12607" y="2897"/>
                </a:cubicBezTo>
                <a:cubicBezTo>
                  <a:pt x="12607" y="4827"/>
                  <a:pt x="12607" y="4827"/>
                  <a:pt x="12607" y="4827"/>
                </a:cubicBezTo>
                <a:cubicBezTo>
                  <a:pt x="12607" y="5104"/>
                  <a:pt x="12686" y="5321"/>
                  <a:pt x="12842" y="5477"/>
                </a:cubicBezTo>
                <a:cubicBezTo>
                  <a:pt x="12999" y="5634"/>
                  <a:pt x="13216" y="5712"/>
                  <a:pt x="13492" y="5712"/>
                </a:cubicBezTo>
                <a:cubicBezTo>
                  <a:pt x="14018" y="5712"/>
                  <a:pt x="14018" y="5712"/>
                  <a:pt x="14018" y="5712"/>
                </a:cubicBezTo>
                <a:cubicBezTo>
                  <a:pt x="14123" y="5712"/>
                  <a:pt x="14175" y="5668"/>
                  <a:pt x="14175" y="5578"/>
                </a:cubicBezTo>
                <a:moveTo>
                  <a:pt x="17332" y="5621"/>
                </a:moveTo>
                <a:cubicBezTo>
                  <a:pt x="17332" y="4412"/>
                  <a:pt x="17332" y="4412"/>
                  <a:pt x="17332" y="4412"/>
                </a:cubicBezTo>
                <a:cubicBezTo>
                  <a:pt x="17332" y="4359"/>
                  <a:pt x="17321" y="4326"/>
                  <a:pt x="17298" y="4311"/>
                </a:cubicBezTo>
                <a:cubicBezTo>
                  <a:pt x="17276" y="4296"/>
                  <a:pt x="17235" y="4281"/>
                  <a:pt x="17175" y="4265"/>
                </a:cubicBezTo>
                <a:cubicBezTo>
                  <a:pt x="17063" y="4244"/>
                  <a:pt x="16957" y="4199"/>
                  <a:pt x="16856" y="4131"/>
                </a:cubicBezTo>
                <a:cubicBezTo>
                  <a:pt x="16755" y="4065"/>
                  <a:pt x="16666" y="3986"/>
                  <a:pt x="16587" y="3897"/>
                </a:cubicBezTo>
                <a:cubicBezTo>
                  <a:pt x="16509" y="3807"/>
                  <a:pt x="16445" y="3708"/>
                  <a:pt x="16397" y="3600"/>
                </a:cubicBezTo>
                <a:cubicBezTo>
                  <a:pt x="16348" y="3492"/>
                  <a:pt x="16324" y="3382"/>
                  <a:pt x="16324" y="3269"/>
                </a:cubicBezTo>
                <a:cubicBezTo>
                  <a:pt x="16324" y="885"/>
                  <a:pt x="16324" y="885"/>
                  <a:pt x="16324" y="885"/>
                </a:cubicBezTo>
                <a:cubicBezTo>
                  <a:pt x="16324" y="609"/>
                  <a:pt x="16246" y="392"/>
                  <a:pt x="16089" y="236"/>
                </a:cubicBezTo>
                <a:cubicBezTo>
                  <a:pt x="15932" y="78"/>
                  <a:pt x="15715" y="0"/>
                  <a:pt x="15440" y="0"/>
                </a:cubicBezTo>
                <a:cubicBezTo>
                  <a:pt x="14913" y="0"/>
                  <a:pt x="14913" y="0"/>
                  <a:pt x="14913" y="0"/>
                </a:cubicBezTo>
                <a:cubicBezTo>
                  <a:pt x="14808" y="0"/>
                  <a:pt x="14757" y="45"/>
                  <a:pt x="14757" y="135"/>
                </a:cubicBezTo>
                <a:cubicBezTo>
                  <a:pt x="14757" y="3314"/>
                  <a:pt x="14757" y="3314"/>
                  <a:pt x="14757" y="3314"/>
                </a:cubicBezTo>
                <a:cubicBezTo>
                  <a:pt x="14757" y="3642"/>
                  <a:pt x="14822" y="3949"/>
                  <a:pt x="14952" y="4233"/>
                </a:cubicBezTo>
                <a:cubicBezTo>
                  <a:pt x="15083" y="4516"/>
                  <a:pt x="15258" y="4768"/>
                  <a:pt x="15479" y="4989"/>
                </a:cubicBezTo>
                <a:cubicBezTo>
                  <a:pt x="15698" y="5208"/>
                  <a:pt x="15955" y="5386"/>
                  <a:pt x="16246" y="5520"/>
                </a:cubicBezTo>
                <a:cubicBezTo>
                  <a:pt x="16537" y="5655"/>
                  <a:pt x="16847" y="5737"/>
                  <a:pt x="17175" y="5766"/>
                </a:cubicBezTo>
                <a:cubicBezTo>
                  <a:pt x="17280" y="5774"/>
                  <a:pt x="17332" y="5726"/>
                  <a:pt x="17332" y="5621"/>
                </a:cubicBezTo>
                <a:moveTo>
                  <a:pt x="26793" y="2823"/>
                </a:moveTo>
                <a:cubicBezTo>
                  <a:pt x="26793" y="3018"/>
                  <a:pt x="26716" y="3172"/>
                  <a:pt x="26563" y="3287"/>
                </a:cubicBezTo>
                <a:cubicBezTo>
                  <a:pt x="26410" y="3404"/>
                  <a:pt x="26206" y="3462"/>
                  <a:pt x="25953" y="3462"/>
                </a:cubicBezTo>
                <a:cubicBezTo>
                  <a:pt x="25736" y="3462"/>
                  <a:pt x="25525" y="3420"/>
                  <a:pt x="25320" y="3338"/>
                </a:cubicBezTo>
                <a:cubicBezTo>
                  <a:pt x="25114" y="3256"/>
                  <a:pt x="24928" y="3152"/>
                  <a:pt x="24760" y="3025"/>
                </a:cubicBezTo>
                <a:cubicBezTo>
                  <a:pt x="24592" y="2898"/>
                  <a:pt x="24458" y="2752"/>
                  <a:pt x="24357" y="2588"/>
                </a:cubicBezTo>
                <a:cubicBezTo>
                  <a:pt x="24256" y="2423"/>
                  <a:pt x="24206" y="2264"/>
                  <a:pt x="24206" y="2106"/>
                </a:cubicBezTo>
                <a:cubicBezTo>
                  <a:pt x="24206" y="1890"/>
                  <a:pt x="24292" y="1730"/>
                  <a:pt x="24463" y="1625"/>
                </a:cubicBezTo>
                <a:cubicBezTo>
                  <a:pt x="24635" y="1520"/>
                  <a:pt x="24829" y="1468"/>
                  <a:pt x="25046" y="1468"/>
                </a:cubicBezTo>
                <a:cubicBezTo>
                  <a:pt x="25262" y="1468"/>
                  <a:pt x="25475" y="1510"/>
                  <a:pt x="25684" y="1591"/>
                </a:cubicBezTo>
                <a:cubicBezTo>
                  <a:pt x="25893" y="1674"/>
                  <a:pt x="26079" y="1780"/>
                  <a:pt x="26244" y="1910"/>
                </a:cubicBezTo>
                <a:cubicBezTo>
                  <a:pt x="26408" y="2041"/>
                  <a:pt x="26541" y="2187"/>
                  <a:pt x="26642" y="2347"/>
                </a:cubicBezTo>
                <a:cubicBezTo>
                  <a:pt x="26742" y="2508"/>
                  <a:pt x="26793" y="2666"/>
                  <a:pt x="26793" y="2823"/>
                </a:cubicBezTo>
                <a:moveTo>
                  <a:pt x="28231" y="3691"/>
                </a:moveTo>
                <a:cubicBezTo>
                  <a:pt x="28347" y="3434"/>
                  <a:pt x="28405" y="3148"/>
                  <a:pt x="28405" y="2834"/>
                </a:cubicBezTo>
                <a:cubicBezTo>
                  <a:pt x="28405" y="2453"/>
                  <a:pt x="28313" y="2094"/>
                  <a:pt x="28131" y="1754"/>
                </a:cubicBezTo>
                <a:cubicBezTo>
                  <a:pt x="27948" y="1414"/>
                  <a:pt x="27701" y="1113"/>
                  <a:pt x="27391" y="853"/>
                </a:cubicBezTo>
                <a:cubicBezTo>
                  <a:pt x="27081" y="591"/>
                  <a:pt x="26727" y="384"/>
                  <a:pt x="26328" y="231"/>
                </a:cubicBezTo>
                <a:cubicBezTo>
                  <a:pt x="25929" y="78"/>
                  <a:pt x="25516" y="1"/>
                  <a:pt x="25090" y="1"/>
                </a:cubicBezTo>
                <a:cubicBezTo>
                  <a:pt x="22772" y="1"/>
                  <a:pt x="22772" y="1"/>
                  <a:pt x="22772" y="1"/>
                </a:cubicBezTo>
                <a:cubicBezTo>
                  <a:pt x="22683" y="1"/>
                  <a:pt x="22638" y="46"/>
                  <a:pt x="22638" y="136"/>
                </a:cubicBezTo>
                <a:cubicBezTo>
                  <a:pt x="22638" y="4827"/>
                  <a:pt x="22638" y="4827"/>
                  <a:pt x="22638" y="4827"/>
                </a:cubicBezTo>
                <a:cubicBezTo>
                  <a:pt x="22638" y="5104"/>
                  <a:pt x="22717" y="5321"/>
                  <a:pt x="22873" y="5477"/>
                </a:cubicBezTo>
                <a:cubicBezTo>
                  <a:pt x="23030" y="5634"/>
                  <a:pt x="23247" y="5712"/>
                  <a:pt x="23523" y="5712"/>
                </a:cubicBezTo>
                <a:cubicBezTo>
                  <a:pt x="24072" y="5712"/>
                  <a:pt x="24072" y="5712"/>
                  <a:pt x="24072" y="5712"/>
                </a:cubicBezTo>
                <a:cubicBezTo>
                  <a:pt x="24161" y="5712"/>
                  <a:pt x="24206" y="5660"/>
                  <a:pt x="24206" y="5555"/>
                </a:cubicBezTo>
                <a:cubicBezTo>
                  <a:pt x="24206" y="4279"/>
                  <a:pt x="24206" y="4279"/>
                  <a:pt x="24206" y="4279"/>
                </a:cubicBezTo>
                <a:cubicBezTo>
                  <a:pt x="24467" y="4488"/>
                  <a:pt x="24749" y="4648"/>
                  <a:pt x="25051" y="4760"/>
                </a:cubicBezTo>
                <a:cubicBezTo>
                  <a:pt x="25353" y="4873"/>
                  <a:pt x="25673" y="4928"/>
                  <a:pt x="26009" y="4928"/>
                </a:cubicBezTo>
                <a:cubicBezTo>
                  <a:pt x="26368" y="4928"/>
                  <a:pt x="26693" y="4878"/>
                  <a:pt x="26989" y="4777"/>
                </a:cubicBezTo>
                <a:cubicBezTo>
                  <a:pt x="27283" y="4677"/>
                  <a:pt x="27535" y="4535"/>
                  <a:pt x="27745" y="4351"/>
                </a:cubicBezTo>
                <a:cubicBezTo>
                  <a:pt x="27953" y="4168"/>
                  <a:pt x="28115" y="3949"/>
                  <a:pt x="28231" y="3691"/>
                </a:cubicBezTo>
                <a:moveTo>
                  <a:pt x="27098" y="9798"/>
                </a:moveTo>
                <a:cubicBezTo>
                  <a:pt x="27098" y="10195"/>
                  <a:pt x="27197" y="10530"/>
                  <a:pt x="27395" y="10806"/>
                </a:cubicBezTo>
                <a:cubicBezTo>
                  <a:pt x="27592" y="11083"/>
                  <a:pt x="27849" y="11309"/>
                  <a:pt x="28162" y="11484"/>
                </a:cubicBezTo>
                <a:cubicBezTo>
                  <a:pt x="28475" y="11659"/>
                  <a:pt x="28821" y="11786"/>
                  <a:pt x="29198" y="11865"/>
                </a:cubicBezTo>
                <a:cubicBezTo>
                  <a:pt x="29575" y="11943"/>
                  <a:pt x="29943" y="11983"/>
                  <a:pt x="30300" y="11983"/>
                </a:cubicBezTo>
                <a:cubicBezTo>
                  <a:pt x="32731" y="11983"/>
                  <a:pt x="32731" y="11983"/>
                  <a:pt x="32731" y="11983"/>
                </a:cubicBezTo>
                <a:cubicBezTo>
                  <a:pt x="32819" y="11983"/>
                  <a:pt x="32865" y="11930"/>
                  <a:pt x="32865" y="11825"/>
                </a:cubicBezTo>
                <a:cubicBezTo>
                  <a:pt x="32865" y="9575"/>
                  <a:pt x="32865" y="9575"/>
                  <a:pt x="32865" y="9575"/>
                </a:cubicBezTo>
                <a:cubicBezTo>
                  <a:pt x="32865" y="9119"/>
                  <a:pt x="32790" y="8690"/>
                  <a:pt x="32640" y="8287"/>
                </a:cubicBezTo>
                <a:cubicBezTo>
                  <a:pt x="32491" y="7884"/>
                  <a:pt x="32277" y="7534"/>
                  <a:pt x="31997" y="7234"/>
                </a:cubicBezTo>
                <a:cubicBezTo>
                  <a:pt x="31717" y="6936"/>
                  <a:pt x="31377" y="6701"/>
                  <a:pt x="30978" y="6529"/>
                </a:cubicBezTo>
                <a:cubicBezTo>
                  <a:pt x="30578" y="6357"/>
                  <a:pt x="30125" y="6271"/>
                  <a:pt x="29617" y="6271"/>
                </a:cubicBezTo>
                <a:cubicBezTo>
                  <a:pt x="27423" y="6271"/>
                  <a:pt x="27423" y="6271"/>
                  <a:pt x="27423" y="6271"/>
                </a:cubicBezTo>
                <a:cubicBezTo>
                  <a:pt x="27318" y="6271"/>
                  <a:pt x="27266" y="6316"/>
                  <a:pt x="27266" y="6405"/>
                </a:cubicBezTo>
                <a:cubicBezTo>
                  <a:pt x="27266" y="6865"/>
                  <a:pt x="27266" y="6865"/>
                  <a:pt x="27266" y="6865"/>
                </a:cubicBezTo>
                <a:cubicBezTo>
                  <a:pt x="27266" y="7141"/>
                  <a:pt x="27344" y="7358"/>
                  <a:pt x="27502" y="7515"/>
                </a:cubicBezTo>
                <a:cubicBezTo>
                  <a:pt x="27658" y="7671"/>
                  <a:pt x="27874" y="7750"/>
                  <a:pt x="28150" y="7750"/>
                </a:cubicBezTo>
                <a:cubicBezTo>
                  <a:pt x="29673" y="7750"/>
                  <a:pt x="29673" y="7750"/>
                  <a:pt x="29673" y="7750"/>
                </a:cubicBezTo>
                <a:cubicBezTo>
                  <a:pt x="29934" y="7750"/>
                  <a:pt x="30171" y="7805"/>
                  <a:pt x="30384" y="7917"/>
                </a:cubicBezTo>
                <a:cubicBezTo>
                  <a:pt x="30597" y="8030"/>
                  <a:pt x="30767" y="8175"/>
                  <a:pt x="30893" y="8354"/>
                </a:cubicBezTo>
                <a:cubicBezTo>
                  <a:pt x="29438" y="8354"/>
                  <a:pt x="29438" y="8354"/>
                  <a:pt x="29438" y="8354"/>
                </a:cubicBezTo>
                <a:cubicBezTo>
                  <a:pt x="28684" y="8354"/>
                  <a:pt x="28106" y="8478"/>
                  <a:pt x="27702" y="8724"/>
                </a:cubicBezTo>
                <a:cubicBezTo>
                  <a:pt x="27299" y="8970"/>
                  <a:pt x="27098" y="9328"/>
                  <a:pt x="27098" y="9798"/>
                </a:cubicBezTo>
                <a:moveTo>
                  <a:pt x="28822" y="10142"/>
                </a:moveTo>
                <a:cubicBezTo>
                  <a:pt x="28822" y="10031"/>
                  <a:pt x="28882" y="9953"/>
                  <a:pt x="29001" y="9908"/>
                </a:cubicBezTo>
                <a:cubicBezTo>
                  <a:pt x="29121" y="9863"/>
                  <a:pt x="29307" y="9840"/>
                  <a:pt x="29561" y="9840"/>
                </a:cubicBezTo>
                <a:cubicBezTo>
                  <a:pt x="31297" y="9840"/>
                  <a:pt x="31297" y="9840"/>
                  <a:pt x="31297" y="9840"/>
                </a:cubicBezTo>
                <a:cubicBezTo>
                  <a:pt x="31281" y="10131"/>
                  <a:pt x="31157" y="10342"/>
                  <a:pt x="30922" y="10473"/>
                </a:cubicBezTo>
                <a:cubicBezTo>
                  <a:pt x="30686" y="10604"/>
                  <a:pt x="30413" y="10669"/>
                  <a:pt x="30099" y="10669"/>
                </a:cubicBezTo>
                <a:cubicBezTo>
                  <a:pt x="29718" y="10669"/>
                  <a:pt x="29410" y="10619"/>
                  <a:pt x="29175" y="10517"/>
                </a:cubicBezTo>
                <a:cubicBezTo>
                  <a:pt x="28940" y="10417"/>
                  <a:pt x="28822" y="10292"/>
                  <a:pt x="28822" y="10142"/>
                </a:cubicBezTo>
                <a:moveTo>
                  <a:pt x="14199" y="11848"/>
                </a:moveTo>
                <a:cubicBezTo>
                  <a:pt x="14199" y="9451"/>
                  <a:pt x="14199" y="9451"/>
                  <a:pt x="14199" y="9451"/>
                </a:cubicBezTo>
                <a:cubicBezTo>
                  <a:pt x="14199" y="9175"/>
                  <a:pt x="14120" y="8959"/>
                  <a:pt x="13964" y="8802"/>
                </a:cubicBezTo>
                <a:cubicBezTo>
                  <a:pt x="13806" y="8646"/>
                  <a:pt x="13590" y="8567"/>
                  <a:pt x="13314" y="8567"/>
                </a:cubicBezTo>
                <a:cubicBezTo>
                  <a:pt x="10728" y="8567"/>
                  <a:pt x="10728" y="8567"/>
                  <a:pt x="10728" y="8567"/>
                </a:cubicBezTo>
                <a:cubicBezTo>
                  <a:pt x="10623" y="8567"/>
                  <a:pt x="10571" y="8612"/>
                  <a:pt x="10571" y="8701"/>
                </a:cubicBezTo>
                <a:cubicBezTo>
                  <a:pt x="10571" y="8880"/>
                  <a:pt x="10606" y="9043"/>
                  <a:pt x="10677" y="9188"/>
                </a:cubicBezTo>
                <a:cubicBezTo>
                  <a:pt x="10748" y="9333"/>
                  <a:pt x="10841" y="9459"/>
                  <a:pt x="10957" y="9563"/>
                </a:cubicBezTo>
                <a:cubicBezTo>
                  <a:pt x="11073" y="9669"/>
                  <a:pt x="11203" y="9748"/>
                  <a:pt x="11349" y="9804"/>
                </a:cubicBezTo>
                <a:cubicBezTo>
                  <a:pt x="11494" y="9860"/>
                  <a:pt x="11642" y="9889"/>
                  <a:pt x="11791" y="9889"/>
                </a:cubicBezTo>
                <a:cubicBezTo>
                  <a:pt x="12687" y="9889"/>
                  <a:pt x="12687" y="9889"/>
                  <a:pt x="12687" y="9889"/>
                </a:cubicBezTo>
                <a:cubicBezTo>
                  <a:pt x="12687" y="10504"/>
                  <a:pt x="12687" y="10504"/>
                  <a:pt x="12687" y="10504"/>
                </a:cubicBezTo>
                <a:cubicBezTo>
                  <a:pt x="11747" y="10504"/>
                  <a:pt x="11747" y="10504"/>
                  <a:pt x="11747" y="10504"/>
                </a:cubicBezTo>
                <a:cubicBezTo>
                  <a:pt x="11508" y="10504"/>
                  <a:pt x="11279" y="10450"/>
                  <a:pt x="11063" y="10342"/>
                </a:cubicBezTo>
                <a:cubicBezTo>
                  <a:pt x="10847" y="10234"/>
                  <a:pt x="10654" y="10089"/>
                  <a:pt x="10486" y="9910"/>
                </a:cubicBezTo>
                <a:cubicBezTo>
                  <a:pt x="10319" y="9731"/>
                  <a:pt x="10186" y="9530"/>
                  <a:pt x="10089" y="9306"/>
                </a:cubicBezTo>
                <a:cubicBezTo>
                  <a:pt x="9992" y="9083"/>
                  <a:pt x="9944" y="8855"/>
                  <a:pt x="9944" y="8623"/>
                </a:cubicBezTo>
                <a:cubicBezTo>
                  <a:pt x="9944" y="8340"/>
                  <a:pt x="10033" y="8123"/>
                  <a:pt x="10212" y="7974"/>
                </a:cubicBezTo>
                <a:cubicBezTo>
                  <a:pt x="10392" y="7824"/>
                  <a:pt x="10616" y="7750"/>
                  <a:pt x="10884" y="7750"/>
                </a:cubicBezTo>
                <a:cubicBezTo>
                  <a:pt x="13930" y="7750"/>
                  <a:pt x="13930" y="7750"/>
                  <a:pt x="13930" y="7750"/>
                </a:cubicBezTo>
                <a:cubicBezTo>
                  <a:pt x="14034" y="7750"/>
                  <a:pt x="14087" y="7704"/>
                  <a:pt x="14087" y="7615"/>
                </a:cubicBezTo>
                <a:cubicBezTo>
                  <a:pt x="14087" y="7156"/>
                  <a:pt x="14087" y="7156"/>
                  <a:pt x="14087" y="7156"/>
                </a:cubicBezTo>
                <a:cubicBezTo>
                  <a:pt x="14087" y="6879"/>
                  <a:pt x="14008" y="6663"/>
                  <a:pt x="13852" y="6507"/>
                </a:cubicBezTo>
                <a:cubicBezTo>
                  <a:pt x="13695" y="6350"/>
                  <a:pt x="13479" y="6271"/>
                  <a:pt x="13202" y="6271"/>
                </a:cubicBezTo>
                <a:cubicBezTo>
                  <a:pt x="10896" y="6271"/>
                  <a:pt x="10896" y="6271"/>
                  <a:pt x="10896" y="6271"/>
                </a:cubicBezTo>
                <a:cubicBezTo>
                  <a:pt x="10530" y="6271"/>
                  <a:pt x="10194" y="6329"/>
                  <a:pt x="9887" y="6445"/>
                </a:cubicBezTo>
                <a:cubicBezTo>
                  <a:pt x="9581" y="6561"/>
                  <a:pt x="9317" y="6723"/>
                  <a:pt x="9092" y="6932"/>
                </a:cubicBezTo>
                <a:cubicBezTo>
                  <a:pt x="8869" y="7141"/>
                  <a:pt x="8693" y="7393"/>
                  <a:pt x="8566" y="7688"/>
                </a:cubicBezTo>
                <a:cubicBezTo>
                  <a:pt x="8439" y="7983"/>
                  <a:pt x="8376" y="8313"/>
                  <a:pt x="8376" y="8679"/>
                </a:cubicBezTo>
                <a:cubicBezTo>
                  <a:pt x="8376" y="9135"/>
                  <a:pt x="8466" y="9563"/>
                  <a:pt x="8645" y="9966"/>
                </a:cubicBezTo>
                <a:cubicBezTo>
                  <a:pt x="8824" y="10370"/>
                  <a:pt x="9068" y="10721"/>
                  <a:pt x="9378" y="11018"/>
                </a:cubicBezTo>
                <a:cubicBezTo>
                  <a:pt x="9688" y="11318"/>
                  <a:pt x="10046" y="11553"/>
                  <a:pt x="10453" y="11725"/>
                </a:cubicBezTo>
                <a:cubicBezTo>
                  <a:pt x="10860" y="11896"/>
                  <a:pt x="11287" y="11983"/>
                  <a:pt x="11735" y="11983"/>
                </a:cubicBezTo>
                <a:cubicBezTo>
                  <a:pt x="14042" y="11983"/>
                  <a:pt x="14042" y="11983"/>
                  <a:pt x="14042" y="11983"/>
                </a:cubicBezTo>
                <a:cubicBezTo>
                  <a:pt x="14147" y="11983"/>
                  <a:pt x="14199" y="11937"/>
                  <a:pt x="14199" y="11848"/>
                </a:cubicBezTo>
                <a:moveTo>
                  <a:pt x="20010" y="5621"/>
                </a:moveTo>
                <a:cubicBezTo>
                  <a:pt x="20010" y="4412"/>
                  <a:pt x="20010" y="4412"/>
                  <a:pt x="20010" y="4412"/>
                </a:cubicBezTo>
                <a:cubicBezTo>
                  <a:pt x="20010" y="4359"/>
                  <a:pt x="19999" y="4326"/>
                  <a:pt x="19976" y="4311"/>
                </a:cubicBezTo>
                <a:cubicBezTo>
                  <a:pt x="19954" y="4296"/>
                  <a:pt x="19913" y="4281"/>
                  <a:pt x="19853" y="4265"/>
                </a:cubicBezTo>
                <a:cubicBezTo>
                  <a:pt x="19741" y="4244"/>
                  <a:pt x="19635" y="4199"/>
                  <a:pt x="19534" y="4131"/>
                </a:cubicBezTo>
                <a:cubicBezTo>
                  <a:pt x="19433" y="4065"/>
                  <a:pt x="19344" y="3986"/>
                  <a:pt x="19265" y="3897"/>
                </a:cubicBezTo>
                <a:cubicBezTo>
                  <a:pt x="19187" y="3807"/>
                  <a:pt x="19123" y="3708"/>
                  <a:pt x="19075" y="3600"/>
                </a:cubicBezTo>
                <a:cubicBezTo>
                  <a:pt x="19026" y="3492"/>
                  <a:pt x="19002" y="3382"/>
                  <a:pt x="19002" y="3269"/>
                </a:cubicBezTo>
                <a:cubicBezTo>
                  <a:pt x="19002" y="885"/>
                  <a:pt x="19002" y="885"/>
                  <a:pt x="19002" y="885"/>
                </a:cubicBezTo>
                <a:cubicBezTo>
                  <a:pt x="19002" y="609"/>
                  <a:pt x="18923" y="392"/>
                  <a:pt x="18767" y="236"/>
                </a:cubicBezTo>
                <a:cubicBezTo>
                  <a:pt x="18610" y="78"/>
                  <a:pt x="18393" y="0"/>
                  <a:pt x="18117" y="0"/>
                </a:cubicBezTo>
                <a:cubicBezTo>
                  <a:pt x="17591" y="0"/>
                  <a:pt x="17591" y="0"/>
                  <a:pt x="17591" y="0"/>
                </a:cubicBezTo>
                <a:cubicBezTo>
                  <a:pt x="17486" y="0"/>
                  <a:pt x="17435" y="45"/>
                  <a:pt x="17435" y="135"/>
                </a:cubicBezTo>
                <a:cubicBezTo>
                  <a:pt x="17435" y="3314"/>
                  <a:pt x="17435" y="3314"/>
                  <a:pt x="17435" y="3314"/>
                </a:cubicBezTo>
                <a:cubicBezTo>
                  <a:pt x="17435" y="3642"/>
                  <a:pt x="17500" y="3949"/>
                  <a:pt x="17630" y="4233"/>
                </a:cubicBezTo>
                <a:cubicBezTo>
                  <a:pt x="17761" y="4516"/>
                  <a:pt x="17936" y="4768"/>
                  <a:pt x="18157" y="4989"/>
                </a:cubicBezTo>
                <a:cubicBezTo>
                  <a:pt x="18376" y="5208"/>
                  <a:pt x="18633" y="5386"/>
                  <a:pt x="18923" y="5520"/>
                </a:cubicBezTo>
                <a:cubicBezTo>
                  <a:pt x="19215" y="5655"/>
                  <a:pt x="19525" y="5737"/>
                  <a:pt x="19853" y="5766"/>
                </a:cubicBezTo>
                <a:cubicBezTo>
                  <a:pt x="19958" y="5774"/>
                  <a:pt x="20010" y="5726"/>
                  <a:pt x="20010" y="5621"/>
                </a:cubicBezTo>
                <a:moveTo>
                  <a:pt x="22053" y="1321"/>
                </a:moveTo>
                <a:cubicBezTo>
                  <a:pt x="22053" y="884"/>
                  <a:pt x="22053" y="884"/>
                  <a:pt x="22053" y="884"/>
                </a:cubicBezTo>
                <a:cubicBezTo>
                  <a:pt x="22053" y="608"/>
                  <a:pt x="21975" y="392"/>
                  <a:pt x="21818" y="235"/>
                </a:cubicBezTo>
                <a:cubicBezTo>
                  <a:pt x="21661" y="78"/>
                  <a:pt x="21445" y="0"/>
                  <a:pt x="21169" y="0"/>
                </a:cubicBezTo>
                <a:cubicBezTo>
                  <a:pt x="20620" y="0"/>
                  <a:pt x="20620" y="0"/>
                  <a:pt x="20620" y="0"/>
                </a:cubicBezTo>
                <a:cubicBezTo>
                  <a:pt x="20530" y="0"/>
                  <a:pt x="20485" y="52"/>
                  <a:pt x="20485" y="157"/>
                </a:cubicBezTo>
                <a:cubicBezTo>
                  <a:pt x="20485" y="1321"/>
                  <a:pt x="20485" y="1321"/>
                  <a:pt x="20485" y="1321"/>
                </a:cubicBezTo>
                <a:cubicBezTo>
                  <a:pt x="20485" y="1425"/>
                  <a:pt x="20530" y="1477"/>
                  <a:pt x="20620" y="1477"/>
                </a:cubicBezTo>
                <a:cubicBezTo>
                  <a:pt x="21919" y="1477"/>
                  <a:pt x="21919" y="1477"/>
                  <a:pt x="21919" y="1477"/>
                </a:cubicBezTo>
                <a:cubicBezTo>
                  <a:pt x="22009" y="1477"/>
                  <a:pt x="22053" y="1425"/>
                  <a:pt x="22053" y="1321"/>
                </a:cubicBezTo>
                <a:moveTo>
                  <a:pt x="22053" y="5578"/>
                </a:moveTo>
                <a:cubicBezTo>
                  <a:pt x="22053" y="2897"/>
                  <a:pt x="22053" y="2897"/>
                  <a:pt x="22053" y="2897"/>
                </a:cubicBezTo>
                <a:cubicBezTo>
                  <a:pt x="22053" y="2897"/>
                  <a:pt x="22053" y="2897"/>
                  <a:pt x="22053" y="2897"/>
                </a:cubicBezTo>
                <a:cubicBezTo>
                  <a:pt x="22051" y="2626"/>
                  <a:pt x="21973" y="2414"/>
                  <a:pt x="21818" y="2259"/>
                </a:cubicBezTo>
                <a:cubicBezTo>
                  <a:pt x="21661" y="2102"/>
                  <a:pt x="21445" y="2024"/>
                  <a:pt x="21169" y="2024"/>
                </a:cubicBezTo>
                <a:cubicBezTo>
                  <a:pt x="20643" y="2024"/>
                  <a:pt x="20643" y="2024"/>
                  <a:pt x="20643" y="2024"/>
                </a:cubicBezTo>
                <a:cubicBezTo>
                  <a:pt x="20538" y="2024"/>
                  <a:pt x="20485" y="2068"/>
                  <a:pt x="20485" y="2158"/>
                </a:cubicBezTo>
                <a:cubicBezTo>
                  <a:pt x="20485" y="2897"/>
                  <a:pt x="20485" y="2897"/>
                  <a:pt x="20485" y="2897"/>
                </a:cubicBezTo>
                <a:cubicBezTo>
                  <a:pt x="20485" y="4827"/>
                  <a:pt x="20485" y="4827"/>
                  <a:pt x="20485" y="4827"/>
                </a:cubicBezTo>
                <a:cubicBezTo>
                  <a:pt x="20485" y="5104"/>
                  <a:pt x="20564" y="5321"/>
                  <a:pt x="20721" y="5477"/>
                </a:cubicBezTo>
                <a:cubicBezTo>
                  <a:pt x="20877" y="5634"/>
                  <a:pt x="21094" y="5712"/>
                  <a:pt x="21370" y="5712"/>
                </a:cubicBezTo>
                <a:cubicBezTo>
                  <a:pt x="21896" y="5712"/>
                  <a:pt x="21896" y="5712"/>
                  <a:pt x="21896" y="5712"/>
                </a:cubicBezTo>
                <a:cubicBezTo>
                  <a:pt x="22001" y="5712"/>
                  <a:pt x="22053" y="5668"/>
                  <a:pt x="22053" y="5578"/>
                </a:cubicBezTo>
                <a:moveTo>
                  <a:pt x="7850" y="7592"/>
                </a:moveTo>
                <a:cubicBezTo>
                  <a:pt x="7850" y="7155"/>
                  <a:pt x="7850" y="7155"/>
                  <a:pt x="7850" y="7155"/>
                </a:cubicBezTo>
                <a:cubicBezTo>
                  <a:pt x="7850" y="6879"/>
                  <a:pt x="7772" y="6663"/>
                  <a:pt x="7615" y="6505"/>
                </a:cubicBezTo>
                <a:cubicBezTo>
                  <a:pt x="7458" y="6349"/>
                  <a:pt x="7242" y="6271"/>
                  <a:pt x="6966" y="6271"/>
                </a:cubicBezTo>
                <a:cubicBezTo>
                  <a:pt x="6417" y="6271"/>
                  <a:pt x="6417" y="6271"/>
                  <a:pt x="6417" y="6271"/>
                </a:cubicBezTo>
                <a:cubicBezTo>
                  <a:pt x="6328" y="6271"/>
                  <a:pt x="6283" y="6323"/>
                  <a:pt x="6283" y="6427"/>
                </a:cubicBezTo>
                <a:cubicBezTo>
                  <a:pt x="6283" y="7592"/>
                  <a:pt x="6283" y="7592"/>
                  <a:pt x="6283" y="7592"/>
                </a:cubicBezTo>
                <a:cubicBezTo>
                  <a:pt x="6283" y="7696"/>
                  <a:pt x="6328" y="7748"/>
                  <a:pt x="6417" y="7748"/>
                </a:cubicBezTo>
                <a:cubicBezTo>
                  <a:pt x="7716" y="7748"/>
                  <a:pt x="7716" y="7748"/>
                  <a:pt x="7716" y="7748"/>
                </a:cubicBezTo>
                <a:cubicBezTo>
                  <a:pt x="7806" y="7748"/>
                  <a:pt x="7850" y="7696"/>
                  <a:pt x="7850" y="7592"/>
                </a:cubicBezTo>
                <a:moveTo>
                  <a:pt x="7850" y="11848"/>
                </a:moveTo>
                <a:cubicBezTo>
                  <a:pt x="7850" y="9168"/>
                  <a:pt x="7850" y="9168"/>
                  <a:pt x="7850" y="9168"/>
                </a:cubicBezTo>
                <a:cubicBezTo>
                  <a:pt x="7850" y="9168"/>
                  <a:pt x="7850" y="9168"/>
                  <a:pt x="7850" y="9168"/>
                </a:cubicBezTo>
                <a:cubicBezTo>
                  <a:pt x="7848" y="8897"/>
                  <a:pt x="7770" y="8684"/>
                  <a:pt x="7615" y="8530"/>
                </a:cubicBezTo>
                <a:cubicBezTo>
                  <a:pt x="7458" y="8373"/>
                  <a:pt x="7242" y="8294"/>
                  <a:pt x="6966" y="8294"/>
                </a:cubicBezTo>
                <a:cubicBezTo>
                  <a:pt x="6440" y="8294"/>
                  <a:pt x="6440" y="8294"/>
                  <a:pt x="6440" y="8294"/>
                </a:cubicBezTo>
                <a:cubicBezTo>
                  <a:pt x="6335" y="8294"/>
                  <a:pt x="6283" y="8339"/>
                  <a:pt x="6283" y="8429"/>
                </a:cubicBezTo>
                <a:cubicBezTo>
                  <a:pt x="6283" y="9168"/>
                  <a:pt x="6283" y="9168"/>
                  <a:pt x="6283" y="9168"/>
                </a:cubicBezTo>
                <a:cubicBezTo>
                  <a:pt x="6283" y="11098"/>
                  <a:pt x="6283" y="11098"/>
                  <a:pt x="6283" y="11098"/>
                </a:cubicBezTo>
                <a:cubicBezTo>
                  <a:pt x="6283" y="11374"/>
                  <a:pt x="6361" y="11591"/>
                  <a:pt x="6518" y="11748"/>
                </a:cubicBezTo>
                <a:cubicBezTo>
                  <a:pt x="6674" y="11905"/>
                  <a:pt x="6891" y="11983"/>
                  <a:pt x="7167" y="11983"/>
                </a:cubicBezTo>
                <a:cubicBezTo>
                  <a:pt x="7693" y="11983"/>
                  <a:pt x="7693" y="11983"/>
                  <a:pt x="7693" y="11983"/>
                </a:cubicBezTo>
                <a:cubicBezTo>
                  <a:pt x="7798" y="11983"/>
                  <a:pt x="7850" y="11938"/>
                  <a:pt x="7850" y="11848"/>
                </a:cubicBezTo>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de-DE" sz="1350"/>
          </a:p>
        </p:txBody>
      </p:sp>
    </p:spTree>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9"/>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857" name="think-cell Slide" r:id="rId41" imgW="353" imgH="353" progId="TCLayout.ActiveDocument.1">
                  <p:embed/>
                </p:oleObj>
              </mc:Choice>
              <mc:Fallback>
                <p:oleObj name="think-cell Slide" r:id="rId41" imgW="353" imgH="353" progId="TCLayout.ActiveDocument.1">
                  <p:embed/>
                  <p:pic>
                    <p:nvPicPr>
                      <p:cNvPr id="0" name=""/>
                      <p:cNvPicPr/>
                      <p:nvPr/>
                    </p:nvPicPr>
                    <p:blipFill>
                      <a:blip r:embed="rId42"/>
                      <a:stretch>
                        <a:fillRect/>
                      </a:stretch>
                    </p:blipFill>
                    <p:spPr>
                      <a:xfrm>
                        <a:off x="1589" y="1590"/>
                        <a:ext cx="1587" cy="1587"/>
                      </a:xfrm>
                      <a:prstGeom prst="rect">
                        <a:avLst/>
                      </a:prstGeom>
                    </p:spPr>
                  </p:pic>
                </p:oleObj>
              </mc:Fallback>
            </mc:AlternateContent>
          </a:graphicData>
        </a:graphic>
      </p:graphicFrame>
      <p:cxnSp>
        <p:nvCxnSpPr>
          <p:cNvPr id="14" name="Gerade Verbindung 36"/>
          <p:cNvCxnSpPr/>
          <p:nvPr userDrawn="1"/>
        </p:nvCxnSpPr>
        <p:spPr bwMode="gray">
          <a:xfrm flipV="1">
            <a:off x="624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5" name="Gerade Verbindung 37"/>
          <p:cNvCxnSpPr/>
          <p:nvPr userDrawn="1"/>
        </p:nvCxnSpPr>
        <p:spPr bwMode="gray">
          <a:xfrm flipV="1">
            <a:off x="1272000" y="-171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6" name="Gerade Verbindung 36"/>
          <p:cNvCxnSpPr/>
          <p:nvPr userDrawn="1"/>
        </p:nvCxnSpPr>
        <p:spPr bwMode="gray">
          <a:xfrm flipV="1">
            <a:off x="1560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7" name="Gerade Verbindung 37"/>
          <p:cNvCxnSpPr/>
          <p:nvPr userDrawn="1"/>
        </p:nvCxnSpPr>
        <p:spPr bwMode="gray">
          <a:xfrm flipV="1">
            <a:off x="2208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8" name="Gerade Verbindung 36"/>
          <p:cNvCxnSpPr/>
          <p:nvPr userDrawn="1"/>
        </p:nvCxnSpPr>
        <p:spPr bwMode="gray">
          <a:xfrm flipV="1">
            <a:off x="2496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9" name="Gerade Verbindung 37"/>
          <p:cNvCxnSpPr/>
          <p:nvPr userDrawn="1"/>
        </p:nvCxnSpPr>
        <p:spPr bwMode="gray">
          <a:xfrm flipV="1">
            <a:off x="3144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0" name="Gerade Verbindung 36"/>
          <p:cNvCxnSpPr/>
          <p:nvPr userDrawn="1"/>
        </p:nvCxnSpPr>
        <p:spPr bwMode="gray">
          <a:xfrm flipV="1">
            <a:off x="3432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1" name="Gerade Verbindung 37"/>
          <p:cNvCxnSpPr/>
          <p:nvPr userDrawn="1"/>
        </p:nvCxnSpPr>
        <p:spPr bwMode="gray">
          <a:xfrm flipV="1">
            <a:off x="4080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2" name="Gerade Verbindung 36"/>
          <p:cNvCxnSpPr/>
          <p:nvPr userDrawn="1"/>
        </p:nvCxnSpPr>
        <p:spPr bwMode="gray">
          <a:xfrm flipV="1">
            <a:off x="4368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3" name="Gerade Verbindung 37"/>
          <p:cNvCxnSpPr/>
          <p:nvPr userDrawn="1"/>
        </p:nvCxnSpPr>
        <p:spPr bwMode="gray">
          <a:xfrm flipV="1">
            <a:off x="5016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4" name="Gerade Verbindung 36"/>
          <p:cNvCxnSpPr/>
          <p:nvPr userDrawn="1"/>
        </p:nvCxnSpPr>
        <p:spPr bwMode="gray">
          <a:xfrm flipV="1">
            <a:off x="5304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5" name="Gerade Verbindung 37"/>
          <p:cNvCxnSpPr/>
          <p:nvPr userDrawn="1"/>
        </p:nvCxnSpPr>
        <p:spPr bwMode="gray">
          <a:xfrm flipV="1">
            <a:off x="5952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6" name="Gerade Verbindung 36"/>
          <p:cNvCxnSpPr/>
          <p:nvPr userDrawn="1"/>
        </p:nvCxnSpPr>
        <p:spPr bwMode="gray">
          <a:xfrm flipV="1">
            <a:off x="6240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7" name="Gerade Verbindung 37"/>
          <p:cNvCxnSpPr/>
          <p:nvPr userDrawn="1"/>
        </p:nvCxnSpPr>
        <p:spPr bwMode="gray">
          <a:xfrm flipV="1">
            <a:off x="6888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8" name="Gerade Verbindung 36"/>
          <p:cNvCxnSpPr/>
          <p:nvPr userDrawn="1"/>
        </p:nvCxnSpPr>
        <p:spPr bwMode="gray">
          <a:xfrm flipV="1">
            <a:off x="7176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9" name="Gerade Verbindung 37"/>
          <p:cNvCxnSpPr/>
          <p:nvPr userDrawn="1"/>
        </p:nvCxnSpPr>
        <p:spPr bwMode="gray">
          <a:xfrm flipV="1">
            <a:off x="7824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0" name="Gerade Verbindung 36"/>
          <p:cNvCxnSpPr/>
          <p:nvPr userDrawn="1"/>
        </p:nvCxnSpPr>
        <p:spPr bwMode="gray">
          <a:xfrm flipV="1">
            <a:off x="8112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1" name="Gerade Verbindung 37"/>
          <p:cNvCxnSpPr/>
          <p:nvPr userDrawn="1"/>
        </p:nvCxnSpPr>
        <p:spPr bwMode="gray">
          <a:xfrm flipV="1">
            <a:off x="8760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2" name="Gerade Verbindung 36"/>
          <p:cNvCxnSpPr/>
          <p:nvPr userDrawn="1"/>
        </p:nvCxnSpPr>
        <p:spPr bwMode="gray">
          <a:xfrm flipV="1">
            <a:off x="9048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3" name="Gerade Verbindung 37"/>
          <p:cNvCxnSpPr/>
          <p:nvPr userDrawn="1"/>
        </p:nvCxnSpPr>
        <p:spPr bwMode="gray">
          <a:xfrm flipV="1">
            <a:off x="9696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4" name="Gerade Verbindung 36"/>
          <p:cNvCxnSpPr/>
          <p:nvPr userDrawn="1"/>
        </p:nvCxnSpPr>
        <p:spPr bwMode="gray">
          <a:xfrm flipV="1">
            <a:off x="9984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5" name="Gerade Verbindung 37"/>
          <p:cNvCxnSpPr/>
          <p:nvPr userDrawn="1"/>
        </p:nvCxnSpPr>
        <p:spPr bwMode="gray">
          <a:xfrm flipV="1">
            <a:off x="10632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6" name="Gerade Verbindung 36"/>
          <p:cNvCxnSpPr/>
          <p:nvPr userDrawn="1"/>
        </p:nvCxnSpPr>
        <p:spPr bwMode="gray">
          <a:xfrm flipV="1">
            <a:off x="10920000" y="-16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7" name="Gerade Verbindung 37"/>
          <p:cNvCxnSpPr/>
          <p:nvPr userDrawn="1"/>
        </p:nvCxnSpPr>
        <p:spPr bwMode="gray">
          <a:xfrm flipV="1">
            <a:off x="11568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8" name="Gerade Verbindung 36"/>
          <p:cNvCxnSpPr/>
          <p:nvPr userDrawn="1"/>
        </p:nvCxnSpPr>
        <p:spPr bwMode="gray">
          <a:xfrm flipV="1">
            <a:off x="624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9" name="Gerade Verbindung 37"/>
          <p:cNvCxnSpPr/>
          <p:nvPr userDrawn="1"/>
        </p:nvCxnSpPr>
        <p:spPr bwMode="gray">
          <a:xfrm flipV="1">
            <a:off x="1272000" y="6952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0" name="Gerade Verbindung 36"/>
          <p:cNvCxnSpPr/>
          <p:nvPr userDrawn="1"/>
        </p:nvCxnSpPr>
        <p:spPr bwMode="gray">
          <a:xfrm flipV="1">
            <a:off x="1560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1" name="Gerade Verbindung 37"/>
          <p:cNvCxnSpPr/>
          <p:nvPr userDrawn="1"/>
        </p:nvCxnSpPr>
        <p:spPr bwMode="gray">
          <a:xfrm flipV="1">
            <a:off x="2208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2" name="Gerade Verbindung 36"/>
          <p:cNvCxnSpPr/>
          <p:nvPr userDrawn="1"/>
        </p:nvCxnSpPr>
        <p:spPr bwMode="gray">
          <a:xfrm flipV="1">
            <a:off x="2496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3" name="Gerade Verbindung 37"/>
          <p:cNvCxnSpPr/>
          <p:nvPr userDrawn="1"/>
        </p:nvCxnSpPr>
        <p:spPr bwMode="gray">
          <a:xfrm flipV="1">
            <a:off x="3144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4" name="Gerade Verbindung 36"/>
          <p:cNvCxnSpPr/>
          <p:nvPr userDrawn="1"/>
        </p:nvCxnSpPr>
        <p:spPr bwMode="gray">
          <a:xfrm flipV="1">
            <a:off x="3432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5" name="Gerade Verbindung 37"/>
          <p:cNvCxnSpPr/>
          <p:nvPr userDrawn="1"/>
        </p:nvCxnSpPr>
        <p:spPr bwMode="gray">
          <a:xfrm flipV="1">
            <a:off x="4080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6" name="Gerade Verbindung 36"/>
          <p:cNvCxnSpPr/>
          <p:nvPr userDrawn="1"/>
        </p:nvCxnSpPr>
        <p:spPr bwMode="gray">
          <a:xfrm flipV="1">
            <a:off x="4368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7" name="Gerade Verbindung 37"/>
          <p:cNvCxnSpPr/>
          <p:nvPr userDrawn="1"/>
        </p:nvCxnSpPr>
        <p:spPr bwMode="gray">
          <a:xfrm flipV="1">
            <a:off x="5016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8" name="Gerade Verbindung 36"/>
          <p:cNvCxnSpPr/>
          <p:nvPr userDrawn="1"/>
        </p:nvCxnSpPr>
        <p:spPr bwMode="gray">
          <a:xfrm flipV="1">
            <a:off x="5304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9" name="Gerade Verbindung 37"/>
          <p:cNvCxnSpPr/>
          <p:nvPr userDrawn="1"/>
        </p:nvCxnSpPr>
        <p:spPr bwMode="gray">
          <a:xfrm flipV="1">
            <a:off x="5952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0" name="Gerade Verbindung 36"/>
          <p:cNvCxnSpPr/>
          <p:nvPr userDrawn="1"/>
        </p:nvCxnSpPr>
        <p:spPr bwMode="gray">
          <a:xfrm flipV="1">
            <a:off x="6240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1" name="Gerade Verbindung 37"/>
          <p:cNvCxnSpPr/>
          <p:nvPr userDrawn="1"/>
        </p:nvCxnSpPr>
        <p:spPr bwMode="gray">
          <a:xfrm flipV="1">
            <a:off x="6888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2" name="Gerade Verbindung 36"/>
          <p:cNvCxnSpPr/>
          <p:nvPr userDrawn="1"/>
        </p:nvCxnSpPr>
        <p:spPr bwMode="gray">
          <a:xfrm flipV="1">
            <a:off x="7176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3" name="Gerade Verbindung 37"/>
          <p:cNvCxnSpPr/>
          <p:nvPr userDrawn="1"/>
        </p:nvCxnSpPr>
        <p:spPr bwMode="gray">
          <a:xfrm flipV="1">
            <a:off x="7824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4" name="Gerade Verbindung 36"/>
          <p:cNvCxnSpPr/>
          <p:nvPr userDrawn="1"/>
        </p:nvCxnSpPr>
        <p:spPr bwMode="gray">
          <a:xfrm flipV="1">
            <a:off x="8112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5" name="Gerade Verbindung 37"/>
          <p:cNvCxnSpPr/>
          <p:nvPr userDrawn="1"/>
        </p:nvCxnSpPr>
        <p:spPr bwMode="gray">
          <a:xfrm flipV="1">
            <a:off x="8760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6" name="Gerade Verbindung 36"/>
          <p:cNvCxnSpPr/>
          <p:nvPr userDrawn="1"/>
        </p:nvCxnSpPr>
        <p:spPr bwMode="gray">
          <a:xfrm flipV="1">
            <a:off x="9048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7" name="Gerade Verbindung 37"/>
          <p:cNvCxnSpPr/>
          <p:nvPr userDrawn="1"/>
        </p:nvCxnSpPr>
        <p:spPr bwMode="gray">
          <a:xfrm flipV="1">
            <a:off x="9696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8" name="Gerade Verbindung 36"/>
          <p:cNvCxnSpPr/>
          <p:nvPr userDrawn="1"/>
        </p:nvCxnSpPr>
        <p:spPr bwMode="gray">
          <a:xfrm flipV="1">
            <a:off x="9984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9" name="Gerade Verbindung 37"/>
          <p:cNvCxnSpPr/>
          <p:nvPr userDrawn="1"/>
        </p:nvCxnSpPr>
        <p:spPr bwMode="gray">
          <a:xfrm flipV="1">
            <a:off x="10632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0" name="Gerade Verbindung 36"/>
          <p:cNvCxnSpPr/>
          <p:nvPr userDrawn="1"/>
        </p:nvCxnSpPr>
        <p:spPr bwMode="gray">
          <a:xfrm flipV="1">
            <a:off x="10920000" y="695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1" name="Gerade Verbindung 37"/>
          <p:cNvCxnSpPr/>
          <p:nvPr userDrawn="1"/>
        </p:nvCxnSpPr>
        <p:spPr bwMode="gray">
          <a:xfrm flipV="1">
            <a:off x="11568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bwMode="gray">
          <a:xfrm rot="5400000" flipV="1">
            <a:off x="-192704" y="1437000"/>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bwMode="gray">
          <a:xfrm rot="5400000" flipV="1">
            <a:off x="-192704" y="6045296"/>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4" name="Gerade Verbindung 64"/>
          <p:cNvCxnSpPr/>
          <p:nvPr userDrawn="1"/>
        </p:nvCxnSpPr>
        <p:spPr bwMode="gray">
          <a:xfrm rot="5400000" flipV="1">
            <a:off x="-192704" y="356664"/>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sp>
        <p:nvSpPr>
          <p:cNvPr id="65" name="empower - DO NOT DELETE!!!" hidden="1"/>
          <p:cNvSpPr/>
          <p:nvPr userDrawn="1">
            <p:custDataLst>
              <p:tags r:id="rId40"/>
            </p:custDataLst>
          </p:nvPr>
        </p:nvSpPr>
        <p:spPr bwMode="gray">
          <a:xfrm>
            <a:off x="-1270000" y="-1270000"/>
            <a:ext cx="0" cy="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6" name="Slide Number Placeholder 65"/>
          <p:cNvSpPr>
            <a:spLocks noGrp="1"/>
          </p:cNvSpPr>
          <p:nvPr>
            <p:ph type="sldNum" sz="quarter" idx="4"/>
          </p:nvPr>
        </p:nvSpPr>
        <p:spPr bwMode="gray">
          <a:xfrm>
            <a:off x="624001" y="6380999"/>
            <a:ext cx="648000" cy="216172"/>
          </a:xfrm>
          <a:prstGeom prst="rect">
            <a:avLst/>
          </a:prstGeom>
        </p:spPr>
        <p:txBody>
          <a:bodyPr vert="horz" lIns="0" tIns="0" rIns="0" bIns="36000" rtlCol="0" anchor="b" anchorCtr="0"/>
          <a:lstStyle>
            <a:lvl1pPr>
              <a:defRPr lang="de-DE" sz="60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fld id="{FD5E7EB4-4CDF-47BB-AF16-07782904B863}" type="slidenum">
              <a:rPr lang="en-US" noProof="0" smtClean="0"/>
              <a:pPr/>
              <a:t>‹#›</a:t>
            </a:fld>
            <a:endParaRPr lang="en-US" noProof="0" dirty="0"/>
          </a:p>
        </p:txBody>
      </p:sp>
      <p:sp>
        <p:nvSpPr>
          <p:cNvPr id="67" name="Footer Placeholder 66"/>
          <p:cNvSpPr>
            <a:spLocks noGrp="1"/>
          </p:cNvSpPr>
          <p:nvPr>
            <p:ph type="ftr" sz="quarter" idx="3"/>
          </p:nvPr>
        </p:nvSpPr>
        <p:spPr bwMode="gray">
          <a:xfrm>
            <a:off x="1272001" y="6380999"/>
            <a:ext cx="8718972" cy="216172"/>
          </a:xfrm>
          <a:prstGeom prst="rect">
            <a:avLst/>
          </a:prstGeom>
        </p:spPr>
        <p:txBody>
          <a:bodyPr vert="horz" lIns="0" tIns="0" rIns="0" bIns="36000" rtlCol="0" anchor="b" anchorCtr="0"/>
          <a:lstStyle>
            <a:lvl1pPr>
              <a:defRPr lang="de-DE" sz="6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dirty="0"/>
              <a:t>Title of Presentation | DD.MM.YYYY</a:t>
            </a:r>
          </a:p>
        </p:txBody>
      </p:sp>
      <p:sp>
        <p:nvSpPr>
          <p:cNvPr id="13" name="Text Placeholder 12"/>
          <p:cNvSpPr>
            <a:spLocks noGrp="1"/>
          </p:cNvSpPr>
          <p:nvPr>
            <p:ph type="body" idx="1"/>
          </p:nvPr>
        </p:nvSpPr>
        <p:spPr bwMode="gray">
          <a:xfrm>
            <a:off x="623889" y="1485000"/>
            <a:ext cx="10944227" cy="4607824"/>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a:p>
            <a:pPr lvl="4"/>
            <a:endParaRPr lang="en-US" dirty="0"/>
          </a:p>
        </p:txBody>
      </p:sp>
      <p:sp>
        <p:nvSpPr>
          <p:cNvPr id="4" name="Title Placeholder 3"/>
          <p:cNvSpPr>
            <a:spLocks noGrp="1"/>
          </p:cNvSpPr>
          <p:nvPr>
            <p:ph type="title"/>
          </p:nvPr>
        </p:nvSpPr>
        <p:spPr bwMode="gray">
          <a:xfrm>
            <a:off x="623889" y="784662"/>
            <a:ext cx="10944225" cy="272091"/>
          </a:xfrm>
          <a:prstGeom prst="rect">
            <a:avLst/>
          </a:prstGeom>
          <a:noFill/>
        </p:spPr>
        <p:txBody>
          <a:bodyPr vert="horz" lIns="0" tIns="0" rIns="0" bIns="18000" rtlCol="0" anchor="b" anchorCtr="0">
            <a:spAutoFit/>
          </a:bodyPr>
          <a:lstStyle/>
          <a:p>
            <a:pPr lvl="0">
              <a:lnSpc>
                <a:spcPct val="100000"/>
              </a:lnSpc>
            </a:pPr>
            <a:r>
              <a:rPr lang="en-US" noProof="0" dirty="0"/>
              <a:t>Insert slide title here (max. 2 lines | max. 1 line with Action Title)</a:t>
            </a:r>
          </a:p>
        </p:txBody>
      </p:sp>
      <p:grpSp>
        <p:nvGrpSpPr>
          <p:cNvPr id="68" name="Logo Merck"/>
          <p:cNvGrpSpPr>
            <a:grpSpLocks noChangeAspect="1"/>
          </p:cNvGrpSpPr>
          <p:nvPr userDrawn="1"/>
        </p:nvGrpSpPr>
        <p:grpSpPr>
          <a:xfrm>
            <a:off x="10816204" y="6180162"/>
            <a:ext cx="751909" cy="360000"/>
            <a:chOff x="7453313" y="4122737"/>
            <a:chExt cx="4114800" cy="1970088"/>
          </a:xfrm>
        </p:grpSpPr>
        <p:sp>
          <p:nvSpPr>
            <p:cNvPr id="69" name="Freeform 6"/>
            <p:cNvSpPr>
              <a:spLocks noEditPoints="1"/>
            </p:cNvSpPr>
            <p:nvPr userDrawn="1"/>
          </p:nvSpPr>
          <p:spPr bwMode="auto">
            <a:xfrm>
              <a:off x="7453313" y="4122737"/>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70" name="Freeform 7"/>
            <p:cNvSpPr>
              <a:spLocks/>
            </p:cNvSpPr>
            <p:nvPr userDrawn="1"/>
          </p:nvSpPr>
          <p:spPr bwMode="auto">
            <a:xfrm>
              <a:off x="7453313" y="4122737"/>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sz="1350" dirty="0"/>
            </a:p>
          </p:txBody>
        </p:sp>
      </p:grpSp>
    </p:spTree>
    <p:extLst/>
  </p:cSld>
  <p:clrMap bg1="lt1" tx1="dk1" bg2="lt2" tx2="dk2" accent1="accent1" accent2="accent2" accent3="accent3" accent4="accent4" accent5="accent5" accent6="accent6" hlink="hlink" folHlink="folHlink"/>
  <p:sldLayoutIdLst>
    <p:sldLayoutId id="2147483649" r:id="rId1"/>
    <p:sldLayoutId id="2147483666" r:id="rId2"/>
    <p:sldLayoutId id="2147483672" r:id="rId3"/>
    <p:sldLayoutId id="2147483650" r:id="rId4"/>
    <p:sldLayoutId id="2147483660" r:id="rId5"/>
    <p:sldLayoutId id="2147483662" r:id="rId6"/>
    <p:sldLayoutId id="2147483690" r:id="rId7"/>
    <p:sldLayoutId id="2147483691" r:id="rId8"/>
    <p:sldLayoutId id="2147483692" r:id="rId9"/>
    <p:sldLayoutId id="2147483651" r:id="rId10"/>
    <p:sldLayoutId id="2147483664" r:id="rId11"/>
    <p:sldLayoutId id="2147483665" r:id="rId12"/>
    <p:sldLayoutId id="2147483687" r:id="rId13"/>
    <p:sldLayoutId id="2147483685" r:id="rId14"/>
    <p:sldLayoutId id="2147483686" r:id="rId15"/>
    <p:sldLayoutId id="2147483656" r:id="rId16"/>
    <p:sldLayoutId id="2147483657" r:id="rId17"/>
    <p:sldLayoutId id="2147483658" r:id="rId18"/>
    <p:sldLayoutId id="2147483652" r:id="rId19"/>
    <p:sldLayoutId id="2147483669" r:id="rId20"/>
    <p:sldLayoutId id="2147483668" r:id="rId21"/>
    <p:sldLayoutId id="2147483671" r:id="rId22"/>
    <p:sldLayoutId id="2147483673" r:id="rId23"/>
    <p:sldLayoutId id="2147483678" r:id="rId24"/>
    <p:sldLayoutId id="2147483674" r:id="rId25"/>
    <p:sldLayoutId id="2147483675" r:id="rId26"/>
    <p:sldLayoutId id="2147483679" r:id="rId27"/>
    <p:sldLayoutId id="2147483676" r:id="rId28"/>
    <p:sldLayoutId id="2147483677" r:id="rId29"/>
    <p:sldLayoutId id="2147483689" r:id="rId30"/>
    <p:sldLayoutId id="2147483683" r:id="rId31"/>
    <p:sldLayoutId id="2147483688" r:id="rId32"/>
    <p:sldLayoutId id="2147483682" r:id="rId33"/>
    <p:sldLayoutId id="2147483693" r:id="rId34"/>
    <p:sldLayoutId id="2147483694" r:id="rId35"/>
    <p:sldLayoutId id="2147483695" r:id="rId36"/>
  </p:sldLayoutIdLst>
  <p:hf hdr="0" dt="0"/>
  <p:txStyles>
    <p:titleStyle>
      <a:lvl1pPr algn="l" defTabSz="685800" rtl="0" eaLnBrk="1" latinLnBrk="0" hangingPunct="1">
        <a:lnSpc>
          <a:spcPts val="1800"/>
        </a:lnSpc>
        <a:spcBef>
          <a:spcPct val="0"/>
        </a:spcBef>
        <a:buNone/>
        <a:defRPr lang="de-DE" sz="1650" b="1"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5000"/>
        </a:lnSpc>
        <a:spcBef>
          <a:spcPts val="450"/>
        </a:spcBef>
        <a:spcAft>
          <a:spcPts val="225"/>
        </a:spcAft>
        <a:buFont typeface="Arial" panose="020B0604020202020204" pitchFamily="34" charset="0"/>
        <a:buNone/>
        <a:defRPr lang="en-US"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35000" indent="-135000" algn="l" defTabSz="685800" rtl="0" eaLnBrk="1" latinLnBrk="0" hangingPunct="1">
        <a:lnSpc>
          <a:spcPct val="105000"/>
        </a:lnSpc>
        <a:spcBef>
          <a:spcPts val="225"/>
        </a:spcBef>
        <a:spcAft>
          <a:spcPts val="225"/>
        </a:spcAft>
        <a:buClr>
          <a:schemeClr val="accent1"/>
        </a:buClr>
        <a:buFont typeface="Wingdings" panose="05000000000000000000" pitchFamily="2" charset="2"/>
        <a:buChar char=""/>
        <a:defRPr lang="en-US"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70000" indent="-135000" algn="l" defTabSz="685800" rtl="0" eaLnBrk="1" latinLnBrk="0" hangingPunct="1">
        <a:lnSpc>
          <a:spcPct val="105000"/>
        </a:lnSpc>
        <a:spcBef>
          <a:spcPts val="225"/>
        </a:spcBef>
        <a:spcAft>
          <a:spcPts val="225"/>
        </a:spcAft>
        <a:buClr>
          <a:schemeClr val="accent1"/>
        </a:buClr>
        <a:buFont typeface="Symbol" panose="05050102010706020507" pitchFamily="18" charset="2"/>
        <a:buChar char="-"/>
        <a:defRPr lang="en-US"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403622"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lang="en-US"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540544"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lang="de-DE"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540000"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540000"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sz="12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540000"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sz="12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540000"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p:bodyStyle>
    <p:otherStyle>
      <a:defPPr>
        <a:defRPr lang="fr-FR"/>
      </a:defPPr>
      <a:lvl1pPr marL="0" algn="l" defTabSz="685800" rtl="0" eaLnBrk="1" latinLnBrk="0" hangingPunct="1">
        <a:defRPr sz="1050" kern="1200">
          <a:solidFill>
            <a:schemeClr val="tx1"/>
          </a:solidFill>
          <a:latin typeface="+mn-lt"/>
          <a:ea typeface="+mn-ea"/>
          <a:cs typeface="+mn-cs"/>
        </a:defRPr>
      </a:lvl1pPr>
      <a:lvl2pPr marL="342900" algn="l" defTabSz="685800" rtl="0" eaLnBrk="1" latinLnBrk="0" hangingPunct="1">
        <a:defRPr sz="1050" kern="1200">
          <a:solidFill>
            <a:schemeClr val="tx1"/>
          </a:solidFill>
          <a:latin typeface="+mn-lt"/>
          <a:ea typeface="+mn-ea"/>
          <a:cs typeface="+mn-cs"/>
        </a:defRPr>
      </a:lvl2pPr>
      <a:lvl3pPr marL="685800" algn="l" defTabSz="685800" rtl="0" eaLnBrk="1" latinLnBrk="0" hangingPunct="1">
        <a:defRPr sz="1050" kern="1200">
          <a:solidFill>
            <a:schemeClr val="tx1"/>
          </a:solidFill>
          <a:latin typeface="+mn-lt"/>
          <a:ea typeface="+mn-ea"/>
          <a:cs typeface="+mn-cs"/>
        </a:defRPr>
      </a:lvl3pPr>
      <a:lvl4pPr marL="1028700" algn="l" defTabSz="685800" rtl="0" eaLnBrk="1" latinLnBrk="0" hangingPunct="1">
        <a:defRPr sz="1050" kern="1200">
          <a:solidFill>
            <a:schemeClr val="tx1"/>
          </a:solidFill>
          <a:latin typeface="+mn-lt"/>
          <a:ea typeface="+mn-ea"/>
          <a:cs typeface="+mn-cs"/>
        </a:defRPr>
      </a:lvl4pPr>
      <a:lvl5pPr marL="1371600" algn="l" defTabSz="685800" rtl="0" eaLnBrk="1" latinLnBrk="0" hangingPunct="1">
        <a:defRPr sz="1050" kern="1200">
          <a:solidFill>
            <a:schemeClr val="tx1"/>
          </a:solidFill>
          <a:latin typeface="+mn-lt"/>
          <a:ea typeface="+mn-ea"/>
          <a:cs typeface="+mn-cs"/>
        </a:defRPr>
      </a:lvl5pPr>
      <a:lvl6pPr marL="1714500" algn="l" defTabSz="685800" rtl="0" eaLnBrk="1" latinLnBrk="0" hangingPunct="1">
        <a:defRPr sz="1050" kern="1200">
          <a:solidFill>
            <a:schemeClr val="tx1"/>
          </a:solidFill>
          <a:latin typeface="+mn-lt"/>
          <a:ea typeface="+mn-ea"/>
          <a:cs typeface="+mn-cs"/>
        </a:defRPr>
      </a:lvl6pPr>
      <a:lvl7pPr marL="2057400" algn="l" defTabSz="685800" rtl="0" eaLnBrk="1" latinLnBrk="0" hangingPunct="1">
        <a:defRPr sz="1050" kern="1200">
          <a:solidFill>
            <a:schemeClr val="tx1"/>
          </a:solidFill>
          <a:latin typeface="+mn-lt"/>
          <a:ea typeface="+mn-ea"/>
          <a:cs typeface="+mn-cs"/>
        </a:defRPr>
      </a:lvl7pPr>
      <a:lvl8pPr marL="2400300" algn="l" defTabSz="685800" rtl="0" eaLnBrk="1" latinLnBrk="0" hangingPunct="1">
        <a:defRPr sz="1050" kern="1200">
          <a:solidFill>
            <a:schemeClr val="tx1"/>
          </a:solidFill>
          <a:latin typeface="+mn-lt"/>
          <a:ea typeface="+mn-ea"/>
          <a:cs typeface="+mn-cs"/>
        </a:defRPr>
      </a:lvl8pPr>
      <a:lvl9pPr marL="2743200" algn="l" defTabSz="685800" rtl="0" eaLnBrk="1" latinLnBrk="0" hangingPunct="1">
        <a:defRPr sz="10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orient="horz" pos="935">
          <p15:clr>
            <a:srgbClr val="F26B43"/>
          </p15:clr>
        </p15:guide>
        <p15:guide id="3" orient="horz" pos="3838">
          <p15:clr>
            <a:srgbClr val="F26B43"/>
          </p15:clr>
        </p15:guide>
        <p15:guide id="4" pos="393">
          <p15:clr>
            <a:srgbClr val="F26B43"/>
          </p15:clr>
        </p15:guide>
        <p15:guide id="5" pos="7287">
          <p15:clr>
            <a:srgbClr val="F26B43"/>
          </p15:clr>
        </p15:guide>
        <p15:guide id="6" orient="horz" pos="411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0.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34.xml"/></Relationships>
</file>

<file path=ppt/slides/_rels/slide101.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6.png"/><Relationship Id="rId1" Type="http://schemas.openxmlformats.org/officeDocument/2006/relationships/slideLayout" Target="../slideLayouts/slideLayout31.xml"/><Relationship Id="rId4" Type="http://schemas.openxmlformats.org/officeDocument/2006/relationships/image" Target="../media/image111.png"/></Relationships>
</file>

<file path=ppt/slides/_rels/slide10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5.xml"/><Relationship Id="rId1" Type="http://schemas.openxmlformats.org/officeDocument/2006/relationships/slideLayout" Target="../slideLayouts/slideLayout34.xml"/><Relationship Id="rId4" Type="http://schemas.openxmlformats.org/officeDocument/2006/relationships/image" Target="../media/image112.png"/></Relationships>
</file>

<file path=ppt/slides/_rels/slide103.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36.xml"/></Relationships>
</file>

<file path=ppt/slides/_rels/slide104.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3.png"/><Relationship Id="rId1" Type="http://schemas.openxmlformats.org/officeDocument/2006/relationships/slideLayout" Target="../slideLayouts/slideLayout36.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110.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4.xml"/></Relationships>
</file>

<file path=ppt/slides/_rels/slide116.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34.xml"/></Relationships>
</file>

<file path=ppt/slides/_rels/slide11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7.xml"/><Relationship Id="rId1" Type="http://schemas.openxmlformats.org/officeDocument/2006/relationships/slideLayout" Target="../slideLayouts/slideLayout3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18.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8.xml"/><Relationship Id="rId1" Type="http://schemas.openxmlformats.org/officeDocument/2006/relationships/slideLayout" Target="../slideLayouts/slideLayout34.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19.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notesSlide" Target="../notesSlides/notesSlide19.xml"/><Relationship Id="rId7" Type="http://schemas.openxmlformats.org/officeDocument/2006/relationships/diagramColors" Target="../diagrams/colors11.xml"/><Relationship Id="rId2" Type="http://schemas.openxmlformats.org/officeDocument/2006/relationships/slideLayout" Target="../slideLayouts/slideLayout35.xml"/><Relationship Id="rId1" Type="http://schemas.openxmlformats.org/officeDocument/2006/relationships/themeOverride" Target="../theme/themeOverride2.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 Id="rId9" Type="http://schemas.openxmlformats.org/officeDocument/2006/relationships/chart" Target="../charts/chart1.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8" Type="http://schemas.microsoft.com/office/2007/relationships/diagramDrawing" Target="../diagrams/drawing12.xml"/><Relationship Id="rId3" Type="http://schemas.openxmlformats.org/officeDocument/2006/relationships/chart" Target="../charts/chart2.xml"/><Relationship Id="rId7" Type="http://schemas.openxmlformats.org/officeDocument/2006/relationships/diagramColors" Target="../diagrams/colors12.xml"/><Relationship Id="rId2" Type="http://schemas.openxmlformats.org/officeDocument/2006/relationships/notesSlide" Target="../notesSlides/notesSlide20.xml"/><Relationship Id="rId1" Type="http://schemas.openxmlformats.org/officeDocument/2006/relationships/slideLayout" Target="../slideLayouts/slideLayout35.xml"/><Relationship Id="rId6" Type="http://schemas.openxmlformats.org/officeDocument/2006/relationships/diagramQuickStyle" Target="../diagrams/quickStyle12.xml"/><Relationship Id="rId5" Type="http://schemas.openxmlformats.org/officeDocument/2006/relationships/diagramLayout" Target="../diagrams/layout12.xml"/><Relationship Id="rId4" Type="http://schemas.openxmlformats.org/officeDocument/2006/relationships/diagramData" Target="../diagrams/data12.xml"/></Relationships>
</file>

<file path=ppt/slides/_rels/slide121.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1.xml"/><Relationship Id="rId1" Type="http://schemas.openxmlformats.org/officeDocument/2006/relationships/slideLayout" Target="../slideLayouts/slideLayout34.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122.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2.xml"/><Relationship Id="rId1" Type="http://schemas.openxmlformats.org/officeDocument/2006/relationships/slideLayout" Target="../slideLayouts/slideLayout34.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123.xml.rels><?xml version="1.0" encoding="UTF-8" standalone="yes"?>
<Relationships xmlns="http://schemas.openxmlformats.org/package/2006/relationships"><Relationship Id="rId8" Type="http://schemas.openxmlformats.org/officeDocument/2006/relationships/diagramLayout" Target="../diagrams/layout16.xml"/><Relationship Id="rId13" Type="http://schemas.openxmlformats.org/officeDocument/2006/relationships/diagramLayout" Target="../diagrams/layout17.xml"/><Relationship Id="rId3" Type="http://schemas.openxmlformats.org/officeDocument/2006/relationships/diagramLayout" Target="../diagrams/layout15.xml"/><Relationship Id="rId7" Type="http://schemas.openxmlformats.org/officeDocument/2006/relationships/diagramData" Target="../diagrams/data16.xml"/><Relationship Id="rId12" Type="http://schemas.openxmlformats.org/officeDocument/2006/relationships/diagramData" Target="../diagrams/data17.xml"/><Relationship Id="rId2" Type="http://schemas.openxmlformats.org/officeDocument/2006/relationships/diagramData" Target="../diagrams/data15.xml"/><Relationship Id="rId16" Type="http://schemas.microsoft.com/office/2007/relationships/diagramDrawing" Target="../diagrams/drawing17.xml"/><Relationship Id="rId1" Type="http://schemas.openxmlformats.org/officeDocument/2006/relationships/slideLayout" Target="../slideLayouts/slideLayout2.xml"/><Relationship Id="rId6" Type="http://schemas.microsoft.com/office/2007/relationships/diagramDrawing" Target="../diagrams/drawing15.xml"/><Relationship Id="rId11" Type="http://schemas.microsoft.com/office/2007/relationships/diagramDrawing" Target="../diagrams/drawing16.xml"/><Relationship Id="rId5" Type="http://schemas.openxmlformats.org/officeDocument/2006/relationships/diagramColors" Target="../diagrams/colors15.xml"/><Relationship Id="rId15" Type="http://schemas.openxmlformats.org/officeDocument/2006/relationships/diagramColors" Target="../diagrams/colors17.xml"/><Relationship Id="rId10" Type="http://schemas.openxmlformats.org/officeDocument/2006/relationships/diagramColors" Target="../diagrams/colors16.xml"/><Relationship Id="rId4" Type="http://schemas.openxmlformats.org/officeDocument/2006/relationships/diagramQuickStyle" Target="../diagrams/quickStyle15.xml"/><Relationship Id="rId9" Type="http://schemas.openxmlformats.org/officeDocument/2006/relationships/diagramQuickStyle" Target="../diagrams/quickStyle16.xml"/><Relationship Id="rId14" Type="http://schemas.openxmlformats.org/officeDocument/2006/relationships/diagramQuickStyle" Target="../diagrams/quickStyle17.xml"/></Relationships>
</file>

<file path=ppt/slides/_rels/slide124.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23.xml"/><Relationship Id="rId1" Type="http://schemas.openxmlformats.org/officeDocument/2006/relationships/slideLayout" Target="../slideLayouts/slideLayout34.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125.xml.rels><?xml version="1.0" encoding="UTF-8" standalone="yes"?>
<Relationships xmlns="http://schemas.openxmlformats.org/package/2006/relationships"><Relationship Id="rId2" Type="http://schemas.openxmlformats.org/officeDocument/2006/relationships/image" Target="../media/image123.jpg"/><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vmlDrawing" Target="../drawings/vmlDrawing19.vml"/><Relationship Id="rId4" Type="http://schemas.openxmlformats.org/officeDocument/2006/relationships/image" Target="../media/image124.wmf"/></Relationships>
</file>

<file path=ppt/slides/_rels/slide127.xml.rels><?xml version="1.0" encoding="UTF-8" standalone="yes"?>
<Relationships xmlns="http://schemas.openxmlformats.org/package/2006/relationships"><Relationship Id="rId2" Type="http://schemas.openxmlformats.org/officeDocument/2006/relationships/image" Target="../media/image125.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1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2.xml.rels><?xml version="1.0" encoding="UTF-8" standalone="yes"?>
<Relationships xmlns="http://schemas.openxmlformats.org/package/2006/relationships"><Relationship Id="rId2" Type="http://schemas.openxmlformats.org/officeDocument/2006/relationships/image" Target="../media/image9.gif"/><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34.xml"/></Relationships>
</file>

<file path=ppt/slides/_rels/slide2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1.wmf"/><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2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3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3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3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1.xml"/></Relationships>
</file>

<file path=ppt/slides/_rels/slide3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hyperlink" Target="http://xprogramming.com/articles/expcardconversationconfirmation/" TargetMode="Externa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34.xml"/></Relationships>
</file>

<file path=ppt/slides/_rels/slide47.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34.xml"/></Relationships>
</file>

<file path=ppt/slides/_rels/slide4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34.xml"/></Relationships>
</file>

<file path=ppt/slides/_rels/slide49.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12.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13.xml"/><Relationship Id="rId1" Type="http://schemas.openxmlformats.org/officeDocument/2006/relationships/slideLayout" Target="../slideLayouts/slideLayout34.xml"/></Relationships>
</file>

<file path=ppt/slides/_rels/slide51.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48.png"/><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52.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48.png"/><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image" Target="../media/image49.png"/><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54.xml.rels><?xml version="1.0" encoding="UTF-8" standalone="yes"?>
<Relationships xmlns="http://schemas.openxmlformats.org/package/2006/relationships"><Relationship Id="rId8" Type="http://schemas.openxmlformats.org/officeDocument/2006/relationships/diagramData" Target="../diagrams/data8.xml"/><Relationship Id="rId13" Type="http://schemas.openxmlformats.org/officeDocument/2006/relationships/image" Target="../media/image50.png"/><Relationship Id="rId3" Type="http://schemas.openxmlformats.org/officeDocument/2006/relationships/diagramData" Target="../diagrams/data7.xml"/><Relationship Id="rId7" Type="http://schemas.microsoft.com/office/2007/relationships/diagramDrawing" Target="../diagrams/drawing7.xml"/><Relationship Id="rId12" Type="http://schemas.microsoft.com/office/2007/relationships/diagramDrawing" Target="../diagrams/drawing8.xml"/><Relationship Id="rId2" Type="http://schemas.openxmlformats.org/officeDocument/2006/relationships/image" Target="../media/image49.png"/><Relationship Id="rId1" Type="http://schemas.openxmlformats.org/officeDocument/2006/relationships/slideLayout" Target="../slideLayouts/slideLayout34.xml"/><Relationship Id="rId6" Type="http://schemas.openxmlformats.org/officeDocument/2006/relationships/diagramColors" Target="../diagrams/colors7.xml"/><Relationship Id="rId11" Type="http://schemas.openxmlformats.org/officeDocument/2006/relationships/diagramColors" Target="../diagrams/colors8.xml"/><Relationship Id="rId5" Type="http://schemas.openxmlformats.org/officeDocument/2006/relationships/diagramQuickStyle" Target="../diagrams/quickStyle7.xml"/><Relationship Id="rId10" Type="http://schemas.openxmlformats.org/officeDocument/2006/relationships/diagramQuickStyle" Target="../diagrams/quickStyle8.xml"/><Relationship Id="rId4" Type="http://schemas.openxmlformats.org/officeDocument/2006/relationships/diagramLayout" Target="../diagrams/layout7.xml"/><Relationship Id="rId9" Type="http://schemas.openxmlformats.org/officeDocument/2006/relationships/diagramLayout" Target="../diagrams/layout8.xml"/><Relationship Id="rId14" Type="http://schemas.openxmlformats.org/officeDocument/2006/relationships/image" Target="../media/image51.png"/></Relationships>
</file>

<file path=ppt/slides/_rels/slide55.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3.jpeg"/><Relationship Id="rId7" Type="http://schemas.openxmlformats.org/officeDocument/2006/relationships/image" Target="../media/image56.jpeg"/><Relationship Id="rId2" Type="http://schemas.openxmlformats.org/officeDocument/2006/relationships/image" Target="../media/image52.jpeg"/><Relationship Id="rId1" Type="http://schemas.openxmlformats.org/officeDocument/2006/relationships/slideLayout" Target="../slideLayouts/slideLayout34.xml"/><Relationship Id="rId6" Type="http://schemas.openxmlformats.org/officeDocument/2006/relationships/image" Target="../media/image49.png"/><Relationship Id="rId5" Type="http://schemas.openxmlformats.org/officeDocument/2006/relationships/image" Target="../media/image55.jpeg"/><Relationship Id="rId4" Type="http://schemas.openxmlformats.org/officeDocument/2006/relationships/image" Target="../media/image54.jpeg"/><Relationship Id="rId9" Type="http://schemas.openxmlformats.org/officeDocument/2006/relationships/image" Target="../media/image58.png"/></Relationships>
</file>

<file path=ppt/slides/_rels/slide56.xml.rels><?xml version="1.0" encoding="UTF-8" standalone="yes"?>
<Relationships xmlns="http://schemas.openxmlformats.org/package/2006/relationships"><Relationship Id="rId3" Type="http://schemas.openxmlformats.org/officeDocument/2006/relationships/hyperlink" Target="https://www.youtube.com/watch?v=tdMCAV6Yd0Y" TargetMode="External"/><Relationship Id="rId2" Type="http://schemas.openxmlformats.org/officeDocument/2006/relationships/image" Target="../media/image59.png"/><Relationship Id="rId1" Type="http://schemas.openxmlformats.org/officeDocument/2006/relationships/slideLayout" Target="../slideLayouts/slideLayout31.xml"/><Relationship Id="rId5" Type="http://schemas.openxmlformats.org/officeDocument/2006/relationships/hyperlink" Target="https://www.youtube.com/watch?v=kjVqZkDZrgg" TargetMode="External"/><Relationship Id="rId4" Type="http://schemas.openxmlformats.org/officeDocument/2006/relationships/hyperlink" Target="https://www.youtube.com/watch?v=SUFsL6o8y5s" TargetMode="Externa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1.png"/><Relationship Id="rId1" Type="http://schemas.openxmlformats.org/officeDocument/2006/relationships/slideLayout" Target="../slideLayouts/slideLayout2.xml"/><Relationship Id="rId5" Type="http://schemas.openxmlformats.org/officeDocument/2006/relationships/image" Target="../media/image61.png"/><Relationship Id="rId4" Type="http://schemas.openxmlformats.org/officeDocument/2006/relationships/image" Target="../media/image60.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63.wmf"/><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32.png"/><Relationship Id="rId1" Type="http://schemas.openxmlformats.org/officeDocument/2006/relationships/slideLayout" Target="../slideLayouts/slideLayout2.xml"/><Relationship Id="rId4" Type="http://schemas.openxmlformats.org/officeDocument/2006/relationships/image" Target="../media/image65.jpeg"/></Relationships>
</file>

<file path=ppt/slides/_rels/slide63.xml.rels><?xml version="1.0" encoding="UTF-8" standalone="yes"?>
<Relationships xmlns="http://schemas.openxmlformats.org/package/2006/relationships"><Relationship Id="rId3" Type="http://schemas.openxmlformats.org/officeDocument/2006/relationships/image" Target="../media/image67.wmf"/><Relationship Id="rId2" Type="http://schemas.openxmlformats.org/officeDocument/2006/relationships/image" Target="../media/image66.wmf"/><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4.xml"/></Relationships>
</file>

<file path=ppt/slides/_rels/slide6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70.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34.xml"/></Relationships>
</file>

<file path=ppt/slides/_rels/slide71.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34.xml"/><Relationship Id="rId4" Type="http://schemas.openxmlformats.org/officeDocument/2006/relationships/image" Target="../media/image75.png"/></Relationships>
</file>

<file path=ppt/slides/_rels/slide7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34.xml"/><Relationship Id="rId4" Type="http://schemas.openxmlformats.org/officeDocument/2006/relationships/image" Target="../media/image78.png"/></Relationships>
</file>

<file path=ppt/slides/_rels/slide7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34.xml"/></Relationships>
</file>

<file path=ppt/slides/_rels/slide7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34.xml"/><Relationship Id="rId5" Type="http://schemas.openxmlformats.org/officeDocument/2006/relationships/image" Target="../media/image83.png"/><Relationship Id="rId4" Type="http://schemas.openxmlformats.org/officeDocument/2006/relationships/image" Target="../media/image82.png"/></Relationships>
</file>

<file path=ppt/slides/_rels/slide7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34.xml"/></Relationships>
</file>

<file path=ppt/slides/_rels/slide78.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34.xml"/></Relationships>
</file>

<file path=ppt/slides/_rels/slide81.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Layout" Target="../slideLayouts/slideLayout34.xml"/></Relationships>
</file>

<file path=ppt/slides/_rels/slide82.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Layout" Target="../slideLayouts/slideLayout34.xml"/></Relationships>
</file>

<file path=ppt/slides/_rels/slide83.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Layout" Target="../slideLayouts/slideLayout34.xml"/></Relationships>
</file>

<file path=ppt/slides/_rels/slide8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png"/><Relationship Id="rId1" Type="http://schemas.openxmlformats.org/officeDocument/2006/relationships/slideLayout" Target="../slideLayouts/slideLayout34.xml"/></Relationships>
</file>

<file path=ppt/slides/_rels/slide8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10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9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3.png"/><Relationship Id="rId1" Type="http://schemas.openxmlformats.org/officeDocument/2006/relationships/slideLayout" Target="../slideLayouts/slideLayout34.xml"/><Relationship Id="rId4" Type="http://schemas.openxmlformats.org/officeDocument/2006/relationships/image" Target="../media/image104.png"/></Relationships>
</file>

<file path=ppt/slides/_rels/slide9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4.xml"/></Relationships>
</file>

<file path=ppt/slides/_rels/slide9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3.png"/><Relationship Id="rId1" Type="http://schemas.openxmlformats.org/officeDocument/2006/relationships/slideLayout" Target="../slideLayouts/slideLayout34.xml"/></Relationships>
</file>

<file path=ppt/slides/_rels/slide9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34.xml"/><Relationship Id="rId4" Type="http://schemas.openxmlformats.org/officeDocument/2006/relationships/image" Target="../media/image107.png"/></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9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slideLayout" Target="../slideLayouts/slideLayout34.xml"/><Relationship Id="rId1" Type="http://schemas.openxmlformats.org/officeDocument/2006/relationships/vmlDrawing" Target="../drawings/vmlDrawing18.vml"/><Relationship Id="rId6" Type="http://schemas.openxmlformats.org/officeDocument/2006/relationships/image" Target="../media/image104.png"/><Relationship Id="rId5" Type="http://schemas.openxmlformats.org/officeDocument/2006/relationships/image" Target="../media/image108.png"/><Relationship Id="rId4" Type="http://schemas.openxmlformats.org/officeDocument/2006/relationships/oleObject" Target="../embeddings/oleObject1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455"/>
        <p:cNvGrpSpPr/>
        <p:nvPr/>
      </p:nvGrpSpPr>
      <p:grpSpPr>
        <a:xfrm>
          <a:off x="0" y="0"/>
          <a:ext cx="0" cy="0"/>
          <a:chOff x="0" y="0"/>
          <a:chExt cx="0" cy="0"/>
        </a:xfrm>
      </p:grpSpPr>
      <p:sp>
        <p:nvSpPr>
          <p:cNvPr id="1456" name="Shape 1456"/>
          <p:cNvSpPr txBox="1">
            <a:spLocks noGrp="1"/>
          </p:cNvSpPr>
          <p:nvPr>
            <p:ph type="body" sz="quarter" idx="10"/>
          </p:nvPr>
        </p:nvSpPr>
        <p:spPr>
          <a:xfrm>
            <a:off x="5159375" y="3996608"/>
            <a:ext cx="6408738" cy="576262"/>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chemeClr val="accent1"/>
              </a:buClr>
              <a:buSzPct val="25000"/>
              <a:buFont typeface="Arial"/>
              <a:buNone/>
            </a:pPr>
            <a:r>
              <a:rPr lang="en-US" dirty="0"/>
              <a:t>Sudheer Ram E </a:t>
            </a:r>
          </a:p>
          <a:p>
            <a:pPr marL="0" marR="0" lvl="0" indent="0" algn="l" rtl="0">
              <a:lnSpc>
                <a:spcPct val="100000"/>
              </a:lnSpc>
              <a:spcBef>
                <a:spcPts val="0"/>
              </a:spcBef>
              <a:spcAft>
                <a:spcPts val="0"/>
              </a:spcAft>
              <a:buClr>
                <a:schemeClr val="accent1"/>
              </a:buClr>
              <a:buSzPct val="25000"/>
              <a:buFont typeface="Arial"/>
              <a:buNone/>
            </a:pPr>
            <a:r>
              <a:rPr lang="en-US" dirty="0"/>
              <a:t>Last updated: November, </a:t>
            </a:r>
            <a:r>
              <a:rPr lang="en-US" sz="1400" b="0" i="0" u="none" strike="noStrike" cap="none" dirty="0">
                <a:solidFill>
                  <a:schemeClr val="accent1"/>
                </a:solidFill>
                <a:latin typeface="Verdana"/>
                <a:ea typeface="Verdana"/>
                <a:cs typeface="Verdana"/>
                <a:sym typeface="Verdana"/>
              </a:rPr>
              <a:t>2016</a:t>
            </a:r>
          </a:p>
        </p:txBody>
      </p:sp>
      <p:sp>
        <p:nvSpPr>
          <p:cNvPr id="1457" name="Shape 1457"/>
          <p:cNvSpPr txBox="1">
            <a:spLocks noGrp="1"/>
          </p:cNvSpPr>
          <p:nvPr>
            <p:ph type="ctrTitle"/>
          </p:nvPr>
        </p:nvSpPr>
        <p:spPr>
          <a:xfrm>
            <a:off x="5160000" y="1066800"/>
            <a:ext cx="6408113" cy="1943487"/>
          </a:xfrm>
          <a:prstGeom prst="rect">
            <a:avLst/>
          </a:prstGeom>
          <a:noFill/>
          <a:ln>
            <a:noFill/>
          </a:ln>
        </p:spPr>
        <p:txBody>
          <a:bodyPr lIns="0" tIns="0" rIns="0" bIns="18000" anchor="b" anchorCtr="0">
            <a:noAutofit/>
          </a:bodyPr>
          <a:lstStyle/>
          <a:p>
            <a:pPr marL="0" marR="0" lvl="0" indent="0" algn="l" rtl="0">
              <a:lnSpc>
                <a:spcPct val="95000"/>
              </a:lnSpc>
              <a:spcBef>
                <a:spcPts val="0"/>
              </a:spcBef>
              <a:spcAft>
                <a:spcPts val="0"/>
              </a:spcAft>
              <a:buClr>
                <a:schemeClr val="accent1"/>
              </a:buClr>
              <a:buSzPct val="25000"/>
              <a:buFont typeface="Arial"/>
              <a:buNone/>
            </a:pPr>
            <a:r>
              <a:rPr lang="en-US" sz="3200" dirty="0">
                <a:latin typeface="Merck" panose="02060803030401040103" pitchFamily="18" charset="0"/>
                <a:ea typeface="Verdana"/>
                <a:cs typeface="Verdana"/>
                <a:sym typeface="Verdana"/>
              </a:rPr>
              <a:t>Digitalization of E2E Bioprocess</a:t>
            </a:r>
            <a:endParaRPr lang="en-US" sz="3200" b="1" i="0" u="none" strike="noStrike" cap="none" dirty="0">
              <a:solidFill>
                <a:schemeClr val="accent1"/>
              </a:solidFill>
              <a:latin typeface="Merck" panose="02060803030401040103" pitchFamily="18" charset="0"/>
              <a:ea typeface="Verdana"/>
              <a:cs typeface="Verdana"/>
              <a:sym typeface="Verdana"/>
            </a:endParaRPr>
          </a:p>
        </p:txBody>
      </p:sp>
      <p:sp>
        <p:nvSpPr>
          <p:cNvPr id="2" name="Subtitle 1"/>
          <p:cNvSpPr>
            <a:spLocks noGrp="1"/>
          </p:cNvSpPr>
          <p:nvPr>
            <p:ph type="subTitle" idx="1"/>
          </p:nvPr>
        </p:nvSpPr>
        <p:spPr>
          <a:xfrm>
            <a:off x="5160000" y="3140968"/>
            <a:ext cx="6768648" cy="576000"/>
          </a:xfrm>
        </p:spPr>
        <p:txBody>
          <a:bodyPr/>
          <a:lstStyle/>
          <a:p>
            <a:r>
              <a:rPr lang="en-US" sz="1400" dirty="0">
                <a:solidFill>
                  <a:schemeClr val="tx1"/>
                </a:solidFill>
                <a:latin typeface="Merck" panose="02060803030402040803" pitchFamily="18" charset="0"/>
                <a:ea typeface="Verdana"/>
                <a:cs typeface="Verdana"/>
                <a:sym typeface="Verdana"/>
              </a:rPr>
              <a:t>Overview of Agile Fundamentals</a:t>
            </a:r>
            <a:endParaRPr lang="en-US" sz="1400" dirty="0">
              <a:solidFill>
                <a:schemeClr val="tx1"/>
              </a:solidFill>
              <a:latin typeface="Merck" panose="02060803030402040803" pitchFamily="18" charset="0"/>
            </a:endParaRPr>
          </a:p>
        </p:txBody>
      </p:sp>
    </p:spTree>
    <p:custDataLst>
      <p:tags r:id="rId1"/>
    </p:custDataLst>
    <p:extLst>
      <p:ext uri="{BB962C8B-B14F-4D97-AF65-F5344CB8AC3E}">
        <p14:creationId xmlns:p14="http://schemas.microsoft.com/office/powerpoint/2010/main" val="12614253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a:xfrm>
            <a:off x="7296000" y="1772816"/>
            <a:ext cx="4272112" cy="488201"/>
          </a:xfrm>
        </p:spPr>
        <p:txBody>
          <a:bodyPr/>
          <a:lstStyle/>
          <a:p>
            <a:r>
              <a:rPr lang="fr-FR" dirty="0"/>
              <a:t>Agile /</a:t>
            </a:r>
            <a:r>
              <a:rPr lang="fr-FR" dirty="0" err="1"/>
              <a:t>Scrum</a:t>
            </a:r>
            <a:endParaRPr lang="fr-FR" dirty="0"/>
          </a:p>
        </p:txBody>
      </p:sp>
    </p:spTree>
    <p:extLst>
      <p:ext uri="{BB962C8B-B14F-4D97-AF65-F5344CB8AC3E}">
        <p14:creationId xmlns:p14="http://schemas.microsoft.com/office/powerpoint/2010/main" val="186823813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a:spLocks noChangeArrowheads="1"/>
          </p:cNvSpPr>
          <p:nvPr/>
        </p:nvSpPr>
        <p:spPr bwMode="auto">
          <a:xfrm>
            <a:off x="2941320" y="1508760"/>
            <a:ext cx="5623560" cy="960120"/>
          </a:xfrm>
          <a:prstGeom prst="roundRect">
            <a:avLst>
              <a:gd name="adj" fmla="val 16667"/>
            </a:avLst>
          </a:prstGeom>
          <a:gradFill rotWithShape="1">
            <a:gsLst>
              <a:gs pos="0">
                <a:srgbClr val="ECF0EC"/>
              </a:gs>
              <a:gs pos="64999">
                <a:srgbClr val="CCD8CE"/>
              </a:gs>
              <a:gs pos="100000">
                <a:srgbClr val="B6C8B8"/>
              </a:gs>
            </a:gsLst>
            <a:lin ang="5400000" scaled="1"/>
          </a:gradFill>
          <a:ln w="15875">
            <a:solidFill>
              <a:srgbClr val="0F4F1E"/>
            </a:solidFill>
            <a:round/>
            <a:headEnd/>
            <a:tailEnd/>
          </a:ln>
          <a:effectLst>
            <a:outerShdw blurRad="40000" dist="20000" dir="5400000" rotWithShape="0">
              <a:srgbClr val="808080">
                <a:alpha val="37999"/>
              </a:srgbClr>
            </a:outerShdw>
          </a:effectLst>
        </p:spPr>
        <p:txBody>
          <a:bodyPr anchor="ctr"/>
          <a:lstStyle>
            <a:lvl1pPr indent="282575"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r>
              <a:rPr lang="en-US" altLang="en-US" sz="2880" dirty="0">
                <a:solidFill>
                  <a:schemeClr val="tx1"/>
                </a:solidFill>
                <a:latin typeface="Arial" panose="020B0604020202020204" pitchFamily="34" charset="0"/>
                <a:cs typeface="Arial" panose="020B0604020202020204" pitchFamily="34" charset="0"/>
              </a:rPr>
              <a:t>Stagger by a day</a:t>
            </a:r>
          </a:p>
        </p:txBody>
      </p:sp>
      <p:pic>
        <p:nvPicPr>
          <p:cNvPr id="119812"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61260" y="995839"/>
            <a:ext cx="948690"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2"/>
          <p:cNvSpPr txBox="1">
            <a:spLocks noChangeArrowheads="1"/>
          </p:cNvSpPr>
          <p:nvPr/>
        </p:nvSpPr>
        <p:spPr bwMode="auto">
          <a:xfrm>
            <a:off x="1832610" y="2743200"/>
            <a:ext cx="8515350" cy="3268980"/>
          </a:xfrm>
          <a:prstGeom prst="rect">
            <a:avLst/>
          </a:prstGeom>
          <a:noFill/>
          <a:ln w="12700">
            <a:noFill/>
            <a:miter lim="800000"/>
            <a:headEnd/>
            <a:tailEnd/>
          </a:ln>
        </p:spPr>
        <p:txBody>
          <a:bodyPr lIns="34290" tIns="34290" rIns="34290" bIns="34290"/>
          <a:lstStyle>
            <a:lvl1pPr marL="698500" indent="-444500"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defTabSz="685800" eaLnBrk="1" hangingPunct="1">
              <a:lnSpc>
                <a:spcPct val="105000"/>
              </a:lnSpc>
              <a:spcBef>
                <a:spcPts val="1620"/>
              </a:spcBef>
              <a:spcAft>
                <a:spcPts val="225"/>
              </a:spcAft>
              <a:buClr>
                <a:srgbClr val="657AAA"/>
              </a:buClr>
              <a:buSzPct val="150000"/>
              <a:buFont typeface="Gill Sans" pitchFamily="-65" charset="0"/>
              <a:buChar char="•"/>
            </a:pPr>
            <a:r>
              <a:rPr lang="en-US" altLang="en-US" sz="1600" dirty="0">
                <a:solidFill>
                  <a:schemeClr val="tx1"/>
                </a:solidFill>
                <a:latin typeface="Arial" panose="020B0604020202020204" pitchFamily="34" charset="0"/>
                <a:ea typeface="Verdana" panose="020B0604030504040204" pitchFamily="34" charset="0"/>
                <a:cs typeface="Verdana" panose="020B0604030504040204" pitchFamily="34" charset="0"/>
              </a:rPr>
              <a:t>Sprints end by ± a day</a:t>
            </a:r>
          </a:p>
          <a:p>
            <a:pPr defTabSz="685800" eaLnBrk="1" hangingPunct="1">
              <a:lnSpc>
                <a:spcPct val="105000"/>
              </a:lnSpc>
              <a:spcBef>
                <a:spcPts val="1620"/>
              </a:spcBef>
              <a:spcAft>
                <a:spcPts val="225"/>
              </a:spcAft>
              <a:buClr>
                <a:srgbClr val="657AAA"/>
              </a:buClr>
              <a:buSzPct val="150000"/>
              <a:buFont typeface="Gill Sans" pitchFamily="-65" charset="0"/>
              <a:buChar char="•"/>
            </a:pPr>
            <a:r>
              <a:rPr lang="en-US" altLang="en-US" sz="1600" dirty="0">
                <a:solidFill>
                  <a:schemeClr val="tx1"/>
                </a:solidFill>
                <a:latin typeface="Arial" panose="020B0604020202020204" pitchFamily="34" charset="0"/>
                <a:ea typeface="Verdana" panose="020B0604030504040204" pitchFamily="34" charset="0"/>
                <a:cs typeface="Verdana" panose="020B0604030504040204" pitchFamily="34" charset="0"/>
              </a:rPr>
              <a:t>Helps a key resource (e.g., a product owner or architect) fully participate in many planning meetings</a:t>
            </a:r>
          </a:p>
        </p:txBody>
      </p:sp>
      <p:sp>
        <p:nvSpPr>
          <p:cNvPr id="3" name="Title 2"/>
          <p:cNvSpPr>
            <a:spLocks noGrp="1"/>
          </p:cNvSpPr>
          <p:nvPr>
            <p:ph type="title"/>
          </p:nvPr>
        </p:nvSpPr>
        <p:spPr>
          <a:xfrm>
            <a:off x="1832610" y="490371"/>
            <a:ext cx="9305785" cy="249008"/>
          </a:xfrm>
        </p:spPr>
        <p:txBody>
          <a:bodyPr/>
          <a:lstStyle/>
          <a:p>
            <a:r>
              <a:rPr lang="en-US" b="0" dirty="0"/>
              <a:t>Two Approaches to Sprint Planning</a:t>
            </a:r>
          </a:p>
        </p:txBody>
      </p:sp>
    </p:spTree>
    <p:extLst>
      <p:ext uri="{BB962C8B-B14F-4D97-AF65-F5344CB8AC3E}">
        <p14:creationId xmlns:p14="http://schemas.microsoft.com/office/powerpoint/2010/main" val="153600063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a:spLocks noChangeArrowheads="1"/>
          </p:cNvSpPr>
          <p:nvPr/>
        </p:nvSpPr>
        <p:spPr bwMode="auto">
          <a:xfrm>
            <a:off x="2324100" y="685800"/>
            <a:ext cx="7132320" cy="1714500"/>
          </a:xfrm>
          <a:prstGeom prst="roundRect">
            <a:avLst>
              <a:gd name="adj" fmla="val 16667"/>
            </a:avLst>
          </a:prstGeom>
          <a:gradFill rotWithShape="1">
            <a:gsLst>
              <a:gs pos="0">
                <a:srgbClr val="ECF0EC"/>
              </a:gs>
              <a:gs pos="64999">
                <a:srgbClr val="CCD8CE"/>
              </a:gs>
              <a:gs pos="100000">
                <a:srgbClr val="B6C8B8"/>
              </a:gs>
            </a:gsLst>
            <a:lin ang="5400000" scaled="1"/>
          </a:gradFill>
          <a:ln w="15875">
            <a:solidFill>
              <a:srgbClr val="0F4F1E"/>
            </a:solidFill>
            <a:round/>
            <a:headEnd/>
            <a:tailEnd/>
          </a:ln>
          <a:effectLst>
            <a:outerShdw blurRad="40000" dist="20000" dir="5400000" rotWithShape="0">
              <a:srgbClr val="808080">
                <a:alpha val="37999"/>
              </a:srgbClr>
            </a:outerShdw>
          </a:effectLst>
        </p:spPr>
        <p:txBody>
          <a:bodyPr/>
          <a:lstStyle>
            <a:lvl1pPr indent="58738" eaLnBrk="0" hangingPunct="0">
              <a:defRPr sz="3200">
                <a:solidFill>
                  <a:srgbClr val="000000"/>
                </a:solidFill>
                <a:latin typeface="Gill Sans" pitchFamily="-65" charset="0"/>
                <a:ea typeface="ヒラギノ角ゴ ProN W3" pitchFamily="-65" charset="-128"/>
                <a:sym typeface="Gill Sans" pitchFamily="-65" charset="0"/>
              </a:defRPr>
            </a:lvl1pPr>
            <a:lvl2pPr indent="227013"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r>
              <a:rPr lang="en-US" altLang="en-US" sz="2880" b="1" dirty="0">
                <a:solidFill>
                  <a:schemeClr val="tx1"/>
                </a:solidFill>
                <a:latin typeface="Arial" panose="020B0604020202020204" pitchFamily="34" charset="0"/>
                <a:cs typeface="Arial" panose="020B0604020202020204" pitchFamily="34" charset="0"/>
              </a:rPr>
              <a:t>The Big Room</a:t>
            </a:r>
          </a:p>
          <a:p>
            <a:pPr lvl="1" algn="l" eaLnBrk="1" hangingPunct="1">
              <a:buFont typeface="Arial" panose="020B0604020202020204" pitchFamily="34" charset="0"/>
              <a:buChar char="•"/>
            </a:pPr>
            <a:r>
              <a:rPr lang="en-US" altLang="en-US" sz="1800" dirty="0">
                <a:solidFill>
                  <a:schemeClr val="tx1"/>
                </a:solidFill>
                <a:latin typeface="Arial" panose="020B0604020202020204" pitchFamily="34" charset="0"/>
                <a:cs typeface="Arial" panose="020B0604020202020204" pitchFamily="34" charset="0"/>
              </a:rPr>
              <a:t>All sprints end on same day</a:t>
            </a:r>
          </a:p>
          <a:p>
            <a:pPr lvl="1" algn="l" eaLnBrk="1" hangingPunct="1">
              <a:buFont typeface="Arial" panose="020B0604020202020204" pitchFamily="34" charset="0"/>
              <a:buChar char="•"/>
            </a:pPr>
            <a:r>
              <a:rPr lang="en-US" altLang="en-US" sz="1800" dirty="0">
                <a:solidFill>
                  <a:schemeClr val="tx1"/>
                </a:solidFill>
                <a:latin typeface="Arial" panose="020B0604020202020204" pitchFamily="34" charset="0"/>
                <a:cs typeface="Arial" panose="020B0604020202020204" pitchFamily="34" charset="0"/>
              </a:rPr>
              <a:t>All planning is on same day and in one room</a:t>
            </a:r>
          </a:p>
          <a:p>
            <a:pPr lvl="1" algn="l" eaLnBrk="1" hangingPunct="1">
              <a:buFont typeface="Arial" panose="020B0604020202020204" pitchFamily="34" charset="0"/>
              <a:buChar char="•"/>
            </a:pPr>
            <a:r>
              <a:rPr lang="en-US" altLang="en-US" sz="1800" dirty="0">
                <a:solidFill>
                  <a:schemeClr val="tx1"/>
                </a:solidFill>
                <a:latin typeface="Arial" panose="020B0604020202020204" pitchFamily="34" charset="0"/>
                <a:cs typeface="Arial" panose="020B0604020202020204" pitchFamily="34" charset="0"/>
              </a:rPr>
              <a:t>Key resources shift between teams on demand</a:t>
            </a:r>
          </a:p>
        </p:txBody>
      </p:sp>
      <p:pic>
        <p:nvPicPr>
          <p:cNvPr id="120835" name="Picture 1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44040" y="175737"/>
            <a:ext cx="925830"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836" name="Picture 1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12620" y="2583180"/>
            <a:ext cx="8549640" cy="3931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312920" y="3360420"/>
            <a:ext cx="697230" cy="605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027420" y="4663440"/>
            <a:ext cx="697230" cy="605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330440" y="3360420"/>
            <a:ext cx="697230" cy="605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312920" y="3291840"/>
            <a:ext cx="697230" cy="605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027420" y="4594860"/>
            <a:ext cx="697230" cy="605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312920" y="3429000"/>
            <a:ext cx="697230" cy="605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7158552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xit" presetSubtype="0" fill="hold" nodeType="clickEffect">
                                  <p:stCondLst>
                                    <p:cond delay="0"/>
                                  </p:stCondLst>
                                  <p:childTnLst>
                                    <p:animEffect transition="out" filter="fade">
                                      <p:cBhvr>
                                        <p:cTn id="6" dur="1000"/>
                                        <p:tgtEl>
                                          <p:spTgt spid="18"/>
                                        </p:tgtEl>
                                      </p:cBhvr>
                                    </p:animEffect>
                                    <p:set>
                                      <p:cBhvr>
                                        <p:cTn id="7" dur="1" fill="hold">
                                          <p:stCondLst>
                                            <p:cond delay="999"/>
                                          </p:stCondLst>
                                        </p:cTn>
                                        <p:tgtEl>
                                          <p:spTgt spid="18"/>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1000"/>
                                        <p:tgtEl>
                                          <p:spTgt spid="19"/>
                                        </p:tgtEl>
                                      </p:cBhvr>
                                    </p:animEffect>
                                  </p:childTnLst>
                                </p:cTn>
                              </p:par>
                            </p:childTnLst>
                          </p:cTn>
                        </p:par>
                        <p:par>
                          <p:cTn id="11" fill="hold" nodeType="afterGroup">
                            <p:stCondLst>
                              <p:cond delay="1000"/>
                            </p:stCondLst>
                            <p:childTnLst>
                              <p:par>
                                <p:cTn id="12" presetID="10" presetClass="exit" presetSubtype="0" fill="hold" nodeType="afterEffect">
                                  <p:stCondLst>
                                    <p:cond delay="0"/>
                                  </p:stCondLst>
                                  <p:childTnLst>
                                    <p:animEffect transition="out" filter="fade">
                                      <p:cBhvr>
                                        <p:cTn id="13" dur="1000"/>
                                        <p:tgtEl>
                                          <p:spTgt spid="19"/>
                                        </p:tgtEl>
                                      </p:cBhvr>
                                    </p:animEffect>
                                    <p:set>
                                      <p:cBhvr>
                                        <p:cTn id="14" dur="1" fill="hold">
                                          <p:stCondLst>
                                            <p:cond delay="999"/>
                                          </p:stCondLst>
                                        </p:cTn>
                                        <p:tgtEl>
                                          <p:spTgt spid="19"/>
                                        </p:tgtEl>
                                        <p:attrNameLst>
                                          <p:attrName>style.visibility</p:attrName>
                                        </p:attrNameLst>
                                      </p:cBhvr>
                                      <p:to>
                                        <p:strVal val="hidden"/>
                                      </p:to>
                                    </p:set>
                                  </p:childTnLst>
                                </p:cTn>
                              </p:par>
                              <p:par>
                                <p:cTn id="15" presetID="10" presetClass="entr" presetSubtype="0" fill="hold" nodeType="with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1000"/>
                                        <p:tgtEl>
                                          <p:spTgt spid="20"/>
                                        </p:tgtEl>
                                      </p:cBhvr>
                                    </p:animEffect>
                                  </p:childTnLst>
                                </p:cTn>
                              </p:par>
                            </p:childTnLst>
                          </p:cTn>
                        </p:par>
                        <p:par>
                          <p:cTn id="18" fill="hold" nodeType="afterGroup">
                            <p:stCondLst>
                              <p:cond delay="2000"/>
                            </p:stCondLst>
                            <p:childTnLst>
                              <p:par>
                                <p:cTn id="19" presetID="10" presetClass="exit" presetSubtype="0" fill="hold" nodeType="afterEffect">
                                  <p:stCondLst>
                                    <p:cond delay="0"/>
                                  </p:stCondLst>
                                  <p:childTnLst>
                                    <p:animEffect transition="out" filter="fade">
                                      <p:cBhvr>
                                        <p:cTn id="20" dur="1000"/>
                                        <p:tgtEl>
                                          <p:spTgt spid="20"/>
                                        </p:tgtEl>
                                      </p:cBhvr>
                                    </p:animEffect>
                                    <p:set>
                                      <p:cBhvr>
                                        <p:cTn id="21" dur="1" fill="hold">
                                          <p:stCondLst>
                                            <p:cond delay="999"/>
                                          </p:stCondLst>
                                        </p:cTn>
                                        <p:tgtEl>
                                          <p:spTgt spid="20"/>
                                        </p:tgtEl>
                                        <p:attrNameLst>
                                          <p:attrName>style.visibility</p:attrName>
                                        </p:attrNameLst>
                                      </p:cBhvr>
                                      <p:to>
                                        <p:strVal val="hidden"/>
                                      </p:to>
                                    </p:set>
                                  </p:childTnLst>
                                </p:cTn>
                              </p:par>
                              <p:par>
                                <p:cTn id="22" presetID="10" presetClass="entr" presetSubtype="0"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fade">
                                      <p:cBhvr>
                                        <p:cTn id="24" dur="1000"/>
                                        <p:tgtEl>
                                          <p:spTgt spid="21"/>
                                        </p:tgtEl>
                                      </p:cBhvr>
                                    </p:animEffect>
                                  </p:childTnLst>
                                </p:cTn>
                              </p:par>
                            </p:childTnLst>
                          </p:cTn>
                        </p:par>
                        <p:par>
                          <p:cTn id="25" fill="hold" nodeType="afterGroup">
                            <p:stCondLst>
                              <p:cond delay="3000"/>
                            </p:stCondLst>
                            <p:childTnLst>
                              <p:par>
                                <p:cTn id="26" presetID="10" presetClass="exit" presetSubtype="0" fill="hold" nodeType="afterEffect">
                                  <p:stCondLst>
                                    <p:cond delay="0"/>
                                  </p:stCondLst>
                                  <p:childTnLst>
                                    <p:animEffect transition="out" filter="fade">
                                      <p:cBhvr>
                                        <p:cTn id="27" dur="1000"/>
                                        <p:tgtEl>
                                          <p:spTgt spid="21"/>
                                        </p:tgtEl>
                                      </p:cBhvr>
                                    </p:animEffect>
                                    <p:set>
                                      <p:cBhvr>
                                        <p:cTn id="28" dur="1" fill="hold">
                                          <p:stCondLst>
                                            <p:cond delay="999"/>
                                          </p:stCondLst>
                                        </p:cTn>
                                        <p:tgtEl>
                                          <p:spTgt spid="21"/>
                                        </p:tgtEl>
                                        <p:attrNameLst>
                                          <p:attrName>style.visibility</p:attrName>
                                        </p:attrNameLst>
                                      </p:cBhvr>
                                      <p:to>
                                        <p:strVal val="hidden"/>
                                      </p:to>
                                    </p:set>
                                  </p:childTnLst>
                                </p:cTn>
                              </p:par>
                              <p:par>
                                <p:cTn id="29" presetID="10"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1000"/>
                                        <p:tgtEl>
                                          <p:spTgt spid="22"/>
                                        </p:tgtEl>
                                      </p:cBhvr>
                                    </p:animEffect>
                                  </p:childTnLst>
                                </p:cTn>
                              </p:par>
                            </p:childTnLst>
                          </p:cTn>
                        </p:par>
                        <p:par>
                          <p:cTn id="32" fill="hold" nodeType="afterGroup">
                            <p:stCondLst>
                              <p:cond delay="4000"/>
                            </p:stCondLst>
                            <p:childTnLst>
                              <p:par>
                                <p:cTn id="33" presetID="10" presetClass="exit" presetSubtype="0" fill="hold" nodeType="afterEffect">
                                  <p:stCondLst>
                                    <p:cond delay="0"/>
                                  </p:stCondLst>
                                  <p:childTnLst>
                                    <p:animEffect transition="out" filter="fade">
                                      <p:cBhvr>
                                        <p:cTn id="34" dur="1000"/>
                                        <p:tgtEl>
                                          <p:spTgt spid="22"/>
                                        </p:tgtEl>
                                      </p:cBhvr>
                                    </p:animEffect>
                                    <p:set>
                                      <p:cBhvr>
                                        <p:cTn id="35" dur="1" fill="hold">
                                          <p:stCondLst>
                                            <p:cond delay="999"/>
                                          </p:stCondLst>
                                        </p:cTn>
                                        <p:tgtEl>
                                          <p:spTgt spid="22"/>
                                        </p:tgtEl>
                                        <p:attrNameLst>
                                          <p:attrName>style.visibility</p:attrName>
                                        </p:attrNameLst>
                                      </p:cBhvr>
                                      <p:to>
                                        <p:strVal val="hidden"/>
                                      </p:to>
                                    </p:set>
                                  </p:childTnLst>
                                </p:cTn>
                              </p:par>
                              <p:par>
                                <p:cTn id="36" presetID="10" presetClass="entr" presetSubtype="0" fill="hold" nodeType="with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10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Title 3"/>
          <p:cNvSpPr>
            <a:spLocks noGrp="1"/>
          </p:cNvSpPr>
          <p:nvPr>
            <p:ph type="title"/>
          </p:nvPr>
        </p:nvSpPr>
        <p:spPr>
          <a:xfrm>
            <a:off x="1413263" y="241985"/>
            <a:ext cx="10972800" cy="249008"/>
          </a:xfrm>
        </p:spPr>
        <p:txBody>
          <a:bodyPr/>
          <a:lstStyle/>
          <a:p>
            <a:r>
              <a:rPr lang="en-US" altLang="en-US" b="0" dirty="0">
                <a:latin typeface="Arial" panose="020B0604020202020204" pitchFamily="34" charset="0"/>
              </a:rPr>
              <a:t>Dependencies</a:t>
            </a:r>
          </a:p>
        </p:txBody>
      </p:sp>
      <p:sp>
        <p:nvSpPr>
          <p:cNvPr id="121859" name="Content Placeholder 4"/>
          <p:cNvSpPr>
            <a:spLocks noGrp="1"/>
          </p:cNvSpPr>
          <p:nvPr>
            <p:ph idx="1"/>
          </p:nvPr>
        </p:nvSpPr>
        <p:spPr>
          <a:xfrm>
            <a:off x="9844534" y="971052"/>
            <a:ext cx="2030016" cy="4618188"/>
          </a:xfrm>
        </p:spPr>
        <p:txBody>
          <a:bodyPr/>
          <a:lstStyle/>
          <a:p>
            <a:pPr lvl="1"/>
            <a:endParaRPr lang="en-US" altLang="en-US" sz="1600" dirty="0">
              <a:latin typeface="Arial" panose="020B0604020202020204" pitchFamily="34" charset="0"/>
              <a:cs typeface="Arial" panose="020B0604020202020204" pitchFamily="34" charset="0"/>
            </a:endParaRPr>
          </a:p>
          <a:p>
            <a:pPr lvl="1"/>
            <a:r>
              <a:rPr lang="en-US" altLang="en-US" sz="1600" dirty="0">
                <a:latin typeface="Arial" panose="020B0604020202020204" pitchFamily="34" charset="0"/>
                <a:cs typeface="Arial" panose="020B0604020202020204" pitchFamily="34" charset="0"/>
              </a:rPr>
              <a:t>Must be done in this order and likely to influence overall ship date</a:t>
            </a:r>
          </a:p>
          <a:p>
            <a:pPr lvl="1"/>
            <a:r>
              <a:rPr lang="en-US" altLang="en-US" sz="1600" dirty="0">
                <a:latin typeface="Arial" panose="020B0604020202020204" pitchFamily="34" charset="0"/>
                <a:cs typeface="Arial" panose="020B0604020202020204" pitchFamily="34" charset="0"/>
              </a:rPr>
              <a:t>Fewer of these than you may think</a:t>
            </a:r>
          </a:p>
          <a:p>
            <a:pPr lvl="1"/>
            <a:r>
              <a:rPr lang="en-US" altLang="en-US" sz="1600" dirty="0">
                <a:latin typeface="Arial" panose="020B0604020202020204" pitchFamily="34" charset="0"/>
                <a:cs typeface="Arial" panose="020B0604020202020204" pitchFamily="34" charset="0"/>
              </a:rPr>
              <a:t>Emergent dependencies</a:t>
            </a:r>
          </a:p>
          <a:p>
            <a:pPr lvl="1"/>
            <a:r>
              <a:rPr lang="en-US" altLang="en-US" sz="1600" dirty="0">
                <a:latin typeface="Arial" panose="020B0604020202020204" pitchFamily="34" charset="0"/>
                <a:cs typeface="Arial" panose="020B0604020202020204" pitchFamily="34" charset="0"/>
              </a:rPr>
              <a:t>“OK, we’re going to start on such-and-such soon. As you know we need this-and-that first.”</a:t>
            </a:r>
          </a:p>
        </p:txBody>
      </p:sp>
      <p:grpSp>
        <p:nvGrpSpPr>
          <p:cNvPr id="57" name="Group 75"/>
          <p:cNvGrpSpPr>
            <a:grpSpLocks/>
          </p:cNvGrpSpPr>
          <p:nvPr/>
        </p:nvGrpSpPr>
        <p:grpSpPr bwMode="auto">
          <a:xfrm>
            <a:off x="1682944" y="971052"/>
            <a:ext cx="5143500" cy="2674011"/>
            <a:chOff x="203200" y="1295400"/>
            <a:chExt cx="6172200" cy="3200400"/>
          </a:xfrm>
        </p:grpSpPr>
        <p:sp>
          <p:nvSpPr>
            <p:cNvPr id="58" name="Rounded Rectangle 57"/>
            <p:cNvSpPr>
              <a:spLocks noChangeArrowheads="1"/>
            </p:cNvSpPr>
            <p:nvPr/>
          </p:nvSpPr>
          <p:spPr bwMode="auto">
            <a:xfrm>
              <a:off x="203200" y="1295400"/>
              <a:ext cx="6172200" cy="3200400"/>
            </a:xfrm>
            <a:prstGeom prst="roundRect">
              <a:avLst>
                <a:gd name="adj" fmla="val 16667"/>
              </a:avLst>
            </a:prstGeom>
            <a:gradFill rotWithShape="1">
              <a:gsLst>
                <a:gs pos="0">
                  <a:srgbClr val="ECF0EC"/>
                </a:gs>
                <a:gs pos="64999">
                  <a:srgbClr val="CCD8CE"/>
                </a:gs>
                <a:gs pos="100000">
                  <a:srgbClr val="B6C8B8"/>
                </a:gs>
              </a:gsLst>
              <a:lin ang="5400000" scaled="1"/>
            </a:gradFill>
            <a:ln w="15875">
              <a:solidFill>
                <a:srgbClr val="0F4F1E"/>
              </a:solidFill>
              <a:round/>
              <a:headEnd/>
              <a:tailEnd/>
            </a:ln>
            <a:effectLst>
              <a:outerShdw blurRad="40000" dist="20000" dir="5400000" rotWithShape="0">
                <a:srgbClr val="808080">
                  <a:alpha val="37999"/>
                </a:srgbClr>
              </a:outerShdw>
            </a:effectLst>
          </p:spPr>
          <p:txBody>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r>
                <a:rPr lang="en-US" altLang="en-US" sz="2880">
                  <a:solidFill>
                    <a:schemeClr val="tx1"/>
                  </a:solidFill>
                  <a:latin typeface="Arial" panose="020B0604020202020204" pitchFamily="34" charset="0"/>
                  <a:cs typeface="Arial" panose="020B0604020202020204" pitchFamily="34" charset="0"/>
                </a:rPr>
                <a:t>After Sprint 1</a:t>
              </a:r>
            </a:p>
          </p:txBody>
        </p:sp>
        <p:cxnSp>
          <p:nvCxnSpPr>
            <p:cNvPr id="59" name="Straight Connector 5"/>
            <p:cNvCxnSpPr>
              <a:cxnSpLocks noChangeShapeType="1"/>
            </p:cNvCxnSpPr>
            <p:nvPr/>
          </p:nvCxnSpPr>
          <p:spPr bwMode="auto">
            <a:xfrm rot="5400000">
              <a:off x="683506" y="3217164"/>
              <a:ext cx="2167128" cy="1588"/>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cxnSp>
        <p:pic>
          <p:nvPicPr>
            <p:cNvPr id="60"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55800" y="25146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79600" y="27432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08200" y="30480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79600" y="34290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TextBox 10"/>
            <p:cNvSpPr txBox="1">
              <a:spLocks noChangeArrowheads="1"/>
            </p:cNvSpPr>
            <p:nvPr/>
          </p:nvSpPr>
          <p:spPr bwMode="auto">
            <a:xfrm>
              <a:off x="355600" y="2057400"/>
              <a:ext cx="1264948" cy="47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Sprint 1</a:t>
              </a:r>
            </a:p>
          </p:txBody>
        </p:sp>
        <p:sp>
          <p:nvSpPr>
            <p:cNvPr id="65" name="TextBox 16"/>
            <p:cNvSpPr txBox="1">
              <a:spLocks noChangeArrowheads="1"/>
            </p:cNvSpPr>
            <p:nvPr/>
          </p:nvSpPr>
          <p:spPr bwMode="auto">
            <a:xfrm>
              <a:off x="1803400" y="2057400"/>
              <a:ext cx="1264948" cy="47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dirty="0">
                  <a:latin typeface="Arial" panose="020B0604020202020204" pitchFamily="34" charset="0"/>
                  <a:cs typeface="Arial" panose="020B0604020202020204" pitchFamily="34" charset="0"/>
                </a:rPr>
                <a:t>Sprint 2</a:t>
              </a:r>
            </a:p>
          </p:txBody>
        </p:sp>
        <p:cxnSp>
          <p:nvCxnSpPr>
            <p:cNvPr id="66" name="Straight Connector 17"/>
            <p:cNvCxnSpPr>
              <a:cxnSpLocks noChangeShapeType="1"/>
            </p:cNvCxnSpPr>
            <p:nvPr/>
          </p:nvCxnSpPr>
          <p:spPr bwMode="auto">
            <a:xfrm rot="5400000">
              <a:off x="2055106" y="3217164"/>
              <a:ext cx="2167128" cy="1588"/>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cxnSp>
        <p:pic>
          <p:nvPicPr>
            <p:cNvPr id="67"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327400" y="25146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251200" y="27432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479800" y="30480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251200" y="34290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TextBox 22"/>
            <p:cNvSpPr txBox="1">
              <a:spLocks noChangeArrowheads="1"/>
            </p:cNvSpPr>
            <p:nvPr/>
          </p:nvSpPr>
          <p:spPr bwMode="auto">
            <a:xfrm>
              <a:off x="3175000" y="2057400"/>
              <a:ext cx="1264948" cy="47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dirty="0">
                  <a:latin typeface="Arial" panose="020B0604020202020204" pitchFamily="34" charset="0"/>
                  <a:cs typeface="Arial" panose="020B0604020202020204" pitchFamily="34" charset="0"/>
                </a:rPr>
                <a:t>Sprint 3</a:t>
              </a:r>
            </a:p>
          </p:txBody>
        </p:sp>
        <p:pic>
          <p:nvPicPr>
            <p:cNvPr id="72"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479800" y="35814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3" name="Straight Connector 24"/>
            <p:cNvCxnSpPr>
              <a:cxnSpLocks noChangeShapeType="1"/>
            </p:cNvCxnSpPr>
            <p:nvPr/>
          </p:nvCxnSpPr>
          <p:spPr bwMode="auto">
            <a:xfrm rot="5400000">
              <a:off x="3502906" y="3217164"/>
              <a:ext cx="2167128" cy="1588"/>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cxnSp>
        <p:pic>
          <p:nvPicPr>
            <p:cNvPr id="74"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775200" y="25146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699000" y="27432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927600" y="30480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699000" y="34290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 name="TextBox 29"/>
            <p:cNvSpPr txBox="1">
              <a:spLocks noChangeArrowheads="1"/>
            </p:cNvSpPr>
            <p:nvPr/>
          </p:nvSpPr>
          <p:spPr bwMode="auto">
            <a:xfrm>
              <a:off x="4546600" y="2057400"/>
              <a:ext cx="1769003" cy="47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Sprints 4−7</a:t>
              </a:r>
            </a:p>
          </p:txBody>
        </p:sp>
        <p:pic>
          <p:nvPicPr>
            <p:cNvPr id="79"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927600" y="35814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TextBox 39"/>
            <p:cNvSpPr txBox="1">
              <a:spLocks noChangeArrowheads="1"/>
            </p:cNvSpPr>
            <p:nvPr/>
          </p:nvSpPr>
          <p:spPr bwMode="auto">
            <a:xfrm>
              <a:off x="355600" y="2667000"/>
              <a:ext cx="1359347" cy="1487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r>
                <a:rPr lang="en-US" altLang="en-US" sz="1620">
                  <a:latin typeface="Arial" panose="020B0604020202020204" pitchFamily="34" charset="0"/>
                  <a:cs typeface="Arial" panose="020B0604020202020204" pitchFamily="34" charset="0"/>
                </a:rPr>
                <a:t>Code…	8</a:t>
              </a:r>
            </a:p>
            <a:p>
              <a:pPr algn="l" eaLnBrk="1" hangingPunct="1"/>
              <a:r>
                <a:rPr lang="en-US" altLang="en-US" sz="1620">
                  <a:latin typeface="Arial" panose="020B0604020202020204" pitchFamily="34" charset="0"/>
                  <a:cs typeface="Arial" panose="020B0604020202020204" pitchFamily="34" charset="0"/>
                </a:rPr>
                <a:t>Test…	4</a:t>
              </a:r>
            </a:p>
            <a:p>
              <a:pPr algn="l" eaLnBrk="1" hangingPunct="1"/>
              <a:r>
                <a:rPr lang="en-US" altLang="en-US" sz="1620">
                  <a:latin typeface="Arial" panose="020B0604020202020204" pitchFamily="34" charset="0"/>
                  <a:cs typeface="Arial" panose="020B0604020202020204" pitchFamily="34" charset="0"/>
                </a:rPr>
                <a:t>Design	4</a:t>
              </a:r>
            </a:p>
            <a:p>
              <a:pPr algn="l" eaLnBrk="1" hangingPunct="1"/>
              <a:r>
                <a:rPr lang="en-US" altLang="en-US" sz="1620">
                  <a:latin typeface="Arial" panose="020B0604020202020204" pitchFamily="34" charset="0"/>
                  <a:cs typeface="Arial" panose="020B0604020202020204" pitchFamily="34" charset="0"/>
                </a:rPr>
                <a:t>Code…	5</a:t>
              </a:r>
            </a:p>
            <a:p>
              <a:pPr algn="l" eaLnBrk="1" hangingPunct="1"/>
              <a:endParaRPr lang="en-US" altLang="en-US" sz="1620">
                <a:latin typeface="Arial" panose="020B0604020202020204" pitchFamily="34" charset="0"/>
                <a:cs typeface="Arial" panose="020B0604020202020204" pitchFamily="34" charset="0"/>
              </a:endParaRPr>
            </a:p>
          </p:txBody>
        </p:sp>
      </p:grpSp>
      <p:grpSp>
        <p:nvGrpSpPr>
          <p:cNvPr id="81" name="Group 74"/>
          <p:cNvGrpSpPr>
            <a:grpSpLocks/>
          </p:cNvGrpSpPr>
          <p:nvPr/>
        </p:nvGrpSpPr>
        <p:grpSpPr bwMode="auto">
          <a:xfrm>
            <a:off x="1809944" y="3709394"/>
            <a:ext cx="5290820" cy="2473130"/>
            <a:chOff x="1117600" y="4267200"/>
            <a:chExt cx="6172200" cy="3200400"/>
          </a:xfrm>
        </p:grpSpPr>
        <p:sp>
          <p:nvSpPr>
            <p:cNvPr id="82" name="Rounded Rectangle 81"/>
            <p:cNvSpPr>
              <a:spLocks noChangeArrowheads="1"/>
            </p:cNvSpPr>
            <p:nvPr/>
          </p:nvSpPr>
          <p:spPr bwMode="auto">
            <a:xfrm>
              <a:off x="1117600" y="4267200"/>
              <a:ext cx="6172200" cy="3200400"/>
            </a:xfrm>
            <a:prstGeom prst="roundRect">
              <a:avLst>
                <a:gd name="adj" fmla="val 16667"/>
              </a:avLst>
            </a:prstGeom>
            <a:gradFill rotWithShape="1">
              <a:gsLst>
                <a:gs pos="0">
                  <a:srgbClr val="ECF0EC"/>
                </a:gs>
                <a:gs pos="64999">
                  <a:srgbClr val="CCD8CE"/>
                </a:gs>
                <a:gs pos="100000">
                  <a:srgbClr val="B6C8B8"/>
                </a:gs>
              </a:gsLst>
              <a:lin ang="5400000" scaled="1"/>
            </a:gradFill>
            <a:ln w="15875">
              <a:solidFill>
                <a:srgbClr val="0F4F1E"/>
              </a:solidFill>
              <a:round/>
              <a:headEnd/>
              <a:tailEnd/>
            </a:ln>
            <a:effectLst>
              <a:outerShdw blurRad="40000" dist="20000" dir="5400000" rotWithShape="0">
                <a:srgbClr val="808080">
                  <a:alpha val="37999"/>
                </a:srgbClr>
              </a:outerShdw>
            </a:effectLst>
          </p:spPr>
          <p:txBody>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r>
                <a:rPr lang="en-US" altLang="en-US" sz="2880">
                  <a:solidFill>
                    <a:schemeClr val="tx1"/>
                  </a:solidFill>
                  <a:latin typeface="Arial" panose="020B0604020202020204" pitchFamily="34" charset="0"/>
                  <a:cs typeface="Arial" panose="020B0604020202020204" pitchFamily="34" charset="0"/>
                </a:rPr>
                <a:t>After Sprint 2</a:t>
              </a:r>
            </a:p>
          </p:txBody>
        </p:sp>
        <p:cxnSp>
          <p:nvCxnSpPr>
            <p:cNvPr id="83" name="Straight Connector 47"/>
            <p:cNvCxnSpPr>
              <a:cxnSpLocks noChangeShapeType="1"/>
            </p:cNvCxnSpPr>
            <p:nvPr/>
          </p:nvCxnSpPr>
          <p:spPr bwMode="auto">
            <a:xfrm rot="5400000">
              <a:off x="1597906" y="6188964"/>
              <a:ext cx="2167128" cy="1588"/>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cxnSp>
        <p:pic>
          <p:nvPicPr>
            <p:cNvPr id="84"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870200" y="54864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794000" y="57150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22600" y="60198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794000" y="64008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8" name="TextBox 52"/>
            <p:cNvSpPr txBox="1">
              <a:spLocks noChangeArrowheads="1"/>
            </p:cNvSpPr>
            <p:nvPr/>
          </p:nvSpPr>
          <p:spPr bwMode="auto">
            <a:xfrm>
              <a:off x="1270000" y="5029200"/>
              <a:ext cx="1264948" cy="47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Sprint 2</a:t>
              </a:r>
            </a:p>
          </p:txBody>
        </p:sp>
        <p:sp>
          <p:nvSpPr>
            <p:cNvPr id="89" name="TextBox 53"/>
            <p:cNvSpPr txBox="1">
              <a:spLocks noChangeArrowheads="1"/>
            </p:cNvSpPr>
            <p:nvPr/>
          </p:nvSpPr>
          <p:spPr bwMode="auto">
            <a:xfrm>
              <a:off x="2717800" y="5029200"/>
              <a:ext cx="1264948" cy="47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Sprint 3</a:t>
              </a:r>
            </a:p>
          </p:txBody>
        </p:sp>
        <p:cxnSp>
          <p:nvCxnSpPr>
            <p:cNvPr id="90" name="Straight Connector 54"/>
            <p:cNvCxnSpPr>
              <a:cxnSpLocks noChangeShapeType="1"/>
            </p:cNvCxnSpPr>
            <p:nvPr/>
          </p:nvCxnSpPr>
          <p:spPr bwMode="auto">
            <a:xfrm rot="5400000">
              <a:off x="2969506" y="6188964"/>
              <a:ext cx="2167128" cy="1588"/>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cxnSp>
        <p:pic>
          <p:nvPicPr>
            <p:cNvPr id="91"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241800" y="54864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65600" y="57150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394200" y="60198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65600" y="64008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5" name="TextBox 59"/>
            <p:cNvSpPr txBox="1">
              <a:spLocks noChangeArrowheads="1"/>
            </p:cNvSpPr>
            <p:nvPr/>
          </p:nvSpPr>
          <p:spPr bwMode="auto">
            <a:xfrm>
              <a:off x="4089400" y="5029200"/>
              <a:ext cx="1264948" cy="47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Sprint 4</a:t>
              </a:r>
            </a:p>
          </p:txBody>
        </p:sp>
        <p:pic>
          <p:nvPicPr>
            <p:cNvPr id="96"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394200" y="65532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7" name="Straight Connector 61"/>
            <p:cNvCxnSpPr>
              <a:cxnSpLocks noChangeShapeType="1"/>
            </p:cNvCxnSpPr>
            <p:nvPr/>
          </p:nvCxnSpPr>
          <p:spPr bwMode="auto">
            <a:xfrm rot="5400000">
              <a:off x="4417306" y="6188964"/>
              <a:ext cx="2167128" cy="1588"/>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cxnSp>
        <p:pic>
          <p:nvPicPr>
            <p:cNvPr id="98"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689600" y="54864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9"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613400" y="57150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842000" y="60198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613400" y="64008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 name="TextBox 66"/>
            <p:cNvSpPr txBox="1">
              <a:spLocks noChangeArrowheads="1"/>
            </p:cNvSpPr>
            <p:nvPr/>
          </p:nvSpPr>
          <p:spPr bwMode="auto">
            <a:xfrm>
              <a:off x="5461000" y="5029200"/>
              <a:ext cx="1769003" cy="47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Sprints 5−7</a:t>
              </a:r>
            </a:p>
          </p:txBody>
        </p:sp>
        <p:pic>
          <p:nvPicPr>
            <p:cNvPr id="103"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842000" y="65532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 name="TextBox 68"/>
            <p:cNvSpPr txBox="1">
              <a:spLocks noChangeArrowheads="1"/>
            </p:cNvSpPr>
            <p:nvPr/>
          </p:nvSpPr>
          <p:spPr bwMode="auto">
            <a:xfrm>
              <a:off x="1270000" y="5638800"/>
              <a:ext cx="1359347" cy="1487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r>
                <a:rPr lang="en-US" altLang="en-US" sz="1620">
                  <a:latin typeface="Arial" panose="020B0604020202020204" pitchFamily="34" charset="0"/>
                  <a:cs typeface="Arial" panose="020B0604020202020204" pitchFamily="34" charset="0"/>
                </a:rPr>
                <a:t>Code…	3</a:t>
              </a:r>
            </a:p>
            <a:p>
              <a:pPr algn="l" eaLnBrk="1" hangingPunct="1"/>
              <a:r>
                <a:rPr lang="en-US" altLang="en-US" sz="1620">
                  <a:latin typeface="Arial" panose="020B0604020202020204" pitchFamily="34" charset="0"/>
                  <a:cs typeface="Arial" panose="020B0604020202020204" pitchFamily="34" charset="0"/>
                </a:rPr>
                <a:t>Test…	7</a:t>
              </a:r>
            </a:p>
            <a:p>
              <a:pPr algn="l" eaLnBrk="1" hangingPunct="1"/>
              <a:r>
                <a:rPr lang="en-US" altLang="en-US" sz="1620">
                  <a:latin typeface="Arial" panose="020B0604020202020204" pitchFamily="34" charset="0"/>
                  <a:cs typeface="Arial" panose="020B0604020202020204" pitchFamily="34" charset="0"/>
                </a:rPr>
                <a:t>Test…	6</a:t>
              </a:r>
            </a:p>
            <a:p>
              <a:pPr algn="l" eaLnBrk="1" hangingPunct="1"/>
              <a:r>
                <a:rPr lang="en-US" altLang="en-US" sz="1620">
                  <a:latin typeface="Arial" panose="020B0604020202020204" pitchFamily="34" charset="0"/>
                  <a:cs typeface="Arial" panose="020B0604020202020204" pitchFamily="34" charset="0"/>
                </a:rPr>
                <a:t>Code…	8</a:t>
              </a:r>
            </a:p>
            <a:p>
              <a:pPr algn="l" eaLnBrk="1" hangingPunct="1"/>
              <a:endParaRPr lang="en-US" altLang="en-US" sz="1620">
                <a:latin typeface="Arial" panose="020B0604020202020204" pitchFamily="34" charset="0"/>
                <a:cs typeface="Arial" panose="020B0604020202020204" pitchFamily="34" charset="0"/>
              </a:endParaRPr>
            </a:p>
          </p:txBody>
        </p:sp>
      </p:grpSp>
      <p:cxnSp>
        <p:nvCxnSpPr>
          <p:cNvPr id="105" name="Curved Connector 71"/>
          <p:cNvCxnSpPr>
            <a:cxnSpLocks noChangeShapeType="1"/>
          </p:cNvCxnSpPr>
          <p:nvPr/>
        </p:nvCxnSpPr>
        <p:spPr bwMode="auto">
          <a:xfrm rot="5400000">
            <a:off x="4391854" y="2650654"/>
            <a:ext cx="3154680" cy="1303020"/>
          </a:xfrm>
          <a:prstGeom prst="curvedConnector3">
            <a:avLst>
              <a:gd name="adj1" fmla="val 50000"/>
            </a:avLst>
          </a:prstGeom>
          <a:noFill/>
          <a:ln w="31750">
            <a:solidFill>
              <a:srgbClr val="FF0000"/>
            </a:solidFill>
            <a:round/>
            <a:headEnd/>
            <a:tailEnd type="triangle" w="lg" len="med"/>
          </a:ln>
          <a:extLst>
            <a:ext uri="{909E8E84-426E-40DD-AFC4-6F175D3DCCD1}">
              <a14:hiddenFill xmlns:a14="http://schemas.microsoft.com/office/drawing/2010/main">
                <a:noFill/>
              </a14:hiddenFill>
            </a:ext>
          </a:extLst>
        </p:spPr>
      </p:cxnSp>
      <p:grpSp>
        <p:nvGrpSpPr>
          <p:cNvPr id="106" name="Group 76"/>
          <p:cNvGrpSpPr>
            <a:grpSpLocks/>
          </p:cNvGrpSpPr>
          <p:nvPr/>
        </p:nvGrpSpPr>
        <p:grpSpPr bwMode="auto">
          <a:xfrm>
            <a:off x="7132888" y="2117057"/>
            <a:ext cx="2555457" cy="3685952"/>
            <a:chOff x="6451600" y="2209800"/>
            <a:chExt cx="3970569" cy="4560675"/>
          </a:xfrm>
        </p:grpSpPr>
        <p:pic>
          <p:nvPicPr>
            <p:cNvPr id="107" name="Picture 7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451600" y="2209800"/>
              <a:ext cx="3970569" cy="456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8" name="TextBox 70"/>
            <p:cNvSpPr txBox="1">
              <a:spLocks noChangeArrowheads="1"/>
            </p:cNvSpPr>
            <p:nvPr/>
          </p:nvSpPr>
          <p:spPr bwMode="auto">
            <a:xfrm>
              <a:off x="6604000" y="2514600"/>
              <a:ext cx="3200400" cy="3426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68275" indent="-168275"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buFont typeface="Arial" panose="020B0604020202020204" pitchFamily="34" charset="0"/>
                <a:buChar char="•"/>
              </a:pPr>
              <a:r>
                <a:rPr lang="en-US" altLang="en-US" sz="1800" dirty="0">
                  <a:latin typeface="Arial" panose="020B0604020202020204" pitchFamily="34" charset="0"/>
                  <a:cs typeface="Arial" panose="020B0604020202020204" pitchFamily="34" charset="0"/>
                </a:rPr>
                <a:t>While planning Sprint 2, a team rolls Sprint 4 into view. </a:t>
              </a:r>
            </a:p>
            <a:p>
              <a:pPr algn="l" eaLnBrk="1" hangingPunct="1">
                <a:buFont typeface="Arial" panose="020B0604020202020204" pitchFamily="34" charset="0"/>
                <a:buChar char="•"/>
              </a:pPr>
              <a:r>
                <a:rPr lang="en-US" altLang="en-US" sz="1800" dirty="0">
                  <a:latin typeface="Arial" panose="020B0604020202020204" pitchFamily="34" charset="0"/>
                  <a:cs typeface="Arial" panose="020B0604020202020204" pitchFamily="34" charset="0"/>
                </a:rPr>
                <a:t>They discover a dependency on another team.</a:t>
              </a:r>
            </a:p>
            <a:p>
              <a:pPr algn="l" eaLnBrk="1" hangingPunct="1">
                <a:buFont typeface="Arial" panose="020B0604020202020204" pitchFamily="34" charset="0"/>
                <a:buChar char="•"/>
              </a:pPr>
              <a:r>
                <a:rPr lang="en-US" altLang="en-US" sz="1800" dirty="0">
                  <a:latin typeface="Arial" panose="020B0604020202020204" pitchFamily="34" charset="0"/>
                  <a:cs typeface="Arial" panose="020B0604020202020204" pitchFamily="34" charset="0"/>
                </a:rPr>
                <a:t>The other team work on that item during Sprint 3.</a:t>
              </a:r>
            </a:p>
          </p:txBody>
        </p:sp>
      </p:grpSp>
    </p:spTree>
    <p:extLst>
      <p:ext uri="{BB962C8B-B14F-4D97-AF65-F5344CB8AC3E}">
        <p14:creationId xmlns:p14="http://schemas.microsoft.com/office/powerpoint/2010/main" val="172957480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Title 11"/>
          <p:cNvSpPr>
            <a:spLocks noGrp="1"/>
          </p:cNvSpPr>
          <p:nvPr>
            <p:ph type="title"/>
          </p:nvPr>
        </p:nvSpPr>
        <p:spPr>
          <a:xfrm>
            <a:off x="1775088" y="252686"/>
            <a:ext cx="9902309" cy="249008"/>
          </a:xfrm>
        </p:spPr>
        <p:txBody>
          <a:bodyPr/>
          <a:lstStyle/>
          <a:p>
            <a:r>
              <a:rPr lang="en-US" altLang="en-US" dirty="0">
                <a:latin typeface="Arial" panose="020B0604020202020204" pitchFamily="34" charset="0"/>
              </a:rPr>
              <a:t>Buffer critical dependencies</a:t>
            </a:r>
          </a:p>
        </p:txBody>
      </p:sp>
      <p:pic>
        <p:nvPicPr>
          <p:cNvPr id="122883"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44040" y="1577340"/>
            <a:ext cx="2018824" cy="1165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884" name="Picture 1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775460" y="4457700"/>
            <a:ext cx="2194560" cy="1148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2885" name="Group 25"/>
          <p:cNvGrpSpPr>
            <a:grpSpLocks/>
          </p:cNvGrpSpPr>
          <p:nvPr/>
        </p:nvGrpSpPr>
        <p:grpSpPr bwMode="auto">
          <a:xfrm>
            <a:off x="4518660" y="1234440"/>
            <a:ext cx="1851660" cy="2125980"/>
            <a:chOff x="3327400" y="1371600"/>
            <a:chExt cx="2057400" cy="2362200"/>
          </a:xfrm>
        </p:grpSpPr>
        <p:sp>
          <p:nvSpPr>
            <p:cNvPr id="11" name="Rounded Rectangle 10"/>
            <p:cNvSpPr>
              <a:spLocks noChangeArrowheads="1"/>
            </p:cNvSpPr>
            <p:nvPr/>
          </p:nvSpPr>
          <p:spPr bwMode="auto">
            <a:xfrm>
              <a:off x="3327400" y="1371600"/>
              <a:ext cx="2057400" cy="2362200"/>
            </a:xfrm>
            <a:prstGeom prst="roundRect">
              <a:avLst>
                <a:gd name="adj" fmla="val 16667"/>
              </a:avLst>
            </a:prstGeom>
            <a:gradFill rotWithShape="1">
              <a:gsLst>
                <a:gs pos="0">
                  <a:srgbClr val="ECF0EC"/>
                </a:gs>
                <a:gs pos="64999">
                  <a:srgbClr val="CCD8CE"/>
                </a:gs>
                <a:gs pos="100000">
                  <a:srgbClr val="B6C8B8"/>
                </a:gs>
              </a:gsLst>
              <a:lin ang="5400000" scaled="1"/>
            </a:gradFill>
            <a:ln w="15875">
              <a:solidFill>
                <a:srgbClr val="0F4F1E"/>
              </a:solidFill>
              <a:round/>
              <a:headEnd/>
              <a:tailEnd/>
            </a:ln>
            <a:effectLst>
              <a:outerShdw blurRad="40000" dist="20000" dir="5400000" rotWithShape="0">
                <a:srgbClr val="808080">
                  <a:alpha val="37999"/>
                </a:srgbClr>
              </a:outerShdw>
            </a:effectLst>
          </p:spPr>
          <p:txBody>
            <a:bodyPr/>
            <a:lstStyle>
              <a:lvl1pPr indent="58738"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endParaRPr lang="en-US" altLang="en-US" sz="2160">
                <a:solidFill>
                  <a:schemeClr val="tx1"/>
                </a:solidFill>
                <a:latin typeface="Arial" panose="020B0604020202020204" pitchFamily="34" charset="0"/>
                <a:cs typeface="Arial" panose="020B0604020202020204" pitchFamily="34" charset="0"/>
              </a:endParaRPr>
            </a:p>
          </p:txBody>
        </p:sp>
        <p:sp>
          <p:nvSpPr>
            <p:cNvPr id="24" name="Round Same Side Corner Rectangle 23"/>
            <p:cNvSpPr>
              <a:spLocks noChangeArrowheads="1"/>
            </p:cNvSpPr>
            <p:nvPr/>
          </p:nvSpPr>
          <p:spPr bwMode="auto">
            <a:xfrm>
              <a:off x="3327400" y="1371600"/>
              <a:ext cx="2057400" cy="609600"/>
            </a:xfrm>
            <a:custGeom>
              <a:avLst/>
              <a:gdLst>
                <a:gd name="T0" fmla="*/ 2057400 w 2057400"/>
                <a:gd name="T1" fmla="*/ 304800 h 609600"/>
                <a:gd name="T2" fmla="*/ 1028700 w 2057400"/>
                <a:gd name="T3" fmla="*/ 609600 h 609600"/>
                <a:gd name="T4" fmla="*/ 0 w 2057400"/>
                <a:gd name="T5" fmla="*/ 304800 h 609600"/>
                <a:gd name="T6" fmla="*/ 1028700 w 2057400"/>
                <a:gd name="T7" fmla="*/ 0 h 609600"/>
                <a:gd name="T8" fmla="*/ 0 60000 65536"/>
                <a:gd name="T9" fmla="*/ 1 60000 65536"/>
                <a:gd name="T10" fmla="*/ 2 60000 65536"/>
                <a:gd name="T11" fmla="*/ 3 60000 65536"/>
                <a:gd name="T12" fmla="*/ 84124 w 2057400"/>
                <a:gd name="T13" fmla="*/ 84124 h 609600"/>
                <a:gd name="T14" fmla="*/ 1973276 w 2057400"/>
                <a:gd name="T15" fmla="*/ 609600 h 609600"/>
              </a:gdLst>
              <a:ahLst/>
              <a:cxnLst>
                <a:cxn ang="T8">
                  <a:pos x="T0" y="T1"/>
                </a:cxn>
                <a:cxn ang="T9">
                  <a:pos x="T2" y="T3"/>
                </a:cxn>
                <a:cxn ang="T10">
                  <a:pos x="T4" y="T5"/>
                </a:cxn>
                <a:cxn ang="T11">
                  <a:pos x="T6" y="T7"/>
                </a:cxn>
              </a:cxnLst>
              <a:rect l="T12" t="T13" r="T14" b="T15"/>
              <a:pathLst>
                <a:path w="2057400" h="609600">
                  <a:moveTo>
                    <a:pt x="287219" y="0"/>
                  </a:moveTo>
                  <a:lnTo>
                    <a:pt x="1770181" y="0"/>
                  </a:lnTo>
                  <a:cubicBezTo>
                    <a:pt x="1928807" y="0"/>
                    <a:pt x="2057400" y="128592"/>
                    <a:pt x="2057400" y="287219"/>
                  </a:cubicBezTo>
                  <a:lnTo>
                    <a:pt x="2057400" y="609600"/>
                  </a:lnTo>
                  <a:lnTo>
                    <a:pt x="0" y="609600"/>
                  </a:lnTo>
                  <a:lnTo>
                    <a:pt x="0" y="287219"/>
                  </a:lnTo>
                  <a:lnTo>
                    <a:pt x="0" y="287218"/>
                  </a:lnTo>
                  <a:cubicBezTo>
                    <a:pt x="0" y="128592"/>
                    <a:pt x="128592" y="0"/>
                    <a:pt x="287219" y="0"/>
                  </a:cubicBezTo>
                  <a:close/>
                </a:path>
              </a:pathLst>
            </a:custGeom>
            <a:solidFill>
              <a:srgbClr val="008000"/>
            </a:solidFill>
            <a:ln w="9525">
              <a:solidFill>
                <a:srgbClr val="0F4F1E"/>
              </a:solidFill>
              <a:miter lim="800000"/>
              <a:headEnd/>
              <a:tailEnd/>
            </a:ln>
            <a:effectLst>
              <a:outerShdw blurRad="40000" dist="23000" dir="5400000" rotWithShape="0">
                <a:srgbClr val="808080">
                  <a:alpha val="34999"/>
                </a:srgbClr>
              </a:outerShdw>
            </a:effectLst>
          </p:spPr>
          <p:txBody>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solidFill>
                    <a:srgbClr val="FFFFFF"/>
                  </a:solidFill>
                  <a:latin typeface="Arial" panose="020B0604020202020204" pitchFamily="34" charset="0"/>
                  <a:cs typeface="Arial" panose="020B0604020202020204" pitchFamily="34" charset="0"/>
                </a:rPr>
                <a:t>Sprint 1</a:t>
              </a:r>
            </a:p>
          </p:txBody>
        </p:sp>
      </p:grpSp>
      <p:grpSp>
        <p:nvGrpSpPr>
          <p:cNvPr id="122886" name="Group 26"/>
          <p:cNvGrpSpPr>
            <a:grpSpLocks/>
          </p:cNvGrpSpPr>
          <p:nvPr/>
        </p:nvGrpSpPr>
        <p:grpSpPr bwMode="auto">
          <a:xfrm>
            <a:off x="6541770" y="1234440"/>
            <a:ext cx="1851660" cy="2125980"/>
            <a:chOff x="3327400" y="1371600"/>
            <a:chExt cx="2057400" cy="2362200"/>
          </a:xfrm>
        </p:grpSpPr>
        <p:sp>
          <p:nvSpPr>
            <p:cNvPr id="28" name="Rounded Rectangle 27"/>
            <p:cNvSpPr>
              <a:spLocks noChangeArrowheads="1"/>
            </p:cNvSpPr>
            <p:nvPr/>
          </p:nvSpPr>
          <p:spPr bwMode="auto">
            <a:xfrm>
              <a:off x="3327400" y="1371600"/>
              <a:ext cx="2057400" cy="2362200"/>
            </a:xfrm>
            <a:prstGeom prst="roundRect">
              <a:avLst>
                <a:gd name="adj" fmla="val 16667"/>
              </a:avLst>
            </a:prstGeom>
            <a:gradFill rotWithShape="1">
              <a:gsLst>
                <a:gs pos="0">
                  <a:srgbClr val="ECF0EC"/>
                </a:gs>
                <a:gs pos="64999">
                  <a:srgbClr val="CCD8CE"/>
                </a:gs>
                <a:gs pos="100000">
                  <a:srgbClr val="B6C8B8"/>
                </a:gs>
              </a:gsLst>
              <a:lin ang="5400000" scaled="1"/>
            </a:gradFill>
            <a:ln w="15875">
              <a:solidFill>
                <a:srgbClr val="0F4F1E"/>
              </a:solidFill>
              <a:round/>
              <a:headEnd/>
              <a:tailEnd/>
            </a:ln>
            <a:effectLst>
              <a:outerShdw blurRad="40000" dist="20000" dir="5400000" rotWithShape="0">
                <a:srgbClr val="808080">
                  <a:alpha val="37999"/>
                </a:srgbClr>
              </a:outerShdw>
            </a:effectLst>
          </p:spPr>
          <p:txBody>
            <a:bodyPr/>
            <a:lstStyle>
              <a:lvl1pPr indent="58738"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endParaRPr lang="en-US" altLang="en-US" sz="2160">
                <a:solidFill>
                  <a:schemeClr val="tx1"/>
                </a:solidFill>
                <a:latin typeface="Arial" panose="020B0604020202020204" pitchFamily="34" charset="0"/>
                <a:cs typeface="Arial" panose="020B0604020202020204" pitchFamily="34" charset="0"/>
              </a:endParaRPr>
            </a:p>
          </p:txBody>
        </p:sp>
        <p:sp>
          <p:nvSpPr>
            <p:cNvPr id="29" name="Round Same Side Corner Rectangle 28"/>
            <p:cNvSpPr>
              <a:spLocks noChangeArrowheads="1"/>
            </p:cNvSpPr>
            <p:nvPr/>
          </p:nvSpPr>
          <p:spPr bwMode="auto">
            <a:xfrm>
              <a:off x="3327400" y="1371600"/>
              <a:ext cx="2057400" cy="609600"/>
            </a:xfrm>
            <a:custGeom>
              <a:avLst/>
              <a:gdLst>
                <a:gd name="T0" fmla="*/ 2057400 w 2057400"/>
                <a:gd name="T1" fmla="*/ 304800 h 609600"/>
                <a:gd name="T2" fmla="*/ 1028700 w 2057400"/>
                <a:gd name="T3" fmla="*/ 609600 h 609600"/>
                <a:gd name="T4" fmla="*/ 0 w 2057400"/>
                <a:gd name="T5" fmla="*/ 304800 h 609600"/>
                <a:gd name="T6" fmla="*/ 1028700 w 2057400"/>
                <a:gd name="T7" fmla="*/ 0 h 609600"/>
                <a:gd name="T8" fmla="*/ 0 60000 65536"/>
                <a:gd name="T9" fmla="*/ 1 60000 65536"/>
                <a:gd name="T10" fmla="*/ 2 60000 65536"/>
                <a:gd name="T11" fmla="*/ 3 60000 65536"/>
                <a:gd name="T12" fmla="*/ 84124 w 2057400"/>
                <a:gd name="T13" fmla="*/ 84124 h 609600"/>
                <a:gd name="T14" fmla="*/ 1973276 w 2057400"/>
                <a:gd name="T15" fmla="*/ 609600 h 609600"/>
              </a:gdLst>
              <a:ahLst/>
              <a:cxnLst>
                <a:cxn ang="T8">
                  <a:pos x="T0" y="T1"/>
                </a:cxn>
                <a:cxn ang="T9">
                  <a:pos x="T2" y="T3"/>
                </a:cxn>
                <a:cxn ang="T10">
                  <a:pos x="T4" y="T5"/>
                </a:cxn>
                <a:cxn ang="T11">
                  <a:pos x="T6" y="T7"/>
                </a:cxn>
              </a:cxnLst>
              <a:rect l="T12" t="T13" r="T14" b="T15"/>
              <a:pathLst>
                <a:path w="2057400" h="609600">
                  <a:moveTo>
                    <a:pt x="287219" y="0"/>
                  </a:moveTo>
                  <a:lnTo>
                    <a:pt x="1770181" y="0"/>
                  </a:lnTo>
                  <a:cubicBezTo>
                    <a:pt x="1928807" y="0"/>
                    <a:pt x="2057400" y="128592"/>
                    <a:pt x="2057400" y="287219"/>
                  </a:cubicBezTo>
                  <a:lnTo>
                    <a:pt x="2057400" y="609600"/>
                  </a:lnTo>
                  <a:lnTo>
                    <a:pt x="0" y="609600"/>
                  </a:lnTo>
                  <a:lnTo>
                    <a:pt x="0" y="287219"/>
                  </a:lnTo>
                  <a:lnTo>
                    <a:pt x="0" y="287218"/>
                  </a:lnTo>
                  <a:cubicBezTo>
                    <a:pt x="0" y="128592"/>
                    <a:pt x="128592" y="0"/>
                    <a:pt x="287219" y="0"/>
                  </a:cubicBezTo>
                  <a:close/>
                </a:path>
              </a:pathLst>
            </a:custGeom>
            <a:solidFill>
              <a:srgbClr val="008000"/>
            </a:solidFill>
            <a:ln w="9525">
              <a:solidFill>
                <a:srgbClr val="0F4F1E"/>
              </a:solidFill>
              <a:miter lim="800000"/>
              <a:headEnd/>
              <a:tailEnd/>
            </a:ln>
            <a:effectLst>
              <a:outerShdw blurRad="40000" dist="23000" dir="5400000" rotWithShape="0">
                <a:srgbClr val="808080">
                  <a:alpha val="34999"/>
                </a:srgbClr>
              </a:outerShdw>
            </a:effectLst>
          </p:spPr>
          <p:txBody>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solidFill>
                    <a:srgbClr val="FFFFFF"/>
                  </a:solidFill>
                  <a:latin typeface="Arial" panose="020B0604020202020204" pitchFamily="34" charset="0"/>
                  <a:cs typeface="Arial" panose="020B0604020202020204" pitchFamily="34" charset="0"/>
                </a:rPr>
                <a:t>Sprint 2</a:t>
              </a:r>
            </a:p>
          </p:txBody>
        </p:sp>
      </p:grpSp>
      <p:grpSp>
        <p:nvGrpSpPr>
          <p:cNvPr id="122887" name="Group 32"/>
          <p:cNvGrpSpPr>
            <a:grpSpLocks/>
          </p:cNvGrpSpPr>
          <p:nvPr/>
        </p:nvGrpSpPr>
        <p:grpSpPr bwMode="auto">
          <a:xfrm>
            <a:off x="8564880" y="1234440"/>
            <a:ext cx="1851660" cy="2125980"/>
            <a:chOff x="3327400" y="1371600"/>
            <a:chExt cx="2057400" cy="2362200"/>
          </a:xfrm>
        </p:grpSpPr>
        <p:sp>
          <p:nvSpPr>
            <p:cNvPr id="34" name="Rounded Rectangle 33"/>
            <p:cNvSpPr>
              <a:spLocks noChangeArrowheads="1"/>
            </p:cNvSpPr>
            <p:nvPr/>
          </p:nvSpPr>
          <p:spPr bwMode="auto">
            <a:xfrm>
              <a:off x="3327400" y="1371600"/>
              <a:ext cx="2057400" cy="2362200"/>
            </a:xfrm>
            <a:prstGeom prst="roundRect">
              <a:avLst>
                <a:gd name="adj" fmla="val 16667"/>
              </a:avLst>
            </a:prstGeom>
            <a:gradFill rotWithShape="1">
              <a:gsLst>
                <a:gs pos="0">
                  <a:srgbClr val="ECF0EC"/>
                </a:gs>
                <a:gs pos="64999">
                  <a:srgbClr val="CCD8CE"/>
                </a:gs>
                <a:gs pos="100000">
                  <a:srgbClr val="B6C8B8"/>
                </a:gs>
              </a:gsLst>
              <a:lin ang="5400000" scaled="1"/>
            </a:gradFill>
            <a:ln w="15875">
              <a:solidFill>
                <a:srgbClr val="0F4F1E"/>
              </a:solidFill>
              <a:round/>
              <a:headEnd/>
              <a:tailEnd/>
            </a:ln>
            <a:effectLst>
              <a:outerShdw blurRad="40000" dist="20000" dir="5400000" rotWithShape="0">
                <a:srgbClr val="808080">
                  <a:alpha val="37999"/>
                </a:srgbClr>
              </a:outerShdw>
            </a:effectLst>
          </p:spPr>
          <p:txBody>
            <a:bodyPr/>
            <a:lstStyle>
              <a:lvl1pPr indent="58738"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endParaRPr lang="en-US" altLang="en-US" sz="2160">
                <a:solidFill>
                  <a:schemeClr val="tx1"/>
                </a:solidFill>
                <a:latin typeface="Arial" panose="020B0604020202020204" pitchFamily="34" charset="0"/>
                <a:cs typeface="Arial" panose="020B0604020202020204" pitchFamily="34" charset="0"/>
              </a:endParaRPr>
            </a:p>
          </p:txBody>
        </p:sp>
        <p:sp>
          <p:nvSpPr>
            <p:cNvPr id="35" name="Round Same Side Corner Rectangle 34"/>
            <p:cNvSpPr>
              <a:spLocks noChangeArrowheads="1"/>
            </p:cNvSpPr>
            <p:nvPr/>
          </p:nvSpPr>
          <p:spPr bwMode="auto">
            <a:xfrm>
              <a:off x="3327400" y="1371600"/>
              <a:ext cx="2057400" cy="609600"/>
            </a:xfrm>
            <a:custGeom>
              <a:avLst/>
              <a:gdLst>
                <a:gd name="T0" fmla="*/ 2057400 w 2057400"/>
                <a:gd name="T1" fmla="*/ 304800 h 609600"/>
                <a:gd name="T2" fmla="*/ 1028700 w 2057400"/>
                <a:gd name="T3" fmla="*/ 609600 h 609600"/>
                <a:gd name="T4" fmla="*/ 0 w 2057400"/>
                <a:gd name="T5" fmla="*/ 304800 h 609600"/>
                <a:gd name="T6" fmla="*/ 1028700 w 2057400"/>
                <a:gd name="T7" fmla="*/ 0 h 609600"/>
                <a:gd name="T8" fmla="*/ 0 60000 65536"/>
                <a:gd name="T9" fmla="*/ 1 60000 65536"/>
                <a:gd name="T10" fmla="*/ 2 60000 65536"/>
                <a:gd name="T11" fmla="*/ 3 60000 65536"/>
                <a:gd name="T12" fmla="*/ 84124 w 2057400"/>
                <a:gd name="T13" fmla="*/ 84124 h 609600"/>
                <a:gd name="T14" fmla="*/ 1973276 w 2057400"/>
                <a:gd name="T15" fmla="*/ 609600 h 609600"/>
              </a:gdLst>
              <a:ahLst/>
              <a:cxnLst>
                <a:cxn ang="T8">
                  <a:pos x="T0" y="T1"/>
                </a:cxn>
                <a:cxn ang="T9">
                  <a:pos x="T2" y="T3"/>
                </a:cxn>
                <a:cxn ang="T10">
                  <a:pos x="T4" y="T5"/>
                </a:cxn>
                <a:cxn ang="T11">
                  <a:pos x="T6" y="T7"/>
                </a:cxn>
              </a:cxnLst>
              <a:rect l="T12" t="T13" r="T14" b="T15"/>
              <a:pathLst>
                <a:path w="2057400" h="609600">
                  <a:moveTo>
                    <a:pt x="287219" y="0"/>
                  </a:moveTo>
                  <a:lnTo>
                    <a:pt x="1770181" y="0"/>
                  </a:lnTo>
                  <a:cubicBezTo>
                    <a:pt x="1928807" y="0"/>
                    <a:pt x="2057400" y="128592"/>
                    <a:pt x="2057400" y="287219"/>
                  </a:cubicBezTo>
                  <a:lnTo>
                    <a:pt x="2057400" y="609600"/>
                  </a:lnTo>
                  <a:lnTo>
                    <a:pt x="0" y="609600"/>
                  </a:lnTo>
                  <a:lnTo>
                    <a:pt x="0" y="287219"/>
                  </a:lnTo>
                  <a:lnTo>
                    <a:pt x="0" y="287218"/>
                  </a:lnTo>
                  <a:cubicBezTo>
                    <a:pt x="0" y="128592"/>
                    <a:pt x="128592" y="0"/>
                    <a:pt x="287219" y="0"/>
                  </a:cubicBezTo>
                  <a:close/>
                </a:path>
              </a:pathLst>
            </a:custGeom>
            <a:solidFill>
              <a:srgbClr val="008000"/>
            </a:solidFill>
            <a:ln w="9525">
              <a:solidFill>
                <a:srgbClr val="0F4F1E"/>
              </a:solidFill>
              <a:miter lim="800000"/>
              <a:headEnd/>
              <a:tailEnd/>
            </a:ln>
            <a:effectLst>
              <a:outerShdw blurRad="40000" dist="23000" dir="5400000" rotWithShape="0">
                <a:srgbClr val="808080">
                  <a:alpha val="34999"/>
                </a:srgbClr>
              </a:outerShdw>
            </a:effectLst>
          </p:spPr>
          <p:txBody>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solidFill>
                    <a:srgbClr val="FFFFFF"/>
                  </a:solidFill>
                  <a:latin typeface="Arial" panose="020B0604020202020204" pitchFamily="34" charset="0"/>
                  <a:cs typeface="Arial" panose="020B0604020202020204" pitchFamily="34" charset="0"/>
                </a:rPr>
                <a:t>Sprint 3</a:t>
              </a:r>
            </a:p>
          </p:txBody>
        </p:sp>
      </p:grpSp>
      <p:grpSp>
        <p:nvGrpSpPr>
          <p:cNvPr id="122888" name="Group 35"/>
          <p:cNvGrpSpPr>
            <a:grpSpLocks/>
          </p:cNvGrpSpPr>
          <p:nvPr/>
        </p:nvGrpSpPr>
        <p:grpSpPr bwMode="auto">
          <a:xfrm>
            <a:off x="4518660" y="3909060"/>
            <a:ext cx="1851660" cy="2125980"/>
            <a:chOff x="3327400" y="1371600"/>
            <a:chExt cx="2057400" cy="2362200"/>
          </a:xfrm>
        </p:grpSpPr>
        <p:sp>
          <p:nvSpPr>
            <p:cNvPr id="37" name="Rounded Rectangle 36"/>
            <p:cNvSpPr>
              <a:spLocks noChangeArrowheads="1"/>
            </p:cNvSpPr>
            <p:nvPr/>
          </p:nvSpPr>
          <p:spPr bwMode="auto">
            <a:xfrm>
              <a:off x="3327400" y="1371600"/>
              <a:ext cx="2057400" cy="2362200"/>
            </a:xfrm>
            <a:prstGeom prst="roundRect">
              <a:avLst>
                <a:gd name="adj" fmla="val 16667"/>
              </a:avLst>
            </a:prstGeom>
            <a:gradFill rotWithShape="1">
              <a:gsLst>
                <a:gs pos="0">
                  <a:srgbClr val="ECF0EC"/>
                </a:gs>
                <a:gs pos="64999">
                  <a:srgbClr val="CCD8CE"/>
                </a:gs>
                <a:gs pos="100000">
                  <a:srgbClr val="B6C8B8"/>
                </a:gs>
              </a:gsLst>
              <a:lin ang="5400000" scaled="1"/>
            </a:gradFill>
            <a:ln w="15875">
              <a:solidFill>
                <a:srgbClr val="0F4F1E"/>
              </a:solidFill>
              <a:round/>
              <a:headEnd/>
              <a:tailEnd/>
            </a:ln>
            <a:effectLst>
              <a:outerShdw blurRad="40000" dist="20000" dir="5400000" rotWithShape="0">
                <a:srgbClr val="808080">
                  <a:alpha val="37999"/>
                </a:srgbClr>
              </a:outerShdw>
            </a:effectLst>
          </p:spPr>
          <p:txBody>
            <a:bodyPr/>
            <a:lstStyle>
              <a:lvl1pPr indent="58738"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endParaRPr lang="en-US" altLang="en-US" sz="2160">
                <a:solidFill>
                  <a:schemeClr val="tx1"/>
                </a:solidFill>
                <a:latin typeface="Arial" panose="020B0604020202020204" pitchFamily="34" charset="0"/>
                <a:cs typeface="Arial" panose="020B0604020202020204" pitchFamily="34" charset="0"/>
              </a:endParaRPr>
            </a:p>
          </p:txBody>
        </p:sp>
        <p:sp>
          <p:nvSpPr>
            <p:cNvPr id="38" name="Round Same Side Corner Rectangle 37"/>
            <p:cNvSpPr>
              <a:spLocks noChangeArrowheads="1"/>
            </p:cNvSpPr>
            <p:nvPr/>
          </p:nvSpPr>
          <p:spPr bwMode="auto">
            <a:xfrm>
              <a:off x="3327400" y="1371600"/>
              <a:ext cx="2057400" cy="609600"/>
            </a:xfrm>
            <a:custGeom>
              <a:avLst/>
              <a:gdLst>
                <a:gd name="T0" fmla="*/ 2057400 w 2057400"/>
                <a:gd name="T1" fmla="*/ 304800 h 609600"/>
                <a:gd name="T2" fmla="*/ 1028700 w 2057400"/>
                <a:gd name="T3" fmla="*/ 609600 h 609600"/>
                <a:gd name="T4" fmla="*/ 0 w 2057400"/>
                <a:gd name="T5" fmla="*/ 304800 h 609600"/>
                <a:gd name="T6" fmla="*/ 1028700 w 2057400"/>
                <a:gd name="T7" fmla="*/ 0 h 609600"/>
                <a:gd name="T8" fmla="*/ 0 60000 65536"/>
                <a:gd name="T9" fmla="*/ 1 60000 65536"/>
                <a:gd name="T10" fmla="*/ 2 60000 65536"/>
                <a:gd name="T11" fmla="*/ 3 60000 65536"/>
                <a:gd name="T12" fmla="*/ 84124 w 2057400"/>
                <a:gd name="T13" fmla="*/ 84124 h 609600"/>
                <a:gd name="T14" fmla="*/ 1973276 w 2057400"/>
                <a:gd name="T15" fmla="*/ 609600 h 609600"/>
              </a:gdLst>
              <a:ahLst/>
              <a:cxnLst>
                <a:cxn ang="T8">
                  <a:pos x="T0" y="T1"/>
                </a:cxn>
                <a:cxn ang="T9">
                  <a:pos x="T2" y="T3"/>
                </a:cxn>
                <a:cxn ang="T10">
                  <a:pos x="T4" y="T5"/>
                </a:cxn>
                <a:cxn ang="T11">
                  <a:pos x="T6" y="T7"/>
                </a:cxn>
              </a:cxnLst>
              <a:rect l="T12" t="T13" r="T14" b="T15"/>
              <a:pathLst>
                <a:path w="2057400" h="609600">
                  <a:moveTo>
                    <a:pt x="287219" y="0"/>
                  </a:moveTo>
                  <a:lnTo>
                    <a:pt x="1770181" y="0"/>
                  </a:lnTo>
                  <a:cubicBezTo>
                    <a:pt x="1928807" y="0"/>
                    <a:pt x="2057400" y="128592"/>
                    <a:pt x="2057400" y="287219"/>
                  </a:cubicBezTo>
                  <a:lnTo>
                    <a:pt x="2057400" y="609600"/>
                  </a:lnTo>
                  <a:lnTo>
                    <a:pt x="0" y="609600"/>
                  </a:lnTo>
                  <a:lnTo>
                    <a:pt x="0" y="287219"/>
                  </a:lnTo>
                  <a:lnTo>
                    <a:pt x="0" y="287218"/>
                  </a:lnTo>
                  <a:cubicBezTo>
                    <a:pt x="0" y="128592"/>
                    <a:pt x="128592" y="0"/>
                    <a:pt x="287219" y="0"/>
                  </a:cubicBezTo>
                  <a:close/>
                </a:path>
              </a:pathLst>
            </a:custGeom>
            <a:solidFill>
              <a:srgbClr val="008000"/>
            </a:solidFill>
            <a:ln w="9525">
              <a:solidFill>
                <a:srgbClr val="0F4F1E"/>
              </a:solidFill>
              <a:miter lim="800000"/>
              <a:headEnd/>
              <a:tailEnd/>
            </a:ln>
            <a:effectLst>
              <a:outerShdw blurRad="40000" dist="23000" dir="5400000" rotWithShape="0">
                <a:srgbClr val="808080">
                  <a:alpha val="34999"/>
                </a:srgbClr>
              </a:outerShdw>
            </a:effectLst>
          </p:spPr>
          <p:txBody>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solidFill>
                    <a:srgbClr val="FFFFFF"/>
                  </a:solidFill>
                  <a:latin typeface="Arial" panose="020B0604020202020204" pitchFamily="34" charset="0"/>
                  <a:cs typeface="Arial" panose="020B0604020202020204" pitchFamily="34" charset="0"/>
                </a:rPr>
                <a:t>Sprint 1</a:t>
              </a:r>
            </a:p>
          </p:txBody>
        </p:sp>
      </p:grpSp>
      <p:grpSp>
        <p:nvGrpSpPr>
          <p:cNvPr id="122889" name="Group 38"/>
          <p:cNvGrpSpPr>
            <a:grpSpLocks/>
          </p:cNvGrpSpPr>
          <p:nvPr/>
        </p:nvGrpSpPr>
        <p:grpSpPr bwMode="auto">
          <a:xfrm>
            <a:off x="6541770" y="3909060"/>
            <a:ext cx="1851660" cy="2125980"/>
            <a:chOff x="3327400" y="1371600"/>
            <a:chExt cx="2057400" cy="2362200"/>
          </a:xfrm>
        </p:grpSpPr>
        <p:sp>
          <p:nvSpPr>
            <p:cNvPr id="40" name="Rounded Rectangle 39"/>
            <p:cNvSpPr>
              <a:spLocks noChangeArrowheads="1"/>
            </p:cNvSpPr>
            <p:nvPr/>
          </p:nvSpPr>
          <p:spPr bwMode="auto">
            <a:xfrm>
              <a:off x="3327400" y="1371600"/>
              <a:ext cx="2057400" cy="2362200"/>
            </a:xfrm>
            <a:prstGeom prst="roundRect">
              <a:avLst>
                <a:gd name="adj" fmla="val 16667"/>
              </a:avLst>
            </a:prstGeom>
            <a:gradFill rotWithShape="1">
              <a:gsLst>
                <a:gs pos="0">
                  <a:srgbClr val="ECF0EC"/>
                </a:gs>
                <a:gs pos="64999">
                  <a:srgbClr val="CCD8CE"/>
                </a:gs>
                <a:gs pos="100000">
                  <a:srgbClr val="B6C8B8"/>
                </a:gs>
              </a:gsLst>
              <a:lin ang="5400000" scaled="1"/>
            </a:gradFill>
            <a:ln w="15875">
              <a:solidFill>
                <a:srgbClr val="0F4F1E"/>
              </a:solidFill>
              <a:round/>
              <a:headEnd/>
              <a:tailEnd/>
            </a:ln>
            <a:effectLst>
              <a:outerShdw blurRad="40000" dist="20000" dir="5400000" rotWithShape="0">
                <a:srgbClr val="808080">
                  <a:alpha val="37999"/>
                </a:srgbClr>
              </a:outerShdw>
            </a:effectLst>
          </p:spPr>
          <p:txBody>
            <a:bodyPr/>
            <a:lstStyle>
              <a:lvl1pPr indent="58738"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endParaRPr lang="en-US" altLang="en-US" sz="2160">
                <a:solidFill>
                  <a:schemeClr val="tx1"/>
                </a:solidFill>
                <a:latin typeface="Arial" panose="020B0604020202020204" pitchFamily="34" charset="0"/>
                <a:cs typeface="Arial" panose="020B0604020202020204" pitchFamily="34" charset="0"/>
              </a:endParaRPr>
            </a:p>
          </p:txBody>
        </p:sp>
        <p:sp>
          <p:nvSpPr>
            <p:cNvPr id="41" name="Round Same Side Corner Rectangle 40"/>
            <p:cNvSpPr>
              <a:spLocks noChangeArrowheads="1"/>
            </p:cNvSpPr>
            <p:nvPr/>
          </p:nvSpPr>
          <p:spPr bwMode="auto">
            <a:xfrm>
              <a:off x="3327400" y="1371600"/>
              <a:ext cx="2057400" cy="609600"/>
            </a:xfrm>
            <a:custGeom>
              <a:avLst/>
              <a:gdLst>
                <a:gd name="T0" fmla="*/ 2057400 w 2057400"/>
                <a:gd name="T1" fmla="*/ 304800 h 609600"/>
                <a:gd name="T2" fmla="*/ 1028700 w 2057400"/>
                <a:gd name="T3" fmla="*/ 609600 h 609600"/>
                <a:gd name="T4" fmla="*/ 0 w 2057400"/>
                <a:gd name="T5" fmla="*/ 304800 h 609600"/>
                <a:gd name="T6" fmla="*/ 1028700 w 2057400"/>
                <a:gd name="T7" fmla="*/ 0 h 609600"/>
                <a:gd name="T8" fmla="*/ 0 60000 65536"/>
                <a:gd name="T9" fmla="*/ 1 60000 65536"/>
                <a:gd name="T10" fmla="*/ 2 60000 65536"/>
                <a:gd name="T11" fmla="*/ 3 60000 65536"/>
                <a:gd name="T12" fmla="*/ 84124 w 2057400"/>
                <a:gd name="T13" fmla="*/ 84124 h 609600"/>
                <a:gd name="T14" fmla="*/ 1973276 w 2057400"/>
                <a:gd name="T15" fmla="*/ 609600 h 609600"/>
              </a:gdLst>
              <a:ahLst/>
              <a:cxnLst>
                <a:cxn ang="T8">
                  <a:pos x="T0" y="T1"/>
                </a:cxn>
                <a:cxn ang="T9">
                  <a:pos x="T2" y="T3"/>
                </a:cxn>
                <a:cxn ang="T10">
                  <a:pos x="T4" y="T5"/>
                </a:cxn>
                <a:cxn ang="T11">
                  <a:pos x="T6" y="T7"/>
                </a:cxn>
              </a:cxnLst>
              <a:rect l="T12" t="T13" r="T14" b="T15"/>
              <a:pathLst>
                <a:path w="2057400" h="609600">
                  <a:moveTo>
                    <a:pt x="287219" y="0"/>
                  </a:moveTo>
                  <a:lnTo>
                    <a:pt x="1770181" y="0"/>
                  </a:lnTo>
                  <a:cubicBezTo>
                    <a:pt x="1928807" y="0"/>
                    <a:pt x="2057400" y="128592"/>
                    <a:pt x="2057400" y="287219"/>
                  </a:cubicBezTo>
                  <a:lnTo>
                    <a:pt x="2057400" y="609600"/>
                  </a:lnTo>
                  <a:lnTo>
                    <a:pt x="0" y="609600"/>
                  </a:lnTo>
                  <a:lnTo>
                    <a:pt x="0" y="287219"/>
                  </a:lnTo>
                  <a:lnTo>
                    <a:pt x="0" y="287218"/>
                  </a:lnTo>
                  <a:cubicBezTo>
                    <a:pt x="0" y="128592"/>
                    <a:pt x="128592" y="0"/>
                    <a:pt x="287219" y="0"/>
                  </a:cubicBezTo>
                  <a:close/>
                </a:path>
              </a:pathLst>
            </a:custGeom>
            <a:solidFill>
              <a:srgbClr val="008000"/>
            </a:solidFill>
            <a:ln w="9525">
              <a:solidFill>
                <a:srgbClr val="0F4F1E"/>
              </a:solidFill>
              <a:miter lim="800000"/>
              <a:headEnd/>
              <a:tailEnd/>
            </a:ln>
            <a:effectLst>
              <a:outerShdw blurRad="40000" dist="23000" dir="5400000" rotWithShape="0">
                <a:srgbClr val="808080">
                  <a:alpha val="34999"/>
                </a:srgbClr>
              </a:outerShdw>
            </a:effectLst>
          </p:spPr>
          <p:txBody>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solidFill>
                    <a:srgbClr val="FFFFFF"/>
                  </a:solidFill>
                  <a:latin typeface="Arial" panose="020B0604020202020204" pitchFamily="34" charset="0"/>
                  <a:cs typeface="Arial" panose="020B0604020202020204" pitchFamily="34" charset="0"/>
                </a:rPr>
                <a:t>Sprint 2</a:t>
              </a:r>
            </a:p>
          </p:txBody>
        </p:sp>
      </p:grpSp>
      <p:grpSp>
        <p:nvGrpSpPr>
          <p:cNvPr id="122890" name="Group 41"/>
          <p:cNvGrpSpPr>
            <a:grpSpLocks/>
          </p:cNvGrpSpPr>
          <p:nvPr/>
        </p:nvGrpSpPr>
        <p:grpSpPr bwMode="auto">
          <a:xfrm>
            <a:off x="8564880" y="3909060"/>
            <a:ext cx="1851660" cy="2125980"/>
            <a:chOff x="3327400" y="1371600"/>
            <a:chExt cx="2057400" cy="2362200"/>
          </a:xfrm>
        </p:grpSpPr>
        <p:sp>
          <p:nvSpPr>
            <p:cNvPr id="43" name="Rounded Rectangle 42"/>
            <p:cNvSpPr>
              <a:spLocks noChangeArrowheads="1"/>
            </p:cNvSpPr>
            <p:nvPr/>
          </p:nvSpPr>
          <p:spPr bwMode="auto">
            <a:xfrm>
              <a:off x="3327400" y="1371600"/>
              <a:ext cx="2057400" cy="2362200"/>
            </a:xfrm>
            <a:prstGeom prst="roundRect">
              <a:avLst>
                <a:gd name="adj" fmla="val 16667"/>
              </a:avLst>
            </a:prstGeom>
            <a:gradFill rotWithShape="1">
              <a:gsLst>
                <a:gs pos="0">
                  <a:srgbClr val="ECF0EC"/>
                </a:gs>
                <a:gs pos="64999">
                  <a:srgbClr val="CCD8CE"/>
                </a:gs>
                <a:gs pos="100000">
                  <a:srgbClr val="B6C8B8"/>
                </a:gs>
              </a:gsLst>
              <a:lin ang="5400000" scaled="1"/>
            </a:gradFill>
            <a:ln w="15875">
              <a:solidFill>
                <a:srgbClr val="0F4F1E"/>
              </a:solidFill>
              <a:round/>
              <a:headEnd/>
              <a:tailEnd/>
            </a:ln>
            <a:effectLst>
              <a:outerShdw blurRad="40000" dist="20000" dir="5400000" rotWithShape="0">
                <a:srgbClr val="808080">
                  <a:alpha val="37999"/>
                </a:srgbClr>
              </a:outerShdw>
            </a:effectLst>
          </p:spPr>
          <p:txBody>
            <a:bodyPr/>
            <a:lstStyle>
              <a:lvl1pPr indent="58738"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endParaRPr lang="en-US" altLang="en-US" sz="2160">
                <a:solidFill>
                  <a:schemeClr val="tx1"/>
                </a:solidFill>
                <a:latin typeface="Arial" panose="020B0604020202020204" pitchFamily="34" charset="0"/>
                <a:cs typeface="Arial" panose="020B0604020202020204" pitchFamily="34" charset="0"/>
              </a:endParaRPr>
            </a:p>
          </p:txBody>
        </p:sp>
        <p:sp>
          <p:nvSpPr>
            <p:cNvPr id="44" name="Round Same Side Corner Rectangle 43"/>
            <p:cNvSpPr>
              <a:spLocks noChangeArrowheads="1"/>
            </p:cNvSpPr>
            <p:nvPr/>
          </p:nvSpPr>
          <p:spPr bwMode="auto">
            <a:xfrm>
              <a:off x="3327400" y="1371600"/>
              <a:ext cx="2057400" cy="609600"/>
            </a:xfrm>
            <a:custGeom>
              <a:avLst/>
              <a:gdLst>
                <a:gd name="T0" fmla="*/ 2057400 w 2057400"/>
                <a:gd name="T1" fmla="*/ 304800 h 609600"/>
                <a:gd name="T2" fmla="*/ 1028700 w 2057400"/>
                <a:gd name="T3" fmla="*/ 609600 h 609600"/>
                <a:gd name="T4" fmla="*/ 0 w 2057400"/>
                <a:gd name="T5" fmla="*/ 304800 h 609600"/>
                <a:gd name="T6" fmla="*/ 1028700 w 2057400"/>
                <a:gd name="T7" fmla="*/ 0 h 609600"/>
                <a:gd name="T8" fmla="*/ 0 60000 65536"/>
                <a:gd name="T9" fmla="*/ 1 60000 65536"/>
                <a:gd name="T10" fmla="*/ 2 60000 65536"/>
                <a:gd name="T11" fmla="*/ 3 60000 65536"/>
                <a:gd name="T12" fmla="*/ 84124 w 2057400"/>
                <a:gd name="T13" fmla="*/ 84124 h 609600"/>
                <a:gd name="T14" fmla="*/ 1973276 w 2057400"/>
                <a:gd name="T15" fmla="*/ 609600 h 609600"/>
              </a:gdLst>
              <a:ahLst/>
              <a:cxnLst>
                <a:cxn ang="T8">
                  <a:pos x="T0" y="T1"/>
                </a:cxn>
                <a:cxn ang="T9">
                  <a:pos x="T2" y="T3"/>
                </a:cxn>
                <a:cxn ang="T10">
                  <a:pos x="T4" y="T5"/>
                </a:cxn>
                <a:cxn ang="T11">
                  <a:pos x="T6" y="T7"/>
                </a:cxn>
              </a:cxnLst>
              <a:rect l="T12" t="T13" r="T14" b="T15"/>
              <a:pathLst>
                <a:path w="2057400" h="609600">
                  <a:moveTo>
                    <a:pt x="287219" y="0"/>
                  </a:moveTo>
                  <a:lnTo>
                    <a:pt x="1770181" y="0"/>
                  </a:lnTo>
                  <a:cubicBezTo>
                    <a:pt x="1928807" y="0"/>
                    <a:pt x="2057400" y="128592"/>
                    <a:pt x="2057400" y="287219"/>
                  </a:cubicBezTo>
                  <a:lnTo>
                    <a:pt x="2057400" y="609600"/>
                  </a:lnTo>
                  <a:lnTo>
                    <a:pt x="0" y="609600"/>
                  </a:lnTo>
                  <a:lnTo>
                    <a:pt x="0" y="287219"/>
                  </a:lnTo>
                  <a:lnTo>
                    <a:pt x="0" y="287218"/>
                  </a:lnTo>
                  <a:cubicBezTo>
                    <a:pt x="0" y="128592"/>
                    <a:pt x="128592" y="0"/>
                    <a:pt x="287219" y="0"/>
                  </a:cubicBezTo>
                  <a:close/>
                </a:path>
              </a:pathLst>
            </a:custGeom>
            <a:solidFill>
              <a:srgbClr val="008000"/>
            </a:solidFill>
            <a:ln w="9525">
              <a:solidFill>
                <a:srgbClr val="0F4F1E"/>
              </a:solidFill>
              <a:miter lim="800000"/>
              <a:headEnd/>
              <a:tailEnd/>
            </a:ln>
            <a:effectLst>
              <a:outerShdw blurRad="40000" dist="23000" dir="5400000" rotWithShape="0">
                <a:srgbClr val="808080">
                  <a:alpha val="34999"/>
                </a:srgbClr>
              </a:outerShdw>
            </a:effectLst>
          </p:spPr>
          <p:txBody>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solidFill>
                    <a:srgbClr val="FFFFFF"/>
                  </a:solidFill>
                  <a:latin typeface="Arial" panose="020B0604020202020204" pitchFamily="34" charset="0"/>
                  <a:cs typeface="Arial" panose="020B0604020202020204" pitchFamily="34" charset="0"/>
                </a:rPr>
                <a:t>Sprint 3</a:t>
              </a:r>
            </a:p>
          </p:txBody>
        </p:sp>
      </p:grpSp>
      <p:grpSp>
        <p:nvGrpSpPr>
          <p:cNvPr id="122891" name="Group 77"/>
          <p:cNvGrpSpPr>
            <a:grpSpLocks/>
          </p:cNvGrpSpPr>
          <p:nvPr/>
        </p:nvGrpSpPr>
        <p:grpSpPr bwMode="auto">
          <a:xfrm>
            <a:off x="4792980" y="1920240"/>
            <a:ext cx="1234440" cy="905828"/>
            <a:chOff x="3556000" y="2133600"/>
            <a:chExt cx="1371600" cy="1005840"/>
          </a:xfrm>
        </p:grpSpPr>
        <p:sp>
          <p:nvSpPr>
            <p:cNvPr id="73" name="Rectangle 72"/>
            <p:cNvSpPr>
              <a:spLocks noChangeAspect="1"/>
            </p:cNvSpPr>
            <p:nvPr/>
          </p:nvSpPr>
          <p:spPr bwMode="auto">
            <a:xfrm>
              <a:off x="3556000" y="2133600"/>
              <a:ext cx="914400" cy="548928"/>
            </a:xfrm>
            <a:prstGeom prst="rect">
              <a:avLst/>
            </a:prstGeom>
            <a:solidFill>
              <a:schemeClr val="bg1"/>
            </a:solidFill>
            <a:ln w="12700">
              <a:solidFill>
                <a:srgbClr val="000000"/>
              </a:solidFill>
              <a:round/>
              <a:headEnd/>
              <a:tailEnd/>
            </a:ln>
            <a:effectLst>
              <a:outerShdw blurRad="50800" dist="38100" dir="2700000" algn="tl" rotWithShape="0">
                <a:srgbClr val="808080">
                  <a:alpha val="42999"/>
                </a:srgbClr>
              </a:outerShdw>
            </a:effectLst>
          </p:spPr>
          <p:txBody>
            <a:bodyPr/>
            <a:lstStyle/>
            <a:p>
              <a:endParaRPr lang="en-US" sz="1620"/>
            </a:p>
          </p:txBody>
        </p:sp>
        <p:sp>
          <p:nvSpPr>
            <p:cNvPr id="74" name="Rectangle 73"/>
            <p:cNvSpPr>
              <a:spLocks noChangeAspect="1"/>
            </p:cNvSpPr>
            <p:nvPr/>
          </p:nvSpPr>
          <p:spPr bwMode="auto">
            <a:xfrm>
              <a:off x="3708400" y="2285904"/>
              <a:ext cx="914400" cy="548928"/>
            </a:xfrm>
            <a:prstGeom prst="rect">
              <a:avLst/>
            </a:prstGeom>
            <a:solidFill>
              <a:schemeClr val="bg1"/>
            </a:solidFill>
            <a:ln w="12700">
              <a:solidFill>
                <a:srgbClr val="000000"/>
              </a:solidFill>
              <a:round/>
              <a:headEnd/>
              <a:tailEnd/>
            </a:ln>
            <a:effectLst>
              <a:outerShdw blurRad="50800" dist="38100" dir="2700000" algn="tl" rotWithShape="0">
                <a:srgbClr val="808080">
                  <a:alpha val="42999"/>
                </a:srgbClr>
              </a:outerShdw>
            </a:effectLst>
          </p:spPr>
          <p:txBody>
            <a:bodyPr/>
            <a:lstStyle/>
            <a:p>
              <a:endParaRPr lang="en-US" sz="1620"/>
            </a:p>
          </p:txBody>
        </p:sp>
        <p:sp>
          <p:nvSpPr>
            <p:cNvPr id="75" name="Rectangle 74"/>
            <p:cNvSpPr>
              <a:spLocks noChangeAspect="1"/>
            </p:cNvSpPr>
            <p:nvPr/>
          </p:nvSpPr>
          <p:spPr bwMode="auto">
            <a:xfrm>
              <a:off x="3860800" y="2438208"/>
              <a:ext cx="914400" cy="548928"/>
            </a:xfrm>
            <a:prstGeom prst="rect">
              <a:avLst/>
            </a:prstGeom>
            <a:solidFill>
              <a:schemeClr val="bg1"/>
            </a:solidFill>
            <a:ln w="12700">
              <a:solidFill>
                <a:srgbClr val="000000"/>
              </a:solidFill>
              <a:round/>
              <a:headEnd/>
              <a:tailEnd/>
            </a:ln>
            <a:effectLst>
              <a:outerShdw blurRad="50800" dist="38100" dir="2700000" algn="tl" rotWithShape="0">
                <a:srgbClr val="808080">
                  <a:alpha val="42999"/>
                </a:srgbClr>
              </a:outerShdw>
            </a:effectLst>
          </p:spPr>
          <p:txBody>
            <a:bodyPr/>
            <a:lstStyle/>
            <a:p>
              <a:endParaRPr lang="en-US" sz="1620"/>
            </a:p>
          </p:txBody>
        </p:sp>
        <p:sp>
          <p:nvSpPr>
            <p:cNvPr id="76" name="Rectangle 75"/>
            <p:cNvSpPr>
              <a:spLocks noChangeAspect="1"/>
            </p:cNvSpPr>
            <p:nvPr/>
          </p:nvSpPr>
          <p:spPr bwMode="auto">
            <a:xfrm>
              <a:off x="4013200" y="2590512"/>
              <a:ext cx="914400" cy="548928"/>
            </a:xfrm>
            <a:prstGeom prst="rect">
              <a:avLst/>
            </a:prstGeom>
            <a:solidFill>
              <a:schemeClr val="bg1"/>
            </a:solidFill>
            <a:ln w="12700">
              <a:solidFill>
                <a:srgbClr val="000000"/>
              </a:solidFill>
              <a:round/>
              <a:headEnd/>
              <a:tailEnd/>
            </a:ln>
            <a:effectLst>
              <a:outerShdw blurRad="50800" dist="38100" dir="2700000" algn="tl" rotWithShape="0">
                <a:srgbClr val="808080">
                  <a:alpha val="42999"/>
                </a:srgbClr>
              </a:outerShdw>
            </a:effectLst>
          </p:spPr>
          <p:txBody>
            <a:bodyPr/>
            <a:lstStyle/>
            <a:p>
              <a:endParaRPr lang="en-US" sz="1620"/>
            </a:p>
          </p:txBody>
        </p:sp>
      </p:grpSp>
      <p:sp>
        <p:nvSpPr>
          <p:cNvPr id="122892" name="TextBox 76"/>
          <p:cNvSpPr txBox="1">
            <a:spLocks noChangeArrowheads="1"/>
          </p:cNvSpPr>
          <p:nvPr/>
        </p:nvSpPr>
        <p:spPr bwMode="auto">
          <a:xfrm>
            <a:off x="4792980" y="2948940"/>
            <a:ext cx="1303020"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20 points</a:t>
            </a:r>
          </a:p>
        </p:txBody>
      </p:sp>
      <p:sp>
        <p:nvSpPr>
          <p:cNvPr id="79" name="Rectangle 78"/>
          <p:cNvSpPr>
            <a:spLocks noChangeAspect="1"/>
          </p:cNvSpPr>
          <p:nvPr/>
        </p:nvSpPr>
        <p:spPr bwMode="auto">
          <a:xfrm>
            <a:off x="6850380" y="1851660"/>
            <a:ext cx="822960" cy="494348"/>
          </a:xfrm>
          <a:prstGeom prst="rect">
            <a:avLst/>
          </a:prstGeom>
          <a:solidFill>
            <a:schemeClr val="bg1"/>
          </a:solidFill>
          <a:ln w="12700">
            <a:solidFill>
              <a:srgbClr val="000000"/>
            </a:solidFill>
            <a:round/>
            <a:headEnd/>
            <a:tailEnd/>
          </a:ln>
          <a:effectLst>
            <a:outerShdw blurRad="50800" dist="38100" dir="2700000" algn="tl" rotWithShape="0">
              <a:srgbClr val="808080">
                <a:alpha val="42999"/>
              </a:srgbClr>
            </a:outerShdw>
          </a:effectLst>
        </p:spPr>
        <p:txBody>
          <a:bodyPr/>
          <a:lstStyle/>
          <a:p>
            <a:endParaRPr lang="en-US" sz="1620"/>
          </a:p>
        </p:txBody>
      </p:sp>
      <p:sp>
        <p:nvSpPr>
          <p:cNvPr id="80" name="Rectangle 79"/>
          <p:cNvSpPr>
            <a:spLocks noChangeAspect="1"/>
          </p:cNvSpPr>
          <p:nvPr/>
        </p:nvSpPr>
        <p:spPr bwMode="auto">
          <a:xfrm>
            <a:off x="6987540" y="1988820"/>
            <a:ext cx="822960" cy="494348"/>
          </a:xfrm>
          <a:prstGeom prst="rect">
            <a:avLst/>
          </a:prstGeom>
          <a:solidFill>
            <a:schemeClr val="bg1"/>
          </a:solidFill>
          <a:ln w="12700">
            <a:solidFill>
              <a:srgbClr val="000000"/>
            </a:solidFill>
            <a:round/>
            <a:headEnd/>
            <a:tailEnd/>
          </a:ln>
          <a:effectLst>
            <a:outerShdw blurRad="50800" dist="38100" dir="2700000" algn="tl" rotWithShape="0">
              <a:srgbClr val="808080">
                <a:alpha val="42999"/>
              </a:srgbClr>
            </a:outerShdw>
          </a:effectLst>
        </p:spPr>
        <p:txBody>
          <a:bodyPr/>
          <a:lstStyle/>
          <a:p>
            <a:endParaRPr lang="en-US" sz="1620"/>
          </a:p>
        </p:txBody>
      </p:sp>
      <p:sp>
        <p:nvSpPr>
          <p:cNvPr id="122895" name="TextBox 82"/>
          <p:cNvSpPr txBox="1">
            <a:spLocks noChangeArrowheads="1"/>
          </p:cNvSpPr>
          <p:nvPr/>
        </p:nvSpPr>
        <p:spPr bwMode="auto">
          <a:xfrm>
            <a:off x="6850380" y="2948940"/>
            <a:ext cx="1303020"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10 points</a:t>
            </a:r>
          </a:p>
        </p:txBody>
      </p:sp>
      <p:sp>
        <p:nvSpPr>
          <p:cNvPr id="122896" name="TextBox 83"/>
          <p:cNvSpPr txBox="1">
            <a:spLocks noChangeArrowheads="1"/>
          </p:cNvSpPr>
          <p:nvPr/>
        </p:nvSpPr>
        <p:spPr bwMode="auto">
          <a:xfrm>
            <a:off x="8839200" y="2948940"/>
            <a:ext cx="1303020"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20 points</a:t>
            </a:r>
          </a:p>
        </p:txBody>
      </p:sp>
      <p:grpSp>
        <p:nvGrpSpPr>
          <p:cNvPr id="122897" name="Group 90"/>
          <p:cNvGrpSpPr>
            <a:grpSpLocks/>
          </p:cNvGrpSpPr>
          <p:nvPr/>
        </p:nvGrpSpPr>
        <p:grpSpPr bwMode="auto">
          <a:xfrm>
            <a:off x="8839200" y="1851660"/>
            <a:ext cx="1371600" cy="1042988"/>
            <a:chOff x="8051800" y="2057400"/>
            <a:chExt cx="1524000" cy="1158240"/>
          </a:xfrm>
        </p:grpSpPr>
        <p:sp>
          <p:nvSpPr>
            <p:cNvPr id="86" name="Rectangle 85"/>
            <p:cNvSpPr>
              <a:spLocks noChangeAspect="1"/>
            </p:cNvSpPr>
            <p:nvPr/>
          </p:nvSpPr>
          <p:spPr bwMode="auto">
            <a:xfrm>
              <a:off x="8051800" y="2057400"/>
              <a:ext cx="914400" cy="548974"/>
            </a:xfrm>
            <a:prstGeom prst="rect">
              <a:avLst/>
            </a:prstGeom>
            <a:solidFill>
              <a:schemeClr val="bg1"/>
            </a:solidFill>
            <a:ln w="12700">
              <a:solidFill>
                <a:srgbClr val="000000"/>
              </a:solidFill>
              <a:round/>
              <a:headEnd/>
              <a:tailEnd/>
            </a:ln>
            <a:effectLst>
              <a:outerShdw blurRad="50800" dist="38100" dir="2700000" algn="tl" rotWithShape="0">
                <a:srgbClr val="808080">
                  <a:alpha val="42999"/>
                </a:srgbClr>
              </a:outerShdw>
            </a:effectLst>
          </p:spPr>
          <p:txBody>
            <a:bodyPr/>
            <a:lstStyle/>
            <a:p>
              <a:endParaRPr lang="en-US" sz="1620"/>
            </a:p>
          </p:txBody>
        </p:sp>
        <p:sp>
          <p:nvSpPr>
            <p:cNvPr id="87" name="Rectangle 86"/>
            <p:cNvSpPr>
              <a:spLocks noChangeAspect="1"/>
            </p:cNvSpPr>
            <p:nvPr/>
          </p:nvSpPr>
          <p:spPr bwMode="auto">
            <a:xfrm>
              <a:off x="8204200" y="2209716"/>
              <a:ext cx="914400" cy="548974"/>
            </a:xfrm>
            <a:prstGeom prst="rect">
              <a:avLst/>
            </a:prstGeom>
            <a:solidFill>
              <a:schemeClr val="bg1"/>
            </a:solidFill>
            <a:ln w="12700">
              <a:solidFill>
                <a:srgbClr val="000000"/>
              </a:solidFill>
              <a:round/>
              <a:headEnd/>
              <a:tailEnd/>
            </a:ln>
            <a:effectLst>
              <a:outerShdw blurRad="50800" dist="38100" dir="2700000" algn="tl" rotWithShape="0">
                <a:srgbClr val="808080">
                  <a:alpha val="42999"/>
                </a:srgbClr>
              </a:outerShdw>
            </a:effectLst>
          </p:spPr>
          <p:txBody>
            <a:bodyPr/>
            <a:lstStyle/>
            <a:p>
              <a:endParaRPr lang="en-US" sz="1620"/>
            </a:p>
          </p:txBody>
        </p:sp>
        <p:sp>
          <p:nvSpPr>
            <p:cNvPr id="88" name="Rectangle 87"/>
            <p:cNvSpPr>
              <a:spLocks noChangeAspect="1"/>
            </p:cNvSpPr>
            <p:nvPr/>
          </p:nvSpPr>
          <p:spPr bwMode="auto">
            <a:xfrm>
              <a:off x="8356600" y="2362033"/>
              <a:ext cx="914400" cy="548974"/>
            </a:xfrm>
            <a:prstGeom prst="rect">
              <a:avLst/>
            </a:prstGeom>
            <a:solidFill>
              <a:schemeClr val="bg1"/>
            </a:solidFill>
            <a:ln w="12700">
              <a:solidFill>
                <a:srgbClr val="000000"/>
              </a:solidFill>
              <a:round/>
              <a:headEnd/>
              <a:tailEnd/>
            </a:ln>
            <a:effectLst>
              <a:outerShdw blurRad="50800" dist="38100" dir="2700000" algn="tl" rotWithShape="0">
                <a:srgbClr val="808080">
                  <a:alpha val="42999"/>
                </a:srgbClr>
              </a:outerShdw>
            </a:effectLst>
          </p:spPr>
          <p:txBody>
            <a:bodyPr/>
            <a:lstStyle/>
            <a:p>
              <a:endParaRPr lang="en-US" sz="1620"/>
            </a:p>
          </p:txBody>
        </p:sp>
        <p:sp>
          <p:nvSpPr>
            <p:cNvPr id="89" name="Rectangle 88"/>
            <p:cNvSpPr>
              <a:spLocks noChangeAspect="1"/>
            </p:cNvSpPr>
            <p:nvPr/>
          </p:nvSpPr>
          <p:spPr bwMode="auto">
            <a:xfrm>
              <a:off x="8509000" y="2514349"/>
              <a:ext cx="914400" cy="548974"/>
            </a:xfrm>
            <a:prstGeom prst="rect">
              <a:avLst/>
            </a:prstGeom>
            <a:solidFill>
              <a:schemeClr val="bg1"/>
            </a:solidFill>
            <a:ln w="12700">
              <a:solidFill>
                <a:srgbClr val="000000"/>
              </a:solidFill>
              <a:round/>
              <a:headEnd/>
              <a:tailEnd/>
            </a:ln>
            <a:effectLst>
              <a:outerShdw blurRad="50800" dist="38100" dir="2700000" algn="tl" rotWithShape="0">
                <a:srgbClr val="808080">
                  <a:alpha val="42999"/>
                </a:srgbClr>
              </a:outerShdw>
            </a:effectLst>
          </p:spPr>
          <p:txBody>
            <a:bodyPr/>
            <a:lstStyle/>
            <a:p>
              <a:endParaRPr lang="en-US" sz="1620"/>
            </a:p>
          </p:txBody>
        </p:sp>
        <p:sp>
          <p:nvSpPr>
            <p:cNvPr id="90" name="Rectangle 89"/>
            <p:cNvSpPr>
              <a:spLocks noChangeAspect="1"/>
            </p:cNvSpPr>
            <p:nvPr/>
          </p:nvSpPr>
          <p:spPr bwMode="auto">
            <a:xfrm>
              <a:off x="8661400" y="2666666"/>
              <a:ext cx="914400" cy="548974"/>
            </a:xfrm>
            <a:prstGeom prst="rect">
              <a:avLst/>
            </a:prstGeom>
            <a:solidFill>
              <a:schemeClr val="bg1"/>
            </a:solidFill>
            <a:ln w="12700">
              <a:solidFill>
                <a:srgbClr val="000000"/>
              </a:solidFill>
              <a:round/>
              <a:headEnd/>
              <a:tailEnd/>
            </a:ln>
            <a:effectLst>
              <a:outerShdw blurRad="50800" dist="38100" dir="2700000" algn="tl" rotWithShape="0">
                <a:srgbClr val="808080">
                  <a:alpha val="42999"/>
                </a:srgbClr>
              </a:outerShdw>
            </a:effectLst>
          </p:spPr>
          <p:txBody>
            <a:bodyPr/>
            <a:lstStyle/>
            <a:p>
              <a:endParaRPr lang="en-US" sz="1620"/>
            </a:p>
          </p:txBody>
        </p:sp>
      </p:grpSp>
      <p:grpSp>
        <p:nvGrpSpPr>
          <p:cNvPr id="122898" name="Group 91"/>
          <p:cNvGrpSpPr>
            <a:grpSpLocks/>
          </p:cNvGrpSpPr>
          <p:nvPr/>
        </p:nvGrpSpPr>
        <p:grpSpPr bwMode="auto">
          <a:xfrm>
            <a:off x="6850380" y="4526280"/>
            <a:ext cx="1234440" cy="905828"/>
            <a:chOff x="3556000" y="2133600"/>
            <a:chExt cx="1371600" cy="1005840"/>
          </a:xfrm>
        </p:grpSpPr>
        <p:sp>
          <p:nvSpPr>
            <p:cNvPr id="93" name="Rectangle 92"/>
            <p:cNvSpPr>
              <a:spLocks noChangeAspect="1"/>
            </p:cNvSpPr>
            <p:nvPr/>
          </p:nvSpPr>
          <p:spPr bwMode="auto">
            <a:xfrm>
              <a:off x="3556000" y="2133600"/>
              <a:ext cx="914400" cy="548928"/>
            </a:xfrm>
            <a:prstGeom prst="rect">
              <a:avLst/>
            </a:prstGeom>
            <a:solidFill>
              <a:schemeClr val="bg1"/>
            </a:solidFill>
            <a:ln w="12700">
              <a:solidFill>
                <a:srgbClr val="000000"/>
              </a:solidFill>
              <a:round/>
              <a:headEnd/>
              <a:tailEnd/>
            </a:ln>
            <a:effectLst>
              <a:outerShdw blurRad="50800" dist="38100" dir="2700000" algn="tl" rotWithShape="0">
                <a:srgbClr val="808080">
                  <a:alpha val="42999"/>
                </a:srgbClr>
              </a:outerShdw>
            </a:effectLst>
          </p:spPr>
          <p:txBody>
            <a:bodyPr/>
            <a:lstStyle/>
            <a:p>
              <a:endParaRPr lang="en-US" sz="1620"/>
            </a:p>
          </p:txBody>
        </p:sp>
        <p:sp>
          <p:nvSpPr>
            <p:cNvPr id="94" name="Rectangle 93"/>
            <p:cNvSpPr>
              <a:spLocks noChangeAspect="1"/>
            </p:cNvSpPr>
            <p:nvPr/>
          </p:nvSpPr>
          <p:spPr bwMode="auto">
            <a:xfrm>
              <a:off x="3708400" y="2285904"/>
              <a:ext cx="914400" cy="548928"/>
            </a:xfrm>
            <a:prstGeom prst="rect">
              <a:avLst/>
            </a:prstGeom>
            <a:solidFill>
              <a:schemeClr val="bg1"/>
            </a:solidFill>
            <a:ln w="12700">
              <a:solidFill>
                <a:srgbClr val="000000"/>
              </a:solidFill>
              <a:round/>
              <a:headEnd/>
              <a:tailEnd/>
            </a:ln>
            <a:effectLst>
              <a:outerShdw blurRad="50800" dist="38100" dir="2700000" algn="tl" rotWithShape="0">
                <a:srgbClr val="808080">
                  <a:alpha val="42999"/>
                </a:srgbClr>
              </a:outerShdw>
            </a:effectLst>
          </p:spPr>
          <p:txBody>
            <a:bodyPr/>
            <a:lstStyle/>
            <a:p>
              <a:endParaRPr lang="en-US" sz="1620"/>
            </a:p>
          </p:txBody>
        </p:sp>
        <p:sp>
          <p:nvSpPr>
            <p:cNvPr id="95" name="Rectangle 94"/>
            <p:cNvSpPr>
              <a:spLocks noChangeAspect="1"/>
            </p:cNvSpPr>
            <p:nvPr/>
          </p:nvSpPr>
          <p:spPr bwMode="auto">
            <a:xfrm>
              <a:off x="3860800" y="2438208"/>
              <a:ext cx="914400" cy="548928"/>
            </a:xfrm>
            <a:prstGeom prst="rect">
              <a:avLst/>
            </a:prstGeom>
            <a:solidFill>
              <a:schemeClr val="bg1"/>
            </a:solidFill>
            <a:ln w="12700">
              <a:solidFill>
                <a:srgbClr val="000000"/>
              </a:solidFill>
              <a:round/>
              <a:headEnd/>
              <a:tailEnd/>
            </a:ln>
            <a:effectLst>
              <a:outerShdw blurRad="50800" dist="38100" dir="2700000" algn="tl" rotWithShape="0">
                <a:srgbClr val="808080">
                  <a:alpha val="42999"/>
                </a:srgbClr>
              </a:outerShdw>
            </a:effectLst>
          </p:spPr>
          <p:txBody>
            <a:bodyPr/>
            <a:lstStyle/>
            <a:p>
              <a:endParaRPr lang="en-US" sz="1620"/>
            </a:p>
          </p:txBody>
        </p:sp>
        <p:sp>
          <p:nvSpPr>
            <p:cNvPr id="96" name="Rectangle 95"/>
            <p:cNvSpPr>
              <a:spLocks noChangeAspect="1"/>
            </p:cNvSpPr>
            <p:nvPr/>
          </p:nvSpPr>
          <p:spPr bwMode="auto">
            <a:xfrm>
              <a:off x="4013200" y="2590512"/>
              <a:ext cx="914400" cy="548928"/>
            </a:xfrm>
            <a:prstGeom prst="rect">
              <a:avLst/>
            </a:prstGeom>
            <a:solidFill>
              <a:schemeClr val="bg1"/>
            </a:solidFill>
            <a:ln w="12700">
              <a:solidFill>
                <a:srgbClr val="000000"/>
              </a:solidFill>
              <a:round/>
              <a:headEnd/>
              <a:tailEnd/>
            </a:ln>
            <a:effectLst>
              <a:outerShdw blurRad="50800" dist="38100" dir="2700000" algn="tl" rotWithShape="0">
                <a:srgbClr val="808080">
                  <a:alpha val="42999"/>
                </a:srgbClr>
              </a:outerShdw>
            </a:effectLst>
          </p:spPr>
          <p:txBody>
            <a:bodyPr/>
            <a:lstStyle/>
            <a:p>
              <a:endParaRPr lang="en-US" sz="1620"/>
            </a:p>
          </p:txBody>
        </p:sp>
      </p:grpSp>
      <p:sp>
        <p:nvSpPr>
          <p:cNvPr id="98" name="Rectangle 97"/>
          <p:cNvSpPr>
            <a:spLocks noChangeAspect="1"/>
          </p:cNvSpPr>
          <p:nvPr/>
        </p:nvSpPr>
        <p:spPr bwMode="auto">
          <a:xfrm>
            <a:off x="4861560" y="4526280"/>
            <a:ext cx="822960" cy="494348"/>
          </a:xfrm>
          <a:prstGeom prst="rect">
            <a:avLst/>
          </a:prstGeom>
          <a:solidFill>
            <a:schemeClr val="bg1"/>
          </a:solidFill>
          <a:ln w="12700">
            <a:solidFill>
              <a:srgbClr val="000000"/>
            </a:solidFill>
            <a:round/>
            <a:headEnd/>
            <a:tailEnd/>
          </a:ln>
          <a:effectLst>
            <a:outerShdw blurRad="50800" dist="38100" dir="2700000" algn="tl" rotWithShape="0">
              <a:srgbClr val="808080">
                <a:alpha val="42999"/>
              </a:srgbClr>
            </a:outerShdw>
          </a:effectLst>
        </p:spPr>
        <p:txBody>
          <a:bodyPr/>
          <a:lstStyle/>
          <a:p>
            <a:endParaRPr lang="en-US" sz="1620"/>
          </a:p>
        </p:txBody>
      </p:sp>
      <p:sp>
        <p:nvSpPr>
          <p:cNvPr id="99" name="Rectangle 98"/>
          <p:cNvSpPr>
            <a:spLocks noChangeAspect="1"/>
          </p:cNvSpPr>
          <p:nvPr/>
        </p:nvSpPr>
        <p:spPr bwMode="auto">
          <a:xfrm>
            <a:off x="4998720" y="4663440"/>
            <a:ext cx="822960" cy="494348"/>
          </a:xfrm>
          <a:prstGeom prst="rect">
            <a:avLst/>
          </a:prstGeom>
          <a:solidFill>
            <a:schemeClr val="bg1"/>
          </a:solidFill>
          <a:ln w="12700">
            <a:solidFill>
              <a:srgbClr val="000000"/>
            </a:solidFill>
            <a:round/>
            <a:headEnd/>
            <a:tailEnd/>
          </a:ln>
          <a:effectLst>
            <a:outerShdw blurRad="50800" dist="38100" dir="2700000" algn="tl" rotWithShape="0">
              <a:srgbClr val="808080">
                <a:alpha val="42999"/>
              </a:srgbClr>
            </a:outerShdw>
          </a:effectLst>
        </p:spPr>
        <p:txBody>
          <a:bodyPr/>
          <a:lstStyle/>
          <a:p>
            <a:endParaRPr lang="en-US" sz="1620"/>
          </a:p>
        </p:txBody>
      </p:sp>
      <p:sp>
        <p:nvSpPr>
          <p:cNvPr id="100" name="Rectangle 99"/>
          <p:cNvSpPr>
            <a:spLocks noChangeAspect="1"/>
          </p:cNvSpPr>
          <p:nvPr/>
        </p:nvSpPr>
        <p:spPr bwMode="auto">
          <a:xfrm>
            <a:off x="5135880" y="4800600"/>
            <a:ext cx="822960" cy="494348"/>
          </a:xfrm>
          <a:prstGeom prst="rect">
            <a:avLst/>
          </a:prstGeom>
          <a:solidFill>
            <a:schemeClr val="bg1"/>
          </a:solidFill>
          <a:ln w="12700">
            <a:solidFill>
              <a:srgbClr val="000000"/>
            </a:solidFill>
            <a:round/>
            <a:headEnd/>
            <a:tailEnd/>
          </a:ln>
          <a:effectLst>
            <a:outerShdw blurRad="50800" dist="38100" dir="2700000" algn="tl" rotWithShape="0">
              <a:srgbClr val="808080">
                <a:alpha val="42999"/>
              </a:srgbClr>
            </a:outerShdw>
          </a:effectLst>
        </p:spPr>
        <p:txBody>
          <a:bodyPr/>
          <a:lstStyle/>
          <a:p>
            <a:endParaRPr lang="en-US" sz="1620"/>
          </a:p>
        </p:txBody>
      </p:sp>
      <p:grpSp>
        <p:nvGrpSpPr>
          <p:cNvPr id="122902" name="Group 101"/>
          <p:cNvGrpSpPr>
            <a:grpSpLocks/>
          </p:cNvGrpSpPr>
          <p:nvPr/>
        </p:nvGrpSpPr>
        <p:grpSpPr bwMode="auto">
          <a:xfrm>
            <a:off x="8907780" y="4526280"/>
            <a:ext cx="1234440" cy="905828"/>
            <a:chOff x="3556000" y="2133600"/>
            <a:chExt cx="1371600" cy="1005840"/>
          </a:xfrm>
        </p:grpSpPr>
        <p:sp>
          <p:nvSpPr>
            <p:cNvPr id="103" name="Rectangle 102"/>
            <p:cNvSpPr>
              <a:spLocks noChangeAspect="1"/>
            </p:cNvSpPr>
            <p:nvPr/>
          </p:nvSpPr>
          <p:spPr bwMode="auto">
            <a:xfrm>
              <a:off x="3556000" y="2133600"/>
              <a:ext cx="914400" cy="548928"/>
            </a:xfrm>
            <a:prstGeom prst="rect">
              <a:avLst/>
            </a:prstGeom>
            <a:solidFill>
              <a:schemeClr val="bg1"/>
            </a:solidFill>
            <a:ln w="12700">
              <a:solidFill>
                <a:srgbClr val="000000"/>
              </a:solidFill>
              <a:round/>
              <a:headEnd/>
              <a:tailEnd/>
            </a:ln>
            <a:effectLst>
              <a:outerShdw blurRad="50800" dist="38100" dir="2700000" algn="tl" rotWithShape="0">
                <a:srgbClr val="808080">
                  <a:alpha val="42999"/>
                </a:srgbClr>
              </a:outerShdw>
            </a:effectLst>
          </p:spPr>
          <p:txBody>
            <a:bodyPr/>
            <a:lstStyle/>
            <a:p>
              <a:endParaRPr lang="en-US" sz="1620"/>
            </a:p>
          </p:txBody>
        </p:sp>
        <p:sp>
          <p:nvSpPr>
            <p:cNvPr id="104" name="Rectangle 103"/>
            <p:cNvSpPr>
              <a:spLocks noChangeAspect="1"/>
            </p:cNvSpPr>
            <p:nvPr/>
          </p:nvSpPr>
          <p:spPr bwMode="auto">
            <a:xfrm>
              <a:off x="3708400" y="2285904"/>
              <a:ext cx="914400" cy="548928"/>
            </a:xfrm>
            <a:prstGeom prst="rect">
              <a:avLst/>
            </a:prstGeom>
            <a:solidFill>
              <a:schemeClr val="bg1"/>
            </a:solidFill>
            <a:ln w="12700">
              <a:solidFill>
                <a:srgbClr val="000000"/>
              </a:solidFill>
              <a:round/>
              <a:headEnd/>
              <a:tailEnd/>
            </a:ln>
            <a:effectLst>
              <a:outerShdw blurRad="50800" dist="38100" dir="2700000" algn="tl" rotWithShape="0">
                <a:srgbClr val="808080">
                  <a:alpha val="42999"/>
                </a:srgbClr>
              </a:outerShdw>
            </a:effectLst>
          </p:spPr>
          <p:txBody>
            <a:bodyPr/>
            <a:lstStyle/>
            <a:p>
              <a:endParaRPr lang="en-US" sz="1620"/>
            </a:p>
          </p:txBody>
        </p:sp>
        <p:sp>
          <p:nvSpPr>
            <p:cNvPr id="105" name="Rectangle 104"/>
            <p:cNvSpPr>
              <a:spLocks noChangeAspect="1"/>
            </p:cNvSpPr>
            <p:nvPr/>
          </p:nvSpPr>
          <p:spPr bwMode="auto">
            <a:xfrm>
              <a:off x="3860800" y="2438208"/>
              <a:ext cx="914400" cy="548928"/>
            </a:xfrm>
            <a:prstGeom prst="rect">
              <a:avLst/>
            </a:prstGeom>
            <a:solidFill>
              <a:schemeClr val="bg1"/>
            </a:solidFill>
            <a:ln w="12700">
              <a:solidFill>
                <a:srgbClr val="000000"/>
              </a:solidFill>
              <a:round/>
              <a:headEnd/>
              <a:tailEnd/>
            </a:ln>
            <a:effectLst>
              <a:outerShdw blurRad="50800" dist="38100" dir="2700000" algn="tl" rotWithShape="0">
                <a:srgbClr val="808080">
                  <a:alpha val="42999"/>
                </a:srgbClr>
              </a:outerShdw>
            </a:effectLst>
          </p:spPr>
          <p:txBody>
            <a:bodyPr/>
            <a:lstStyle/>
            <a:p>
              <a:endParaRPr lang="en-US" sz="1620"/>
            </a:p>
          </p:txBody>
        </p:sp>
        <p:sp>
          <p:nvSpPr>
            <p:cNvPr id="106" name="Rectangle 105"/>
            <p:cNvSpPr>
              <a:spLocks noChangeAspect="1"/>
            </p:cNvSpPr>
            <p:nvPr/>
          </p:nvSpPr>
          <p:spPr bwMode="auto">
            <a:xfrm>
              <a:off x="4013200" y="2590512"/>
              <a:ext cx="914400" cy="548928"/>
            </a:xfrm>
            <a:prstGeom prst="rect">
              <a:avLst/>
            </a:prstGeom>
            <a:solidFill>
              <a:schemeClr val="bg1"/>
            </a:solidFill>
            <a:ln w="12700">
              <a:solidFill>
                <a:srgbClr val="000000"/>
              </a:solidFill>
              <a:round/>
              <a:headEnd/>
              <a:tailEnd/>
            </a:ln>
            <a:effectLst>
              <a:outerShdw blurRad="50800" dist="38100" dir="2700000" algn="tl" rotWithShape="0">
                <a:srgbClr val="808080">
                  <a:alpha val="42999"/>
                </a:srgbClr>
              </a:outerShdw>
            </a:effectLst>
          </p:spPr>
          <p:txBody>
            <a:bodyPr/>
            <a:lstStyle/>
            <a:p>
              <a:endParaRPr lang="en-US" sz="1620"/>
            </a:p>
          </p:txBody>
        </p:sp>
      </p:grpSp>
      <p:sp>
        <p:nvSpPr>
          <p:cNvPr id="122903" name="TextBox 106"/>
          <p:cNvSpPr txBox="1">
            <a:spLocks noChangeArrowheads="1"/>
          </p:cNvSpPr>
          <p:nvPr/>
        </p:nvSpPr>
        <p:spPr bwMode="auto">
          <a:xfrm>
            <a:off x="4792980" y="5623560"/>
            <a:ext cx="1303020"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17 points</a:t>
            </a:r>
          </a:p>
        </p:txBody>
      </p:sp>
      <p:sp>
        <p:nvSpPr>
          <p:cNvPr id="122904" name="TextBox 107"/>
          <p:cNvSpPr txBox="1">
            <a:spLocks noChangeArrowheads="1"/>
          </p:cNvSpPr>
          <p:nvPr/>
        </p:nvSpPr>
        <p:spPr bwMode="auto">
          <a:xfrm>
            <a:off x="8839200" y="5623560"/>
            <a:ext cx="1303020"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17 points</a:t>
            </a:r>
          </a:p>
        </p:txBody>
      </p:sp>
      <p:sp>
        <p:nvSpPr>
          <p:cNvPr id="122905" name="TextBox 108"/>
          <p:cNvSpPr txBox="1">
            <a:spLocks noChangeArrowheads="1"/>
          </p:cNvSpPr>
          <p:nvPr/>
        </p:nvSpPr>
        <p:spPr bwMode="auto">
          <a:xfrm>
            <a:off x="6850380" y="5623560"/>
            <a:ext cx="1303020"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17 points</a:t>
            </a:r>
          </a:p>
        </p:txBody>
      </p:sp>
      <p:cxnSp>
        <p:nvCxnSpPr>
          <p:cNvPr id="122906" name="Curved Connector 109"/>
          <p:cNvCxnSpPr>
            <a:cxnSpLocks noChangeShapeType="1"/>
            <a:stCxn id="80" idx="2"/>
            <a:endCxn id="106" idx="1"/>
          </p:cNvCxnSpPr>
          <p:nvPr/>
        </p:nvCxnSpPr>
        <p:spPr bwMode="auto">
          <a:xfrm rot="16200000" flipH="1">
            <a:off x="7008257" y="2873931"/>
            <a:ext cx="2701767" cy="1920240"/>
          </a:xfrm>
          <a:prstGeom prst="curvedConnector2">
            <a:avLst/>
          </a:prstGeom>
          <a:noFill/>
          <a:ln w="38100">
            <a:solidFill>
              <a:srgbClr val="FF0000"/>
            </a:solidFill>
            <a:round/>
            <a:headEnd/>
            <a:tailEnd type="triangle" w="lg" len="lg"/>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0978435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Title 1"/>
          <p:cNvSpPr>
            <a:spLocks noGrp="1"/>
          </p:cNvSpPr>
          <p:nvPr>
            <p:ph type="title"/>
          </p:nvPr>
        </p:nvSpPr>
        <p:spPr>
          <a:xfrm>
            <a:off x="1775747" y="176725"/>
            <a:ext cx="10296918" cy="249008"/>
          </a:xfrm>
        </p:spPr>
        <p:txBody>
          <a:bodyPr/>
          <a:lstStyle/>
          <a:p>
            <a:r>
              <a:rPr lang="en-US" altLang="en-US" dirty="0">
                <a:latin typeface="Arial" panose="020B0604020202020204" pitchFamily="34" charset="0"/>
              </a:rPr>
              <a:t>Rolling </a:t>
            </a:r>
            <a:r>
              <a:rPr lang="en-US" altLang="en-US" dirty="0" err="1">
                <a:latin typeface="Arial" panose="020B0604020202020204" pitchFamily="34" charset="0"/>
              </a:rPr>
              <a:t>lookahead</a:t>
            </a:r>
            <a:r>
              <a:rPr lang="en-US" altLang="en-US" dirty="0">
                <a:latin typeface="Arial" panose="020B0604020202020204" pitchFamily="34" charset="0"/>
              </a:rPr>
              <a:t> planning</a:t>
            </a:r>
          </a:p>
        </p:txBody>
      </p:sp>
      <p:sp>
        <p:nvSpPr>
          <p:cNvPr id="123907" name="TextBox 10"/>
          <p:cNvSpPr txBox="1">
            <a:spLocks noChangeArrowheads="1"/>
          </p:cNvSpPr>
          <p:nvPr/>
        </p:nvSpPr>
        <p:spPr bwMode="auto">
          <a:xfrm rot="16200000">
            <a:off x="5309474" y="2016484"/>
            <a:ext cx="1303020"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Sprint 1</a:t>
            </a:r>
          </a:p>
        </p:txBody>
      </p:sp>
      <p:sp>
        <p:nvSpPr>
          <p:cNvPr id="47" name="Rectangle 46"/>
          <p:cNvSpPr>
            <a:spLocks noChangeArrowheads="1"/>
          </p:cNvSpPr>
          <p:nvPr/>
        </p:nvSpPr>
        <p:spPr bwMode="auto">
          <a:xfrm>
            <a:off x="6233160" y="1234440"/>
            <a:ext cx="2194560" cy="411480"/>
          </a:xfrm>
          <a:prstGeom prst="rect">
            <a:avLst/>
          </a:prstGeom>
          <a:gradFill rotWithShape="1">
            <a:gsLst>
              <a:gs pos="0">
                <a:srgbClr val="ECF0EC"/>
              </a:gs>
              <a:gs pos="64999">
                <a:srgbClr val="CCD8CE"/>
              </a:gs>
              <a:gs pos="100000">
                <a:srgbClr val="B6C8B8"/>
              </a:gs>
            </a:gsLst>
            <a:lin ang="5400000" scaled="1"/>
          </a:gra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solidFill>
                  <a:schemeClr val="tx1"/>
                </a:solidFill>
                <a:latin typeface="Arial" panose="020B0604020202020204" pitchFamily="34" charset="0"/>
                <a:cs typeface="Arial" panose="020B0604020202020204" pitchFamily="34" charset="0"/>
              </a:rPr>
              <a:t>Task</a:t>
            </a:r>
          </a:p>
        </p:txBody>
      </p:sp>
      <p:sp>
        <p:nvSpPr>
          <p:cNvPr id="53" name="Rectangle 52"/>
          <p:cNvSpPr>
            <a:spLocks noChangeArrowheads="1"/>
          </p:cNvSpPr>
          <p:nvPr/>
        </p:nvSpPr>
        <p:spPr bwMode="auto">
          <a:xfrm>
            <a:off x="8427720" y="1234440"/>
            <a:ext cx="1097280" cy="411480"/>
          </a:xfrm>
          <a:prstGeom prst="rect">
            <a:avLst/>
          </a:prstGeom>
          <a:gradFill rotWithShape="1">
            <a:gsLst>
              <a:gs pos="0">
                <a:srgbClr val="ECF0EC"/>
              </a:gs>
              <a:gs pos="64999">
                <a:srgbClr val="CCD8CE"/>
              </a:gs>
              <a:gs pos="100000">
                <a:srgbClr val="B6C8B8"/>
              </a:gs>
            </a:gsLst>
            <a:lin ang="5400000" scaled="1"/>
          </a:gra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solidFill>
                  <a:schemeClr val="tx1"/>
                </a:solidFill>
                <a:latin typeface="Arial" panose="020B0604020202020204" pitchFamily="34" charset="0"/>
                <a:cs typeface="Arial" panose="020B0604020202020204" pitchFamily="34" charset="0"/>
              </a:rPr>
              <a:t>Hours</a:t>
            </a:r>
          </a:p>
        </p:txBody>
      </p:sp>
      <p:grpSp>
        <p:nvGrpSpPr>
          <p:cNvPr id="2" name="Group 87"/>
          <p:cNvGrpSpPr>
            <a:grpSpLocks/>
          </p:cNvGrpSpPr>
          <p:nvPr/>
        </p:nvGrpSpPr>
        <p:grpSpPr bwMode="auto">
          <a:xfrm>
            <a:off x="6233160" y="1645920"/>
            <a:ext cx="3291840" cy="685800"/>
            <a:chOff x="5232400" y="1828800"/>
            <a:chExt cx="3657600" cy="762000"/>
          </a:xfrm>
        </p:grpSpPr>
        <p:sp>
          <p:nvSpPr>
            <p:cNvPr id="54" name="Rectangle 53"/>
            <p:cNvSpPr>
              <a:spLocks noChangeArrowheads="1"/>
            </p:cNvSpPr>
            <p:nvPr/>
          </p:nvSpPr>
          <p:spPr bwMode="auto">
            <a:xfrm>
              <a:off x="7670800" y="1828800"/>
              <a:ext cx="1219200" cy="381000"/>
            </a:xfrm>
            <a:prstGeom prst="rect">
              <a:avLst/>
            </a:prstGeom>
            <a:solidFill>
              <a:schemeClr val="bg1"/>
            </a:soli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solidFill>
                    <a:schemeClr val="tx1"/>
                  </a:solidFill>
                  <a:latin typeface="Arial" panose="020B0604020202020204" pitchFamily="34" charset="0"/>
                  <a:cs typeface="Arial" panose="020B0604020202020204" pitchFamily="34" charset="0"/>
                </a:rPr>
                <a:t>8</a:t>
              </a:r>
            </a:p>
          </p:txBody>
        </p:sp>
        <p:sp>
          <p:nvSpPr>
            <p:cNvPr id="42" name="Rectangle 41"/>
            <p:cNvSpPr>
              <a:spLocks noChangeArrowheads="1"/>
            </p:cNvSpPr>
            <p:nvPr/>
          </p:nvSpPr>
          <p:spPr bwMode="auto">
            <a:xfrm>
              <a:off x="5232400" y="1828800"/>
              <a:ext cx="2438400" cy="381000"/>
            </a:xfrm>
            <a:prstGeom prst="rect">
              <a:avLst/>
            </a:prstGeom>
            <a:solidFill>
              <a:schemeClr val="bg1"/>
            </a:soli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r>
                <a:rPr lang="en-US" altLang="en-US" sz="2160">
                  <a:solidFill>
                    <a:schemeClr val="tx1"/>
                  </a:solidFill>
                  <a:latin typeface="Arial" panose="020B0604020202020204" pitchFamily="34" charset="0"/>
                  <a:cs typeface="Arial" panose="020B0604020202020204" pitchFamily="34" charset="0"/>
                </a:rPr>
                <a:t>Code the …</a:t>
              </a:r>
            </a:p>
          </p:txBody>
        </p:sp>
        <p:sp>
          <p:nvSpPr>
            <p:cNvPr id="55" name="Rectangle 54"/>
            <p:cNvSpPr>
              <a:spLocks noChangeArrowheads="1"/>
            </p:cNvSpPr>
            <p:nvPr/>
          </p:nvSpPr>
          <p:spPr bwMode="auto">
            <a:xfrm>
              <a:off x="5232400" y="2209800"/>
              <a:ext cx="2438400" cy="381000"/>
            </a:xfrm>
            <a:prstGeom prst="rect">
              <a:avLst/>
            </a:prstGeom>
            <a:solidFill>
              <a:schemeClr val="bg1"/>
            </a:soli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r>
                <a:rPr lang="en-US" altLang="en-US" sz="2160">
                  <a:solidFill>
                    <a:schemeClr val="tx1"/>
                  </a:solidFill>
                  <a:latin typeface="Arial" panose="020B0604020202020204" pitchFamily="34" charset="0"/>
                  <a:cs typeface="Arial" panose="020B0604020202020204" pitchFamily="34" charset="0"/>
                </a:rPr>
                <a:t>Test the …</a:t>
              </a:r>
            </a:p>
          </p:txBody>
        </p:sp>
        <p:sp>
          <p:nvSpPr>
            <p:cNvPr id="56" name="Rectangle 55"/>
            <p:cNvSpPr>
              <a:spLocks noChangeArrowheads="1"/>
            </p:cNvSpPr>
            <p:nvPr/>
          </p:nvSpPr>
          <p:spPr bwMode="auto">
            <a:xfrm>
              <a:off x="7670800" y="2209800"/>
              <a:ext cx="1219200" cy="381000"/>
            </a:xfrm>
            <a:prstGeom prst="rect">
              <a:avLst/>
            </a:prstGeom>
            <a:solidFill>
              <a:schemeClr val="bg1"/>
            </a:soli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solidFill>
                    <a:schemeClr val="tx1"/>
                  </a:solidFill>
                  <a:latin typeface="Arial" panose="020B0604020202020204" pitchFamily="34" charset="0"/>
                  <a:cs typeface="Arial" panose="020B0604020202020204" pitchFamily="34" charset="0"/>
                </a:rPr>
                <a:t>16</a:t>
              </a:r>
            </a:p>
          </p:txBody>
        </p:sp>
      </p:grpSp>
      <p:grpSp>
        <p:nvGrpSpPr>
          <p:cNvPr id="3" name="Group 88"/>
          <p:cNvGrpSpPr>
            <a:grpSpLocks/>
          </p:cNvGrpSpPr>
          <p:nvPr/>
        </p:nvGrpSpPr>
        <p:grpSpPr bwMode="auto">
          <a:xfrm>
            <a:off x="6233160" y="2331720"/>
            <a:ext cx="3291840" cy="685800"/>
            <a:chOff x="5232400" y="2590800"/>
            <a:chExt cx="3657600" cy="762000"/>
          </a:xfrm>
        </p:grpSpPr>
        <p:sp>
          <p:nvSpPr>
            <p:cNvPr id="57" name="Rectangle 56"/>
            <p:cNvSpPr>
              <a:spLocks noChangeArrowheads="1"/>
            </p:cNvSpPr>
            <p:nvPr/>
          </p:nvSpPr>
          <p:spPr bwMode="auto">
            <a:xfrm>
              <a:off x="5232400" y="2590800"/>
              <a:ext cx="2438400" cy="381000"/>
            </a:xfrm>
            <a:prstGeom prst="rect">
              <a:avLst/>
            </a:prstGeom>
            <a:solidFill>
              <a:schemeClr val="bg1"/>
            </a:soli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r>
                <a:rPr lang="en-US" altLang="en-US" sz="2160">
                  <a:solidFill>
                    <a:schemeClr val="tx1"/>
                  </a:solidFill>
                  <a:latin typeface="Arial" panose="020B0604020202020204" pitchFamily="34" charset="0"/>
                  <a:cs typeface="Arial" panose="020B0604020202020204" pitchFamily="34" charset="0"/>
                </a:rPr>
                <a:t>Integrate with …</a:t>
              </a:r>
            </a:p>
          </p:txBody>
        </p:sp>
        <p:sp>
          <p:nvSpPr>
            <p:cNvPr id="58" name="Rectangle 57"/>
            <p:cNvSpPr>
              <a:spLocks noChangeArrowheads="1"/>
            </p:cNvSpPr>
            <p:nvPr/>
          </p:nvSpPr>
          <p:spPr bwMode="auto">
            <a:xfrm>
              <a:off x="7670800" y="2590800"/>
              <a:ext cx="1219200" cy="381000"/>
            </a:xfrm>
            <a:prstGeom prst="rect">
              <a:avLst/>
            </a:prstGeom>
            <a:solidFill>
              <a:schemeClr val="bg1"/>
            </a:soli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solidFill>
                    <a:schemeClr val="tx1"/>
                  </a:solidFill>
                  <a:latin typeface="Arial" panose="020B0604020202020204" pitchFamily="34" charset="0"/>
                  <a:cs typeface="Arial" panose="020B0604020202020204" pitchFamily="34" charset="0"/>
                </a:rPr>
                <a:t>5</a:t>
              </a:r>
            </a:p>
          </p:txBody>
        </p:sp>
        <p:sp>
          <p:nvSpPr>
            <p:cNvPr id="59" name="Rectangle 58"/>
            <p:cNvSpPr>
              <a:spLocks noChangeArrowheads="1"/>
            </p:cNvSpPr>
            <p:nvPr/>
          </p:nvSpPr>
          <p:spPr bwMode="auto">
            <a:xfrm>
              <a:off x="5232400" y="2971800"/>
              <a:ext cx="2438400" cy="381000"/>
            </a:xfrm>
            <a:prstGeom prst="rect">
              <a:avLst/>
            </a:prstGeom>
            <a:solidFill>
              <a:schemeClr val="bg1"/>
            </a:soli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r>
                <a:rPr lang="en-US" altLang="en-US" sz="2160">
                  <a:solidFill>
                    <a:schemeClr val="tx1"/>
                  </a:solidFill>
                  <a:latin typeface="Arial" panose="020B0604020202020204" pitchFamily="34" charset="0"/>
                  <a:cs typeface="Arial" panose="020B0604020202020204" pitchFamily="34" charset="0"/>
                </a:rPr>
                <a:t>Code the …</a:t>
              </a:r>
            </a:p>
          </p:txBody>
        </p:sp>
        <p:sp>
          <p:nvSpPr>
            <p:cNvPr id="60" name="Rectangle 59"/>
            <p:cNvSpPr>
              <a:spLocks noChangeArrowheads="1"/>
            </p:cNvSpPr>
            <p:nvPr/>
          </p:nvSpPr>
          <p:spPr bwMode="auto">
            <a:xfrm>
              <a:off x="7670800" y="2971800"/>
              <a:ext cx="1219200" cy="381000"/>
            </a:xfrm>
            <a:prstGeom prst="rect">
              <a:avLst/>
            </a:prstGeom>
            <a:solidFill>
              <a:schemeClr val="bg1"/>
            </a:soli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solidFill>
                    <a:schemeClr val="tx1"/>
                  </a:solidFill>
                  <a:latin typeface="Arial" panose="020B0604020202020204" pitchFamily="34" charset="0"/>
                  <a:cs typeface="Arial" panose="020B0604020202020204" pitchFamily="34" charset="0"/>
                </a:rPr>
                <a:t>8</a:t>
              </a:r>
            </a:p>
          </p:txBody>
        </p:sp>
      </p:grpSp>
      <p:grpSp>
        <p:nvGrpSpPr>
          <p:cNvPr id="4" name="Group 89"/>
          <p:cNvGrpSpPr>
            <a:grpSpLocks/>
          </p:cNvGrpSpPr>
          <p:nvPr/>
        </p:nvGrpSpPr>
        <p:grpSpPr bwMode="auto">
          <a:xfrm>
            <a:off x="6233160" y="3017520"/>
            <a:ext cx="3291840" cy="342900"/>
            <a:chOff x="5232400" y="3352800"/>
            <a:chExt cx="3657600" cy="381000"/>
          </a:xfrm>
        </p:grpSpPr>
        <p:sp>
          <p:nvSpPr>
            <p:cNvPr id="61" name="Rectangle 60"/>
            <p:cNvSpPr>
              <a:spLocks noChangeArrowheads="1"/>
            </p:cNvSpPr>
            <p:nvPr/>
          </p:nvSpPr>
          <p:spPr bwMode="auto">
            <a:xfrm>
              <a:off x="5232400" y="3352800"/>
              <a:ext cx="2438400" cy="381000"/>
            </a:xfrm>
            <a:prstGeom prst="rect">
              <a:avLst/>
            </a:prstGeom>
            <a:solidFill>
              <a:schemeClr val="bg1"/>
            </a:soli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r>
                <a:rPr lang="en-US" altLang="en-US" sz="2160">
                  <a:solidFill>
                    <a:schemeClr val="tx1"/>
                  </a:solidFill>
                  <a:latin typeface="Arial" panose="020B0604020202020204" pitchFamily="34" charset="0"/>
                  <a:cs typeface="Arial" panose="020B0604020202020204" pitchFamily="34" charset="0"/>
                </a:rPr>
                <a:t>Design the …</a:t>
              </a:r>
            </a:p>
          </p:txBody>
        </p:sp>
        <p:sp>
          <p:nvSpPr>
            <p:cNvPr id="62" name="Rectangle 61"/>
            <p:cNvSpPr>
              <a:spLocks noChangeArrowheads="1"/>
            </p:cNvSpPr>
            <p:nvPr/>
          </p:nvSpPr>
          <p:spPr bwMode="auto">
            <a:xfrm>
              <a:off x="7670800" y="3352800"/>
              <a:ext cx="1219200" cy="381000"/>
            </a:xfrm>
            <a:prstGeom prst="rect">
              <a:avLst/>
            </a:prstGeom>
            <a:solidFill>
              <a:schemeClr val="bg1"/>
            </a:soli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solidFill>
                    <a:schemeClr val="tx1"/>
                  </a:solidFill>
                  <a:latin typeface="Arial" panose="020B0604020202020204" pitchFamily="34" charset="0"/>
                  <a:cs typeface="Arial" panose="020B0604020202020204" pitchFamily="34" charset="0"/>
                </a:rPr>
                <a:t>4</a:t>
              </a:r>
            </a:p>
          </p:txBody>
        </p:sp>
      </p:grpSp>
      <p:cxnSp>
        <p:nvCxnSpPr>
          <p:cNvPr id="123913" name="Straight Connector 62"/>
          <p:cNvCxnSpPr>
            <a:cxnSpLocks noChangeShapeType="1"/>
          </p:cNvCxnSpPr>
          <p:nvPr/>
        </p:nvCxnSpPr>
        <p:spPr bwMode="auto">
          <a:xfrm>
            <a:off x="5753100" y="3566160"/>
            <a:ext cx="4074795" cy="8573"/>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cxnSp>
      <p:pic>
        <p:nvPicPr>
          <p:cNvPr id="123914" name="Picture 6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58540" y="2880360"/>
            <a:ext cx="2018824" cy="1165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3915" name="Straight Connector 65"/>
          <p:cNvCxnSpPr>
            <a:cxnSpLocks noChangeShapeType="1"/>
          </p:cNvCxnSpPr>
          <p:nvPr/>
        </p:nvCxnSpPr>
        <p:spPr bwMode="auto">
          <a:xfrm rot="5400000">
            <a:off x="6522482" y="4834176"/>
            <a:ext cx="2537460" cy="1429"/>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cxnSp>
      <p:sp>
        <p:nvSpPr>
          <p:cNvPr id="123916" name="TextBox 67"/>
          <p:cNvSpPr txBox="1">
            <a:spLocks noChangeArrowheads="1"/>
          </p:cNvSpPr>
          <p:nvPr/>
        </p:nvSpPr>
        <p:spPr bwMode="auto">
          <a:xfrm>
            <a:off x="6096000" y="3566160"/>
            <a:ext cx="1303020"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Sprint 2</a:t>
            </a:r>
          </a:p>
        </p:txBody>
      </p:sp>
      <p:sp>
        <p:nvSpPr>
          <p:cNvPr id="123917" name="TextBox 68"/>
          <p:cNvSpPr txBox="1">
            <a:spLocks noChangeArrowheads="1"/>
          </p:cNvSpPr>
          <p:nvPr/>
        </p:nvSpPr>
        <p:spPr bwMode="auto">
          <a:xfrm>
            <a:off x="8221980" y="3566160"/>
            <a:ext cx="1303020"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Sprint 3</a:t>
            </a:r>
          </a:p>
        </p:txBody>
      </p:sp>
      <p:pic>
        <p:nvPicPr>
          <p:cNvPr id="71" name="Picture 70"/>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717703">
            <a:off x="5845969" y="3784759"/>
            <a:ext cx="920115" cy="128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7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717703">
            <a:off x="6600349" y="4196239"/>
            <a:ext cx="920115" cy="128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Picture 7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717703">
            <a:off x="6051709" y="4813459"/>
            <a:ext cx="920115" cy="128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 name="Picture 7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717703">
            <a:off x="8169117" y="4036219"/>
            <a:ext cx="920115" cy="128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 name="Picture 7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717703">
            <a:off x="8512017" y="4401979"/>
            <a:ext cx="920115" cy="128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75"/>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717703">
            <a:off x="8854917" y="4767739"/>
            <a:ext cx="920115" cy="128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717703">
            <a:off x="1996917" y="830104"/>
            <a:ext cx="920115" cy="128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 name="Picture 78"/>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717703">
            <a:off x="2339817" y="1195864"/>
            <a:ext cx="920115" cy="128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 name="Picture 79"/>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717703">
            <a:off x="1996917" y="1653064"/>
            <a:ext cx="920115" cy="128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 name="Picture 80"/>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717703">
            <a:off x="2385537" y="2201704"/>
            <a:ext cx="920115" cy="128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717703">
            <a:off x="1996917" y="2750344"/>
            <a:ext cx="920115" cy="128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Picture 8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717703">
            <a:off x="2339817" y="3116104"/>
            <a:ext cx="920115" cy="128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4" name="Picture 8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717703">
            <a:off x="1996917" y="3573304"/>
            <a:ext cx="920115" cy="128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8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717703">
            <a:off x="2385537" y="4121944"/>
            <a:ext cx="920115" cy="128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 name="Picture 85"/>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717703">
            <a:off x="1996917" y="4670584"/>
            <a:ext cx="920115" cy="128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933" name="Picture 8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717703">
            <a:off x="2385537" y="5219224"/>
            <a:ext cx="920115" cy="128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934" name="Picture 9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717703">
            <a:off x="2522697" y="5356384"/>
            <a:ext cx="920115" cy="128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935" name="Picture 9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717703">
            <a:off x="2659857" y="4888963"/>
            <a:ext cx="920115" cy="128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936" name="Picture 9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717703">
            <a:off x="2408397" y="5609043"/>
            <a:ext cx="920115" cy="128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937" name="Picture 95"/>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717703">
            <a:off x="2545557" y="5681051"/>
            <a:ext cx="920115" cy="128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938" name="Picture 9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717703">
            <a:off x="2682717" y="5717638"/>
            <a:ext cx="920115" cy="128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963222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xit" presetSubtype="0" fill="hold" nodeType="clickEffect">
                                  <p:stCondLst>
                                    <p:cond delay="0"/>
                                  </p:stCondLst>
                                  <p:childTnLst>
                                    <p:animEffect transition="out" filter="fade">
                                      <p:cBhvr>
                                        <p:cTn id="6" dur="2000"/>
                                        <p:tgtEl>
                                          <p:spTgt spid="78"/>
                                        </p:tgtEl>
                                      </p:cBhvr>
                                    </p:animEffect>
                                    <p:set>
                                      <p:cBhvr>
                                        <p:cTn id="7" dur="1" fill="hold">
                                          <p:stCondLst>
                                            <p:cond delay="1999"/>
                                          </p:stCondLst>
                                        </p:cTn>
                                        <p:tgtEl>
                                          <p:spTgt spid="78"/>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2000"/>
                                        <p:tgtEl>
                                          <p:spTgt spid="2"/>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10" presetClass="exit" presetSubtype="0" fill="hold" nodeType="clickEffect">
                                  <p:stCondLst>
                                    <p:cond delay="0"/>
                                  </p:stCondLst>
                                  <p:childTnLst>
                                    <p:animEffect transition="out" filter="fade">
                                      <p:cBhvr>
                                        <p:cTn id="14" dur="2000"/>
                                        <p:tgtEl>
                                          <p:spTgt spid="79"/>
                                        </p:tgtEl>
                                      </p:cBhvr>
                                    </p:animEffect>
                                    <p:set>
                                      <p:cBhvr>
                                        <p:cTn id="15" dur="1" fill="hold">
                                          <p:stCondLst>
                                            <p:cond delay="1999"/>
                                          </p:stCondLst>
                                        </p:cTn>
                                        <p:tgtEl>
                                          <p:spTgt spid="79"/>
                                        </p:tgtEl>
                                        <p:attrNameLst>
                                          <p:attrName>style.visibility</p:attrName>
                                        </p:attrNameLst>
                                      </p:cBhvr>
                                      <p:to>
                                        <p:strVal val="hidden"/>
                                      </p:to>
                                    </p:set>
                                  </p:childTnLst>
                                </p:cTn>
                              </p:par>
                              <p:par>
                                <p:cTn id="16" presetID="10" presetClass="entr" presetSubtype="0" fill="hold" nodeType="with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2000"/>
                                        <p:tgtEl>
                                          <p:spTgt spid="3"/>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10" presetClass="exit" presetSubtype="0" fill="hold" nodeType="clickEffect">
                                  <p:stCondLst>
                                    <p:cond delay="0"/>
                                  </p:stCondLst>
                                  <p:childTnLst>
                                    <p:animEffect transition="out" filter="fade">
                                      <p:cBhvr>
                                        <p:cTn id="22" dur="2000"/>
                                        <p:tgtEl>
                                          <p:spTgt spid="80"/>
                                        </p:tgtEl>
                                      </p:cBhvr>
                                    </p:animEffect>
                                    <p:set>
                                      <p:cBhvr>
                                        <p:cTn id="23" dur="1" fill="hold">
                                          <p:stCondLst>
                                            <p:cond delay="1999"/>
                                          </p:stCondLst>
                                        </p:cTn>
                                        <p:tgtEl>
                                          <p:spTgt spid="80"/>
                                        </p:tgtEl>
                                        <p:attrNameLst>
                                          <p:attrName>style.visibility</p:attrName>
                                        </p:attrNameLst>
                                      </p:cBhvr>
                                      <p:to>
                                        <p:strVal val="hidden"/>
                                      </p:to>
                                    </p:set>
                                  </p:childTnLst>
                                </p:cTn>
                              </p:par>
                              <p:par>
                                <p:cTn id="24" presetID="10" presetClass="entr" presetSubtype="0" fill="hold" nodeType="with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2000"/>
                                        <p:tgtEl>
                                          <p:spTgt spid="4"/>
                                        </p:tgtEl>
                                      </p:cBhvr>
                                    </p:animEffect>
                                  </p:childTnLst>
                                </p:cTn>
                              </p:par>
                            </p:childTnLst>
                          </p:cTn>
                        </p:par>
                      </p:childTnLst>
                    </p:cTn>
                  </p:par>
                  <p:par>
                    <p:cTn id="27" fill="hold" nodeType="clickPar">
                      <p:stCondLst>
                        <p:cond delay="indefinite"/>
                      </p:stCondLst>
                      <p:childTnLst>
                        <p:par>
                          <p:cTn id="28" fill="hold" nodeType="withGroup">
                            <p:stCondLst>
                              <p:cond delay="0"/>
                            </p:stCondLst>
                            <p:childTnLst>
                              <p:par>
                                <p:cTn id="29" presetID="10" presetClass="exit" presetSubtype="0" fill="hold" nodeType="clickEffect">
                                  <p:stCondLst>
                                    <p:cond delay="0"/>
                                  </p:stCondLst>
                                  <p:childTnLst>
                                    <p:animEffect transition="out" filter="fade">
                                      <p:cBhvr>
                                        <p:cTn id="30" dur="1000"/>
                                        <p:tgtEl>
                                          <p:spTgt spid="81"/>
                                        </p:tgtEl>
                                      </p:cBhvr>
                                    </p:animEffect>
                                    <p:set>
                                      <p:cBhvr>
                                        <p:cTn id="31" dur="1" fill="hold">
                                          <p:stCondLst>
                                            <p:cond delay="999"/>
                                          </p:stCondLst>
                                        </p:cTn>
                                        <p:tgtEl>
                                          <p:spTgt spid="81"/>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71"/>
                                        </p:tgtEl>
                                        <p:attrNameLst>
                                          <p:attrName>style.visibility</p:attrName>
                                        </p:attrNameLst>
                                      </p:cBhvr>
                                      <p:to>
                                        <p:strVal val="visible"/>
                                      </p:to>
                                    </p:set>
                                    <p:animEffect transition="in" filter="fade">
                                      <p:cBhvr>
                                        <p:cTn id="34" dur="1000"/>
                                        <p:tgtEl>
                                          <p:spTgt spid="71"/>
                                        </p:tgtEl>
                                      </p:cBhvr>
                                    </p:animEffect>
                                  </p:childTnLst>
                                </p:cTn>
                              </p:par>
                            </p:childTnLst>
                          </p:cTn>
                        </p:par>
                        <p:par>
                          <p:cTn id="35" fill="hold" nodeType="afterGroup">
                            <p:stCondLst>
                              <p:cond delay="1000"/>
                            </p:stCondLst>
                            <p:childTnLst>
                              <p:par>
                                <p:cTn id="36" presetID="10" presetClass="exit" presetSubtype="0" fill="hold" nodeType="afterEffect">
                                  <p:stCondLst>
                                    <p:cond delay="0"/>
                                  </p:stCondLst>
                                  <p:childTnLst>
                                    <p:animEffect transition="out" filter="fade">
                                      <p:cBhvr>
                                        <p:cTn id="37" dur="1000"/>
                                        <p:tgtEl>
                                          <p:spTgt spid="82"/>
                                        </p:tgtEl>
                                      </p:cBhvr>
                                    </p:animEffect>
                                    <p:set>
                                      <p:cBhvr>
                                        <p:cTn id="38" dur="1" fill="hold">
                                          <p:stCondLst>
                                            <p:cond delay="999"/>
                                          </p:stCondLst>
                                        </p:cTn>
                                        <p:tgtEl>
                                          <p:spTgt spid="82"/>
                                        </p:tgtEl>
                                        <p:attrNameLst>
                                          <p:attrName>style.visibility</p:attrName>
                                        </p:attrNameLst>
                                      </p:cBhvr>
                                      <p:to>
                                        <p:strVal val="hidden"/>
                                      </p:to>
                                    </p:set>
                                  </p:childTnLst>
                                </p:cTn>
                              </p:par>
                              <p:par>
                                <p:cTn id="39" presetID="10" presetClass="entr" presetSubtype="0" fill="hold" nodeType="withEffect">
                                  <p:stCondLst>
                                    <p:cond delay="0"/>
                                  </p:stCondLst>
                                  <p:childTnLst>
                                    <p:set>
                                      <p:cBhvr>
                                        <p:cTn id="40" dur="1" fill="hold">
                                          <p:stCondLst>
                                            <p:cond delay="0"/>
                                          </p:stCondLst>
                                        </p:cTn>
                                        <p:tgtEl>
                                          <p:spTgt spid="72"/>
                                        </p:tgtEl>
                                        <p:attrNameLst>
                                          <p:attrName>style.visibility</p:attrName>
                                        </p:attrNameLst>
                                      </p:cBhvr>
                                      <p:to>
                                        <p:strVal val="visible"/>
                                      </p:to>
                                    </p:set>
                                    <p:animEffect transition="in" filter="fade">
                                      <p:cBhvr>
                                        <p:cTn id="41" dur="1000"/>
                                        <p:tgtEl>
                                          <p:spTgt spid="72"/>
                                        </p:tgtEl>
                                      </p:cBhvr>
                                    </p:animEffect>
                                  </p:childTnLst>
                                </p:cTn>
                              </p:par>
                            </p:childTnLst>
                          </p:cTn>
                        </p:par>
                        <p:par>
                          <p:cTn id="42" fill="hold" nodeType="afterGroup">
                            <p:stCondLst>
                              <p:cond delay="2000"/>
                            </p:stCondLst>
                            <p:childTnLst>
                              <p:par>
                                <p:cTn id="43" presetID="10" presetClass="exit" presetSubtype="0" fill="hold" nodeType="afterEffect">
                                  <p:stCondLst>
                                    <p:cond delay="0"/>
                                  </p:stCondLst>
                                  <p:childTnLst>
                                    <p:animEffect transition="out" filter="fade">
                                      <p:cBhvr>
                                        <p:cTn id="44" dur="1000"/>
                                        <p:tgtEl>
                                          <p:spTgt spid="83"/>
                                        </p:tgtEl>
                                      </p:cBhvr>
                                    </p:animEffect>
                                    <p:set>
                                      <p:cBhvr>
                                        <p:cTn id="45" dur="1" fill="hold">
                                          <p:stCondLst>
                                            <p:cond delay="999"/>
                                          </p:stCondLst>
                                        </p:cTn>
                                        <p:tgtEl>
                                          <p:spTgt spid="83"/>
                                        </p:tgtEl>
                                        <p:attrNameLst>
                                          <p:attrName>style.visibility</p:attrName>
                                        </p:attrNameLst>
                                      </p:cBhvr>
                                      <p:to>
                                        <p:strVal val="hidden"/>
                                      </p:to>
                                    </p:set>
                                  </p:childTnLst>
                                </p:cTn>
                              </p:par>
                              <p:par>
                                <p:cTn id="46" presetID="10" presetClass="entr" presetSubtype="0" fill="hold" nodeType="withEffect">
                                  <p:stCondLst>
                                    <p:cond delay="0"/>
                                  </p:stCondLst>
                                  <p:childTnLst>
                                    <p:set>
                                      <p:cBhvr>
                                        <p:cTn id="47" dur="1" fill="hold">
                                          <p:stCondLst>
                                            <p:cond delay="0"/>
                                          </p:stCondLst>
                                        </p:cTn>
                                        <p:tgtEl>
                                          <p:spTgt spid="73"/>
                                        </p:tgtEl>
                                        <p:attrNameLst>
                                          <p:attrName>style.visibility</p:attrName>
                                        </p:attrNameLst>
                                      </p:cBhvr>
                                      <p:to>
                                        <p:strVal val="visible"/>
                                      </p:to>
                                    </p:set>
                                    <p:animEffect transition="in" filter="fade">
                                      <p:cBhvr>
                                        <p:cTn id="48" dur="1000"/>
                                        <p:tgtEl>
                                          <p:spTgt spid="73"/>
                                        </p:tgtEl>
                                      </p:cBhvr>
                                    </p:animEffect>
                                  </p:childTnLst>
                                </p:cTn>
                              </p:par>
                            </p:childTnLst>
                          </p:cTn>
                        </p:par>
                      </p:childTnLst>
                    </p:cTn>
                  </p:par>
                  <p:par>
                    <p:cTn id="49" fill="hold" nodeType="clickPar">
                      <p:stCondLst>
                        <p:cond delay="indefinite"/>
                      </p:stCondLst>
                      <p:childTnLst>
                        <p:par>
                          <p:cTn id="50" fill="hold" nodeType="withGroup">
                            <p:stCondLst>
                              <p:cond delay="0"/>
                            </p:stCondLst>
                            <p:childTnLst>
                              <p:par>
                                <p:cTn id="51" presetID="10" presetClass="exit" presetSubtype="0" fill="hold" nodeType="clickEffect">
                                  <p:stCondLst>
                                    <p:cond delay="0"/>
                                  </p:stCondLst>
                                  <p:childTnLst>
                                    <p:animEffect transition="out" filter="fade">
                                      <p:cBhvr>
                                        <p:cTn id="52" dur="1000"/>
                                        <p:tgtEl>
                                          <p:spTgt spid="84"/>
                                        </p:tgtEl>
                                      </p:cBhvr>
                                    </p:animEffect>
                                    <p:set>
                                      <p:cBhvr>
                                        <p:cTn id="53" dur="1" fill="hold">
                                          <p:stCondLst>
                                            <p:cond delay="999"/>
                                          </p:stCondLst>
                                        </p:cTn>
                                        <p:tgtEl>
                                          <p:spTgt spid="84"/>
                                        </p:tgtEl>
                                        <p:attrNameLst>
                                          <p:attrName>style.visibility</p:attrName>
                                        </p:attrNameLst>
                                      </p:cBhvr>
                                      <p:to>
                                        <p:strVal val="hidden"/>
                                      </p:to>
                                    </p:set>
                                  </p:childTnLst>
                                </p:cTn>
                              </p:par>
                              <p:par>
                                <p:cTn id="54" presetID="10" presetClass="entr" presetSubtype="0" fill="hold" nodeType="withEffect">
                                  <p:stCondLst>
                                    <p:cond delay="0"/>
                                  </p:stCondLst>
                                  <p:childTnLst>
                                    <p:set>
                                      <p:cBhvr>
                                        <p:cTn id="55" dur="1" fill="hold">
                                          <p:stCondLst>
                                            <p:cond delay="0"/>
                                          </p:stCondLst>
                                        </p:cTn>
                                        <p:tgtEl>
                                          <p:spTgt spid="74"/>
                                        </p:tgtEl>
                                        <p:attrNameLst>
                                          <p:attrName>style.visibility</p:attrName>
                                        </p:attrNameLst>
                                      </p:cBhvr>
                                      <p:to>
                                        <p:strVal val="visible"/>
                                      </p:to>
                                    </p:set>
                                    <p:animEffect transition="in" filter="fade">
                                      <p:cBhvr>
                                        <p:cTn id="56" dur="1000"/>
                                        <p:tgtEl>
                                          <p:spTgt spid="74"/>
                                        </p:tgtEl>
                                      </p:cBhvr>
                                    </p:animEffect>
                                  </p:childTnLst>
                                </p:cTn>
                              </p:par>
                            </p:childTnLst>
                          </p:cTn>
                        </p:par>
                        <p:par>
                          <p:cTn id="57" fill="hold" nodeType="afterGroup">
                            <p:stCondLst>
                              <p:cond delay="1000"/>
                            </p:stCondLst>
                            <p:childTnLst>
                              <p:par>
                                <p:cTn id="58" presetID="10" presetClass="exit" presetSubtype="0" fill="hold" nodeType="afterEffect">
                                  <p:stCondLst>
                                    <p:cond delay="0"/>
                                  </p:stCondLst>
                                  <p:childTnLst>
                                    <p:animEffect transition="out" filter="fade">
                                      <p:cBhvr>
                                        <p:cTn id="59" dur="1000"/>
                                        <p:tgtEl>
                                          <p:spTgt spid="85"/>
                                        </p:tgtEl>
                                      </p:cBhvr>
                                    </p:animEffect>
                                    <p:set>
                                      <p:cBhvr>
                                        <p:cTn id="60" dur="1" fill="hold">
                                          <p:stCondLst>
                                            <p:cond delay="999"/>
                                          </p:stCondLst>
                                        </p:cTn>
                                        <p:tgtEl>
                                          <p:spTgt spid="85"/>
                                        </p:tgtEl>
                                        <p:attrNameLst>
                                          <p:attrName>style.visibility</p:attrName>
                                        </p:attrNameLst>
                                      </p:cBhvr>
                                      <p:to>
                                        <p:strVal val="hidden"/>
                                      </p:to>
                                    </p:set>
                                  </p:childTnLst>
                                </p:cTn>
                              </p:par>
                              <p:par>
                                <p:cTn id="61" presetID="10" presetClass="entr" presetSubtype="0" fill="hold" nodeType="withEffect">
                                  <p:stCondLst>
                                    <p:cond delay="0"/>
                                  </p:stCondLst>
                                  <p:childTnLst>
                                    <p:set>
                                      <p:cBhvr>
                                        <p:cTn id="62" dur="1" fill="hold">
                                          <p:stCondLst>
                                            <p:cond delay="0"/>
                                          </p:stCondLst>
                                        </p:cTn>
                                        <p:tgtEl>
                                          <p:spTgt spid="75"/>
                                        </p:tgtEl>
                                        <p:attrNameLst>
                                          <p:attrName>style.visibility</p:attrName>
                                        </p:attrNameLst>
                                      </p:cBhvr>
                                      <p:to>
                                        <p:strVal val="visible"/>
                                      </p:to>
                                    </p:set>
                                    <p:animEffect transition="in" filter="fade">
                                      <p:cBhvr>
                                        <p:cTn id="63" dur="1000"/>
                                        <p:tgtEl>
                                          <p:spTgt spid="75"/>
                                        </p:tgtEl>
                                      </p:cBhvr>
                                    </p:animEffect>
                                  </p:childTnLst>
                                </p:cTn>
                              </p:par>
                            </p:childTnLst>
                          </p:cTn>
                        </p:par>
                        <p:par>
                          <p:cTn id="64" fill="hold" nodeType="afterGroup">
                            <p:stCondLst>
                              <p:cond delay="2000"/>
                            </p:stCondLst>
                            <p:childTnLst>
                              <p:par>
                                <p:cTn id="65" presetID="10" presetClass="exit" presetSubtype="0" fill="hold" nodeType="afterEffect">
                                  <p:stCondLst>
                                    <p:cond delay="0"/>
                                  </p:stCondLst>
                                  <p:childTnLst>
                                    <p:animEffect transition="out" filter="fade">
                                      <p:cBhvr>
                                        <p:cTn id="66" dur="1000"/>
                                        <p:tgtEl>
                                          <p:spTgt spid="86"/>
                                        </p:tgtEl>
                                      </p:cBhvr>
                                    </p:animEffect>
                                    <p:set>
                                      <p:cBhvr>
                                        <p:cTn id="67" dur="1" fill="hold">
                                          <p:stCondLst>
                                            <p:cond delay="999"/>
                                          </p:stCondLst>
                                        </p:cTn>
                                        <p:tgtEl>
                                          <p:spTgt spid="86"/>
                                        </p:tgtEl>
                                        <p:attrNameLst>
                                          <p:attrName>style.visibility</p:attrName>
                                        </p:attrNameLst>
                                      </p:cBhvr>
                                      <p:to>
                                        <p:strVal val="hidden"/>
                                      </p:to>
                                    </p:set>
                                  </p:childTnLst>
                                </p:cTn>
                              </p:par>
                              <p:par>
                                <p:cTn id="68" presetID="10" presetClass="entr" presetSubtype="0" fill="hold" nodeType="withEffect">
                                  <p:stCondLst>
                                    <p:cond delay="0"/>
                                  </p:stCondLst>
                                  <p:childTnLst>
                                    <p:set>
                                      <p:cBhvr>
                                        <p:cTn id="69" dur="1" fill="hold">
                                          <p:stCondLst>
                                            <p:cond delay="0"/>
                                          </p:stCondLst>
                                        </p:cTn>
                                        <p:tgtEl>
                                          <p:spTgt spid="76"/>
                                        </p:tgtEl>
                                        <p:attrNameLst>
                                          <p:attrName>style.visibility</p:attrName>
                                        </p:attrNameLst>
                                      </p:cBhvr>
                                      <p:to>
                                        <p:strVal val="visible"/>
                                      </p:to>
                                    </p:set>
                                    <p:animEffect transition="in" filter="fade">
                                      <p:cBhvr>
                                        <p:cTn id="70" dur="10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endParaRPr lang="en-US"/>
          </a:p>
        </p:txBody>
      </p:sp>
      <p:sp>
        <p:nvSpPr>
          <p:cNvPr id="3" name="Titre 2"/>
          <p:cNvSpPr>
            <a:spLocks noGrp="1"/>
          </p:cNvSpPr>
          <p:nvPr>
            <p:ph type="title"/>
          </p:nvPr>
        </p:nvSpPr>
        <p:spPr/>
        <p:txBody>
          <a:bodyPr/>
          <a:lstStyle/>
          <a:p>
            <a:r>
              <a:rPr lang="fr-FR" dirty="0" err="1"/>
              <a:t>Calling</a:t>
            </a:r>
            <a:r>
              <a:rPr lang="fr-FR" dirty="0"/>
              <a:t> </a:t>
            </a:r>
            <a:r>
              <a:rPr lang="fr-FR" dirty="0" err="1"/>
              <a:t>it</a:t>
            </a:r>
            <a:r>
              <a:rPr lang="fr-FR" dirty="0"/>
              <a:t> ‘</a:t>
            </a:r>
            <a:r>
              <a:rPr lang="fr-FR" dirty="0" err="1"/>
              <a:t>Done</a:t>
            </a:r>
            <a:r>
              <a:rPr lang="fr-FR" dirty="0"/>
              <a:t>’</a:t>
            </a:r>
          </a:p>
        </p:txBody>
      </p:sp>
    </p:spTree>
    <p:extLst>
      <p:ext uri="{BB962C8B-B14F-4D97-AF65-F5344CB8AC3E}">
        <p14:creationId xmlns:p14="http://schemas.microsoft.com/office/powerpoint/2010/main" val="63291086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106</a:t>
            </a:fld>
            <a:endParaRPr lang="en-US" dirty="0"/>
          </a:p>
        </p:txBody>
      </p:sp>
      <p:sp>
        <p:nvSpPr>
          <p:cNvPr id="4" name="Content Placeholder 3"/>
          <p:cNvSpPr>
            <a:spLocks noGrp="1"/>
          </p:cNvSpPr>
          <p:nvPr>
            <p:ph sz="quarter" idx="14"/>
          </p:nvPr>
        </p:nvSpPr>
        <p:spPr>
          <a:xfrm>
            <a:off x="2747628" y="1754814"/>
            <a:ext cx="6426714" cy="3294366"/>
          </a:xfrm>
        </p:spPr>
        <p:txBody>
          <a:bodyPr/>
          <a:lstStyle/>
          <a:p>
            <a:r>
              <a:rPr lang="en-US" sz="1650" dirty="0">
                <a:latin typeface="Gill Sans" charset="0"/>
                <a:ea typeface="ヒラギノ角ゴ Pro W3" charset="-128"/>
                <a:cs typeface="+mn-cs"/>
              </a:rPr>
              <a:t>Am I finished with a feature?</a:t>
            </a:r>
          </a:p>
          <a:p>
            <a:r>
              <a:rPr lang="en-US" sz="1650" dirty="0">
                <a:latin typeface="Gill Sans" charset="0"/>
                <a:ea typeface="ヒラギノ角ゴ Pro W3" charset="-128"/>
                <a:cs typeface="+mn-cs"/>
              </a:rPr>
              <a:t>You are not finished with a feature until it meets the benchmark defined by done. A very simple definition of done can be encapsulated as follows:</a:t>
            </a:r>
          </a:p>
          <a:p>
            <a:endParaRPr lang="en-US" sz="1650" dirty="0">
              <a:latin typeface="Gill Sans" charset="0"/>
              <a:ea typeface="ヒラギノ角ゴ Pro W3" charset="-128"/>
              <a:cs typeface="+mn-cs"/>
            </a:endParaRPr>
          </a:p>
          <a:p>
            <a:pPr marL="257175" indent="-257175">
              <a:buFont typeface="Arial" panose="020B0604020202020204" pitchFamily="34" charset="0"/>
              <a:buChar char="•"/>
            </a:pPr>
            <a:r>
              <a:rPr lang="en-US" sz="1650" dirty="0">
                <a:latin typeface="Gill Sans" charset="0"/>
                <a:ea typeface="ヒラギノ角ゴ Pro W3" charset="-128"/>
                <a:cs typeface="+mn-cs"/>
              </a:rPr>
              <a:t>Code Complete</a:t>
            </a:r>
          </a:p>
          <a:p>
            <a:pPr marL="257175" indent="-257175">
              <a:buFont typeface="Arial" panose="020B0604020202020204" pitchFamily="34" charset="0"/>
              <a:buChar char="•"/>
            </a:pPr>
            <a:r>
              <a:rPr lang="en-US" sz="1650" dirty="0">
                <a:latin typeface="Gill Sans" charset="0"/>
                <a:ea typeface="ヒラギノ角ゴ Pro W3" charset="-128"/>
                <a:cs typeface="+mn-cs"/>
              </a:rPr>
              <a:t>Test Complete</a:t>
            </a:r>
          </a:p>
          <a:p>
            <a:pPr marL="257175" indent="-257175">
              <a:buFont typeface="Arial" panose="020B0604020202020204" pitchFamily="34" charset="0"/>
              <a:buChar char="•"/>
            </a:pPr>
            <a:r>
              <a:rPr lang="en-US" sz="1650" dirty="0">
                <a:latin typeface="Gill Sans" charset="0"/>
                <a:ea typeface="ヒラギノ角ゴ Pro W3" charset="-128"/>
                <a:cs typeface="+mn-cs"/>
              </a:rPr>
              <a:t>Approved by Product Owner</a:t>
            </a:r>
          </a:p>
        </p:txBody>
      </p:sp>
      <p:sp>
        <p:nvSpPr>
          <p:cNvPr id="6" name="Title 5"/>
          <p:cNvSpPr>
            <a:spLocks noGrp="1"/>
          </p:cNvSpPr>
          <p:nvPr>
            <p:ph type="title"/>
          </p:nvPr>
        </p:nvSpPr>
        <p:spPr>
          <a:xfrm>
            <a:off x="2747628" y="980728"/>
            <a:ext cx="8208169" cy="249008"/>
          </a:xfrm>
        </p:spPr>
        <p:txBody>
          <a:bodyPr/>
          <a:lstStyle/>
          <a:p>
            <a:r>
              <a:rPr lang="en-US" b="0" dirty="0"/>
              <a:t>Definition of Done</a:t>
            </a:r>
          </a:p>
        </p:txBody>
      </p:sp>
    </p:spTree>
    <p:extLst>
      <p:ext uri="{BB962C8B-B14F-4D97-AF65-F5344CB8AC3E}">
        <p14:creationId xmlns:p14="http://schemas.microsoft.com/office/powerpoint/2010/main" val="302973367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107</a:t>
            </a:fld>
            <a:endParaRPr lang="en-US" dirty="0"/>
          </a:p>
        </p:txBody>
      </p:sp>
      <p:sp>
        <p:nvSpPr>
          <p:cNvPr id="4" name="Content Placeholder 3"/>
          <p:cNvSpPr>
            <a:spLocks noGrp="1"/>
          </p:cNvSpPr>
          <p:nvPr>
            <p:ph sz="quarter" idx="14"/>
          </p:nvPr>
        </p:nvSpPr>
        <p:spPr>
          <a:xfrm>
            <a:off x="1992001" y="1564356"/>
            <a:ext cx="8208170" cy="3996444"/>
          </a:xfrm>
        </p:spPr>
        <p:txBody>
          <a:bodyPr/>
          <a:lstStyle/>
          <a:p>
            <a:r>
              <a:rPr lang="en-US" sz="900" dirty="0"/>
              <a:t>A potentially shippable product is one that has been designed, developed and tested and is therefore ready for distribution to anyone in the company for review or even to any external stakeholder. Adhering to a list of “done” criteria ensures that the sprint product is truly shippable.</a:t>
            </a:r>
          </a:p>
          <a:p>
            <a:endParaRPr lang="en-US" dirty="0"/>
          </a:p>
        </p:txBody>
      </p:sp>
      <p:sp>
        <p:nvSpPr>
          <p:cNvPr id="6" name="Title 5"/>
          <p:cNvSpPr>
            <a:spLocks noGrp="1"/>
          </p:cNvSpPr>
          <p:nvPr>
            <p:ph type="title"/>
          </p:nvPr>
        </p:nvSpPr>
        <p:spPr>
          <a:xfrm>
            <a:off x="1997831" y="1048192"/>
            <a:ext cx="8208169" cy="249008"/>
          </a:xfrm>
        </p:spPr>
        <p:txBody>
          <a:bodyPr/>
          <a:lstStyle/>
          <a:p>
            <a:r>
              <a:rPr lang="en-US" b="0" dirty="0"/>
              <a:t>Definition of Done</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75720" y="2107289"/>
            <a:ext cx="4587341" cy="3661299"/>
          </a:xfrm>
          <a:prstGeom prst="rect">
            <a:avLst/>
          </a:prstGeom>
        </p:spPr>
      </p:pic>
    </p:spTree>
    <p:extLst>
      <p:ext uri="{BB962C8B-B14F-4D97-AF65-F5344CB8AC3E}">
        <p14:creationId xmlns:p14="http://schemas.microsoft.com/office/powerpoint/2010/main" val="199397071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108</a:t>
            </a:fld>
            <a:endParaRPr lang="en-US" dirty="0"/>
          </a:p>
        </p:txBody>
      </p:sp>
      <p:sp>
        <p:nvSpPr>
          <p:cNvPr id="3" name="Footer Placeholder 2"/>
          <p:cNvSpPr>
            <a:spLocks noGrp="1"/>
          </p:cNvSpPr>
          <p:nvPr>
            <p:ph type="ftr" sz="quarter" idx="15"/>
          </p:nvPr>
        </p:nvSpPr>
        <p:spPr/>
        <p:txBody>
          <a:bodyPr/>
          <a:lstStyle/>
          <a:p>
            <a:r>
              <a:rPr lang="en-US" noProof="0"/>
              <a:t>Title of Presentation | DD.MM.YYYY</a:t>
            </a:r>
            <a:endParaRPr lang="en-US" noProof="0" dirty="0"/>
          </a:p>
        </p:txBody>
      </p:sp>
      <p:sp>
        <p:nvSpPr>
          <p:cNvPr id="4" name="Content Placeholder 3"/>
          <p:cNvSpPr>
            <a:spLocks noGrp="1"/>
          </p:cNvSpPr>
          <p:nvPr>
            <p:ph sz="quarter" idx="14"/>
          </p:nvPr>
        </p:nvSpPr>
        <p:spPr>
          <a:xfrm>
            <a:off x="2478002" y="1954520"/>
            <a:ext cx="5967233" cy="3500412"/>
          </a:xfrm>
        </p:spPr>
        <p:txBody>
          <a:bodyPr/>
          <a:lstStyle/>
          <a:p>
            <a:r>
              <a:rPr lang="en-US" sz="900" i="1" dirty="0">
                <a:solidFill>
                  <a:srgbClr val="0070C0"/>
                </a:solidFill>
              </a:rPr>
              <a:t>User Story Clarity</a:t>
            </a:r>
            <a:br>
              <a:rPr lang="en-US" sz="900" i="1" dirty="0"/>
            </a:br>
            <a:r>
              <a:rPr lang="en-US" sz="900" dirty="0"/>
              <a:t>User stories selected for the sprint are complete with respect to product theme, understood by the team, and have been validated by the detailed acceptance criteria.</a:t>
            </a:r>
          </a:p>
          <a:p>
            <a:r>
              <a:rPr lang="en-US" sz="900" i="1" dirty="0">
                <a:solidFill>
                  <a:srgbClr val="0070C0"/>
                </a:solidFill>
              </a:rPr>
              <a:t>Tasks Identified</a:t>
            </a:r>
            <a:br>
              <a:rPr lang="en-US" sz="900" i="1" dirty="0"/>
            </a:br>
            <a:r>
              <a:rPr lang="en-US" sz="900" dirty="0"/>
              <a:t>Tasks for selected user stories have been identified and estimated by the team.</a:t>
            </a:r>
          </a:p>
          <a:p>
            <a:r>
              <a:rPr lang="en-US" sz="900" dirty="0"/>
              <a:t>These first two topics are typically covered in the sprint planning meeting but are mentioned as done criteria for the sake of verification.</a:t>
            </a:r>
          </a:p>
          <a:p>
            <a:r>
              <a:rPr lang="en-US" sz="900" i="1" dirty="0">
                <a:solidFill>
                  <a:srgbClr val="0070C0"/>
                </a:solidFill>
              </a:rPr>
              <a:t>Build and package changes</a:t>
            </a:r>
            <a:r>
              <a:rPr lang="en-US" sz="900" dirty="0">
                <a:solidFill>
                  <a:srgbClr val="0070C0"/>
                </a:solidFill>
              </a:rPr>
              <a:t> </a:t>
            </a:r>
            <a:br>
              <a:rPr lang="en-US" sz="900" dirty="0"/>
            </a:br>
            <a:r>
              <a:rPr lang="en-US" sz="900" dirty="0"/>
              <a:t>Build and package changes have been communicated to the build master. These changes have been implemented, tested and documented to ensure that they cover the features of the sprint.</a:t>
            </a:r>
          </a:p>
          <a:p>
            <a:r>
              <a:rPr lang="en-US" sz="900" i="1" dirty="0">
                <a:solidFill>
                  <a:srgbClr val="0070C0"/>
                </a:solidFill>
              </a:rPr>
              <a:t>Product owner approval</a:t>
            </a:r>
            <a:br>
              <a:rPr lang="en-US" sz="900" i="1" dirty="0"/>
            </a:br>
            <a:r>
              <a:rPr lang="en-US" sz="900" dirty="0"/>
              <a:t>Each finished user story has been passed through UAT (User Acceptance Testing) and signed off as meeting requirements</a:t>
            </a:r>
          </a:p>
          <a:p>
            <a:r>
              <a:rPr lang="en-US" sz="900" i="1" dirty="0">
                <a:solidFill>
                  <a:srgbClr val="0070C0"/>
                </a:solidFill>
              </a:rPr>
              <a:t>Updating Product Backlog</a:t>
            </a:r>
            <a:br>
              <a:rPr lang="en-US" sz="900" i="1" dirty="0"/>
            </a:br>
            <a:r>
              <a:rPr lang="en-US" sz="900" dirty="0"/>
              <a:t>All features not done during the sprint are added back to the product backlog. All incidents/defects not handled during the sprint are added to the product backlog.</a:t>
            </a:r>
          </a:p>
          <a:p>
            <a:endParaRPr lang="en-US" dirty="0"/>
          </a:p>
        </p:txBody>
      </p:sp>
      <p:sp>
        <p:nvSpPr>
          <p:cNvPr id="5" name="Text Placeholder 4"/>
          <p:cNvSpPr>
            <a:spLocks noGrp="1"/>
          </p:cNvSpPr>
          <p:nvPr>
            <p:ph type="body" sz="quarter" idx="13"/>
          </p:nvPr>
        </p:nvSpPr>
        <p:spPr/>
        <p:txBody>
          <a:bodyPr/>
          <a:lstStyle/>
          <a:p>
            <a:r>
              <a:rPr lang="en-US" dirty="0"/>
              <a:t>Definition of Done</a:t>
            </a:r>
          </a:p>
        </p:txBody>
      </p:sp>
      <p:sp>
        <p:nvSpPr>
          <p:cNvPr id="6" name="Title 5"/>
          <p:cNvSpPr>
            <a:spLocks noGrp="1"/>
          </p:cNvSpPr>
          <p:nvPr>
            <p:ph type="title"/>
          </p:nvPr>
        </p:nvSpPr>
        <p:spPr>
          <a:xfrm>
            <a:off x="1991917" y="1400806"/>
            <a:ext cx="8208169" cy="249008"/>
          </a:xfrm>
        </p:spPr>
        <p:txBody>
          <a:bodyPr/>
          <a:lstStyle/>
          <a:p>
            <a:r>
              <a:rPr lang="en-US" sz="750" b="0" i="1" dirty="0"/>
              <a:t>Column 1</a:t>
            </a:r>
          </a:p>
        </p:txBody>
      </p:sp>
      <p:pic>
        <p:nvPicPr>
          <p:cNvPr id="7" name="Picture 6"/>
          <p:cNvPicPr>
            <a:picLocks noChangeAspect="1"/>
          </p:cNvPicPr>
          <p:nvPr/>
        </p:nvPicPr>
        <p:blipFill>
          <a:blip r:embed="rId2"/>
          <a:stretch>
            <a:fillRect/>
          </a:stretch>
        </p:blipFill>
        <p:spPr>
          <a:xfrm>
            <a:off x="8904870" y="1649814"/>
            <a:ext cx="971550" cy="3257550"/>
          </a:xfrm>
          <a:prstGeom prst="rect">
            <a:avLst/>
          </a:prstGeom>
        </p:spPr>
      </p:pic>
    </p:spTree>
    <p:extLst>
      <p:ext uri="{BB962C8B-B14F-4D97-AF65-F5344CB8AC3E}">
        <p14:creationId xmlns:p14="http://schemas.microsoft.com/office/powerpoint/2010/main" val="345433890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109</a:t>
            </a:fld>
            <a:endParaRPr lang="en-US" dirty="0"/>
          </a:p>
        </p:txBody>
      </p:sp>
      <p:sp>
        <p:nvSpPr>
          <p:cNvPr id="4" name="Content Placeholder 3"/>
          <p:cNvSpPr>
            <a:spLocks noGrp="1"/>
          </p:cNvSpPr>
          <p:nvPr>
            <p:ph sz="quarter" idx="14"/>
          </p:nvPr>
        </p:nvSpPr>
        <p:spPr>
          <a:xfrm>
            <a:off x="1991917" y="1970486"/>
            <a:ext cx="6210318" cy="3618755"/>
          </a:xfrm>
        </p:spPr>
        <p:txBody>
          <a:bodyPr/>
          <a:lstStyle/>
          <a:p>
            <a:r>
              <a:rPr lang="en-US" sz="900" i="1" dirty="0">
                <a:solidFill>
                  <a:srgbClr val="0070C0"/>
                </a:solidFill>
              </a:rPr>
              <a:t>Environment ready</a:t>
            </a:r>
          </a:p>
          <a:p>
            <a:r>
              <a:rPr lang="en-US" sz="900" dirty="0"/>
              <a:t>Development environment is ready with all third-party tools configured.</a:t>
            </a:r>
          </a:p>
          <a:p>
            <a:r>
              <a:rPr lang="en-US" sz="900" dirty="0"/>
              <a:t>Staging environment is ready.</a:t>
            </a:r>
          </a:p>
          <a:p>
            <a:r>
              <a:rPr lang="en-US" sz="900" dirty="0"/>
              <a:t>Continuous integration framework is in place. The build engine is configured to schedule hourly, nightly, and release builds.</a:t>
            </a:r>
          </a:p>
          <a:p>
            <a:r>
              <a:rPr lang="en-US" sz="900" dirty="0"/>
              <a:t>Desired build automation is in place. Why "desired"? Because there is no end to build automation :)</a:t>
            </a:r>
          </a:p>
          <a:p>
            <a:r>
              <a:rPr lang="en-US" sz="900" dirty="0"/>
              <a:t>Test data for the selected features has been created</a:t>
            </a:r>
          </a:p>
          <a:p>
            <a:r>
              <a:rPr lang="en-US" sz="900" i="1" dirty="0">
                <a:solidFill>
                  <a:srgbClr val="0070C0"/>
                </a:solidFill>
              </a:rPr>
              <a:t>Design complete</a:t>
            </a:r>
            <a:br>
              <a:rPr lang="en-US" sz="900" i="1" dirty="0">
                <a:solidFill>
                  <a:srgbClr val="0070C0"/>
                </a:solidFill>
              </a:rPr>
            </a:br>
            <a:r>
              <a:rPr lang="en-US" sz="900" dirty="0"/>
              <a:t>Design analysis is complete as per the user story or theme. UML diagrams are either created or updated for the feature under development. You might need to prototype various components to ensure that they work together.  Wireframes and prototype have been created and approved by the respective stakeholders.</a:t>
            </a:r>
          </a:p>
          <a:p>
            <a:r>
              <a:rPr lang="en-US" sz="900" i="1" dirty="0">
                <a:solidFill>
                  <a:srgbClr val="0070C0"/>
                </a:solidFill>
              </a:rPr>
              <a:t>Unit test cases written</a:t>
            </a:r>
            <a:br>
              <a:rPr lang="en-US" sz="900" i="1" dirty="0">
                <a:solidFill>
                  <a:srgbClr val="0070C0"/>
                </a:solidFill>
              </a:rPr>
            </a:br>
            <a:r>
              <a:rPr lang="en-US" sz="900" dirty="0"/>
              <a:t>Unit test cases have been written for the features to be developed.</a:t>
            </a:r>
          </a:p>
          <a:p>
            <a:r>
              <a:rPr lang="en-US" sz="900" i="1" dirty="0">
                <a:solidFill>
                  <a:srgbClr val="0070C0"/>
                </a:solidFill>
              </a:rPr>
              <a:t>Documentation Ready</a:t>
            </a:r>
            <a:br>
              <a:rPr lang="en-US" sz="900" i="1" dirty="0">
                <a:solidFill>
                  <a:srgbClr val="0070C0"/>
                </a:solidFill>
              </a:rPr>
            </a:br>
            <a:r>
              <a:rPr lang="en-US" sz="900" dirty="0"/>
              <a:t>Documentation (Just enough or whatever the team agrees to) to support the sprint demo is ready</a:t>
            </a:r>
          </a:p>
        </p:txBody>
      </p:sp>
      <p:sp>
        <p:nvSpPr>
          <p:cNvPr id="8" name="Text Placeholder 4"/>
          <p:cNvSpPr>
            <a:spLocks noGrp="1"/>
          </p:cNvSpPr>
          <p:nvPr>
            <p:ph type="body" sz="quarter" idx="13"/>
          </p:nvPr>
        </p:nvSpPr>
        <p:spPr>
          <a:xfrm>
            <a:off x="1991917" y="1106742"/>
            <a:ext cx="8208169" cy="298608"/>
          </a:xfrm>
        </p:spPr>
        <p:txBody>
          <a:bodyPr/>
          <a:lstStyle/>
          <a:p>
            <a:r>
              <a:rPr lang="en-US" dirty="0"/>
              <a:t>Definition of Done</a:t>
            </a:r>
          </a:p>
        </p:txBody>
      </p:sp>
      <p:sp>
        <p:nvSpPr>
          <p:cNvPr id="9" name="Title 5"/>
          <p:cNvSpPr>
            <a:spLocks noGrp="1"/>
          </p:cNvSpPr>
          <p:nvPr>
            <p:ph type="title"/>
          </p:nvPr>
        </p:nvSpPr>
        <p:spPr>
          <a:xfrm>
            <a:off x="1991917" y="1400806"/>
            <a:ext cx="8208169" cy="249008"/>
          </a:xfrm>
        </p:spPr>
        <p:txBody>
          <a:bodyPr/>
          <a:lstStyle/>
          <a:p>
            <a:r>
              <a:rPr lang="en-US" sz="750" b="0" i="1" dirty="0"/>
              <a:t>Column 2</a:t>
            </a:r>
          </a:p>
        </p:txBody>
      </p:sp>
      <p:pic>
        <p:nvPicPr>
          <p:cNvPr id="10" name="Picture 9"/>
          <p:cNvPicPr>
            <a:picLocks noChangeAspect="1"/>
          </p:cNvPicPr>
          <p:nvPr/>
        </p:nvPicPr>
        <p:blipFill>
          <a:blip r:embed="rId2"/>
          <a:stretch>
            <a:fillRect/>
          </a:stretch>
        </p:blipFill>
        <p:spPr>
          <a:xfrm>
            <a:off x="9012326" y="1649815"/>
            <a:ext cx="935831" cy="3250406"/>
          </a:xfrm>
          <a:prstGeom prst="rect">
            <a:avLst/>
          </a:prstGeom>
        </p:spPr>
      </p:pic>
    </p:spTree>
    <p:extLst>
      <p:ext uri="{BB962C8B-B14F-4D97-AF65-F5344CB8AC3E}">
        <p14:creationId xmlns:p14="http://schemas.microsoft.com/office/powerpoint/2010/main" val="27122446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4" descr="2010_State_of_Agile_Development_Survey_Results-8.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05000" y="1585914"/>
            <a:ext cx="8458200" cy="2833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531" name="Group 8"/>
          <p:cNvGrpSpPr>
            <a:grpSpLocks/>
          </p:cNvGrpSpPr>
          <p:nvPr/>
        </p:nvGrpSpPr>
        <p:grpSpPr bwMode="auto">
          <a:xfrm>
            <a:off x="3048000" y="4800600"/>
            <a:ext cx="5943600" cy="1371600"/>
            <a:chOff x="1295400" y="4800600"/>
            <a:chExt cx="5943600" cy="1371600"/>
          </a:xfrm>
        </p:grpSpPr>
        <p:sp>
          <p:nvSpPr>
            <p:cNvPr id="6" name="Rounded Rectangle 5"/>
            <p:cNvSpPr/>
            <p:nvPr/>
          </p:nvSpPr>
          <p:spPr>
            <a:xfrm>
              <a:off x="1295400" y="4800600"/>
              <a:ext cx="5943600" cy="1371600"/>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b="1" dirty="0">
                  <a:solidFill>
                    <a:schemeClr val="tx1"/>
                  </a:solidFill>
                </a:rPr>
                <a:t>Comparison</a:t>
              </a:r>
              <a:br>
                <a:rPr lang="en-US" sz="2400" b="1" dirty="0">
                  <a:solidFill>
                    <a:schemeClr val="tx1"/>
                  </a:solidFill>
                </a:rPr>
              </a:br>
              <a:endParaRPr lang="en-US" sz="2400" b="1" dirty="0">
                <a:solidFill>
                  <a:schemeClr val="tx1"/>
                </a:solidFill>
              </a:endParaRPr>
            </a:p>
            <a:p>
              <a:pPr algn="ctr">
                <a:defRPr/>
              </a:pPr>
              <a:endParaRPr lang="en-US" sz="2400" b="1" dirty="0">
                <a:solidFill>
                  <a:schemeClr val="tx1"/>
                </a:solidFill>
              </a:endParaRPr>
            </a:p>
            <a:p>
              <a:pPr algn="ctr">
                <a:defRPr/>
              </a:pPr>
              <a:endParaRPr lang="en-US" b="1" dirty="0">
                <a:solidFill>
                  <a:schemeClr val="tx1"/>
                </a:solidFill>
              </a:endParaRPr>
            </a:p>
          </p:txBody>
        </p:sp>
        <p:sp>
          <p:nvSpPr>
            <p:cNvPr id="22533" name="TextBox 6"/>
            <p:cNvSpPr txBox="1">
              <a:spLocks noChangeArrowheads="1"/>
            </p:cNvSpPr>
            <p:nvPr/>
          </p:nvSpPr>
          <p:spPr bwMode="auto">
            <a:xfrm>
              <a:off x="2139119" y="5525869"/>
              <a:ext cx="188609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a:t>Average Project:</a:t>
              </a:r>
            </a:p>
            <a:p>
              <a:pPr eaLnBrk="1" hangingPunct="1"/>
              <a:r>
                <a:rPr lang="en-US"/>
                <a:t>Agile Project:</a:t>
              </a:r>
            </a:p>
          </p:txBody>
        </p:sp>
        <p:sp>
          <p:nvSpPr>
            <p:cNvPr id="22534" name="TextBox 7"/>
            <p:cNvSpPr txBox="1">
              <a:spLocks noChangeArrowheads="1"/>
            </p:cNvSpPr>
            <p:nvPr/>
          </p:nvSpPr>
          <p:spPr bwMode="auto">
            <a:xfrm>
              <a:off x="4114800" y="5486400"/>
              <a:ext cx="262123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b="1"/>
                <a:t>30% Success ratio</a:t>
              </a:r>
            </a:p>
            <a:p>
              <a:pPr eaLnBrk="1" hangingPunct="1"/>
              <a:r>
                <a:rPr lang="en-US" b="1"/>
                <a:t>60-80% Success Ratio</a:t>
              </a:r>
            </a:p>
          </p:txBody>
        </p:sp>
      </p:grpSp>
    </p:spTree>
    <p:extLst>
      <p:ext uri="{BB962C8B-B14F-4D97-AF65-F5344CB8AC3E}">
        <p14:creationId xmlns:p14="http://schemas.microsoft.com/office/powerpoint/2010/main" val="239795112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110</a:t>
            </a:fld>
            <a:endParaRPr lang="en-US" dirty="0"/>
          </a:p>
        </p:txBody>
      </p:sp>
      <p:sp>
        <p:nvSpPr>
          <p:cNvPr id="4" name="Content Placeholder 3"/>
          <p:cNvSpPr>
            <a:spLocks noGrp="1"/>
          </p:cNvSpPr>
          <p:nvPr>
            <p:ph sz="quarter" idx="14"/>
          </p:nvPr>
        </p:nvSpPr>
        <p:spPr>
          <a:xfrm>
            <a:off x="1991918" y="1970486"/>
            <a:ext cx="6426341" cy="3456383"/>
          </a:xfrm>
        </p:spPr>
        <p:txBody>
          <a:bodyPr/>
          <a:lstStyle/>
          <a:p>
            <a:r>
              <a:rPr lang="en-US" sz="900" i="1" dirty="0">
                <a:solidFill>
                  <a:srgbClr val="0070C0"/>
                </a:solidFill>
              </a:rPr>
              <a:t>Pre-Release builds</a:t>
            </a:r>
            <a:r>
              <a:rPr lang="en-US" dirty="0"/>
              <a:t> </a:t>
            </a:r>
          </a:p>
          <a:p>
            <a:r>
              <a:rPr lang="en-US" sz="900" dirty="0"/>
              <a:t>Pre release builds (hourly/nightly) have been happening and nightly build reports have been published on regular basis. The following could/should be part of pre-release builds:</a:t>
            </a:r>
          </a:p>
          <a:p>
            <a:r>
              <a:rPr lang="en-US" sz="900" dirty="0"/>
              <a:t>Compile and execute unit test cases (mandatory)</a:t>
            </a:r>
          </a:p>
          <a:p>
            <a:r>
              <a:rPr lang="en-US" sz="900" dirty="0"/>
              <a:t>Creation of cross reference of source code</a:t>
            </a:r>
          </a:p>
          <a:p>
            <a:r>
              <a:rPr lang="en-US" sz="900" dirty="0"/>
              <a:t>Execution of automated code reviews for verification of coding rules</a:t>
            </a:r>
          </a:p>
          <a:p>
            <a:r>
              <a:rPr lang="en-US" sz="900" dirty="0"/>
              <a:t>Code coverage reports are generated</a:t>
            </a:r>
          </a:p>
          <a:p>
            <a:r>
              <a:rPr lang="en-US" sz="900" dirty="0"/>
              <a:t>Detection of duplicate source code</a:t>
            </a:r>
          </a:p>
          <a:p>
            <a:r>
              <a:rPr lang="en-US" sz="900" dirty="0"/>
              <a:t>Dependency analysis and generation of design quality matrix (static analysis, </a:t>
            </a:r>
            <a:r>
              <a:rPr lang="en-US" sz="900" dirty="0" err="1"/>
              <a:t>cyclomatic</a:t>
            </a:r>
            <a:r>
              <a:rPr lang="en-US" sz="900" dirty="0"/>
              <a:t> complexity)</a:t>
            </a:r>
          </a:p>
          <a:p>
            <a:r>
              <a:rPr lang="en-US" sz="900" dirty="0"/>
              <a:t>Auto deployment in staging environment</a:t>
            </a:r>
          </a:p>
          <a:p>
            <a:r>
              <a:rPr lang="en-US" sz="900" dirty="0"/>
              <a:t>It comes down to build automation; there is no end to what can be achieved from automated hourly, nightly builds. The team along with the product owner needs to decide on how much build automation is required.</a:t>
            </a:r>
          </a:p>
          <a:p>
            <a:endParaRPr lang="en-US" dirty="0"/>
          </a:p>
        </p:txBody>
      </p:sp>
      <p:pic>
        <p:nvPicPr>
          <p:cNvPr id="7" name="Picture 6"/>
          <p:cNvPicPr>
            <a:picLocks noChangeAspect="1"/>
          </p:cNvPicPr>
          <p:nvPr/>
        </p:nvPicPr>
        <p:blipFill>
          <a:blip r:embed="rId2"/>
          <a:stretch>
            <a:fillRect/>
          </a:stretch>
        </p:blipFill>
        <p:spPr>
          <a:xfrm>
            <a:off x="9066332" y="1649815"/>
            <a:ext cx="935831" cy="3250406"/>
          </a:xfrm>
          <a:prstGeom prst="rect">
            <a:avLst/>
          </a:prstGeom>
        </p:spPr>
      </p:pic>
      <p:sp>
        <p:nvSpPr>
          <p:cNvPr id="8" name="Text Placeholder 4"/>
          <p:cNvSpPr>
            <a:spLocks noGrp="1"/>
          </p:cNvSpPr>
          <p:nvPr>
            <p:ph type="body" sz="quarter" idx="13"/>
          </p:nvPr>
        </p:nvSpPr>
        <p:spPr>
          <a:xfrm>
            <a:off x="1991917" y="1106742"/>
            <a:ext cx="8208169" cy="298608"/>
          </a:xfrm>
        </p:spPr>
        <p:txBody>
          <a:bodyPr/>
          <a:lstStyle/>
          <a:p>
            <a:r>
              <a:rPr lang="en-US" dirty="0"/>
              <a:t>Definition of Done</a:t>
            </a:r>
          </a:p>
        </p:txBody>
      </p:sp>
      <p:sp>
        <p:nvSpPr>
          <p:cNvPr id="9" name="Title 5"/>
          <p:cNvSpPr>
            <a:spLocks noGrp="1"/>
          </p:cNvSpPr>
          <p:nvPr>
            <p:ph type="title"/>
          </p:nvPr>
        </p:nvSpPr>
        <p:spPr>
          <a:xfrm>
            <a:off x="1991917" y="1400806"/>
            <a:ext cx="8208169" cy="249008"/>
          </a:xfrm>
        </p:spPr>
        <p:txBody>
          <a:bodyPr/>
          <a:lstStyle/>
          <a:p>
            <a:r>
              <a:rPr lang="en-US" sz="750" b="0" i="1" dirty="0"/>
              <a:t>Column 2</a:t>
            </a:r>
          </a:p>
        </p:txBody>
      </p:sp>
    </p:spTree>
    <p:extLst>
      <p:ext uri="{BB962C8B-B14F-4D97-AF65-F5344CB8AC3E}">
        <p14:creationId xmlns:p14="http://schemas.microsoft.com/office/powerpoint/2010/main" val="133199059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111</a:t>
            </a:fld>
            <a:endParaRPr lang="en-US" dirty="0"/>
          </a:p>
        </p:txBody>
      </p:sp>
      <p:sp>
        <p:nvSpPr>
          <p:cNvPr id="4" name="Content Placeholder 3"/>
          <p:cNvSpPr>
            <a:spLocks noGrp="1"/>
          </p:cNvSpPr>
          <p:nvPr>
            <p:ph sz="quarter" idx="14"/>
          </p:nvPr>
        </p:nvSpPr>
        <p:spPr>
          <a:xfrm>
            <a:off x="1991917" y="1970486"/>
            <a:ext cx="5346222" cy="3456383"/>
          </a:xfrm>
        </p:spPr>
        <p:txBody>
          <a:bodyPr/>
          <a:lstStyle/>
          <a:p>
            <a:endParaRPr lang="en-US" sz="900" i="1" dirty="0">
              <a:solidFill>
                <a:srgbClr val="0070C0"/>
              </a:solidFill>
            </a:endParaRPr>
          </a:p>
          <a:p>
            <a:r>
              <a:rPr lang="en-US" sz="900" i="1" dirty="0">
                <a:solidFill>
                  <a:srgbClr val="0070C0"/>
                </a:solidFill>
              </a:rPr>
              <a:t>Code Complete</a:t>
            </a:r>
            <a:br>
              <a:rPr lang="en-US" b="1" i="1" dirty="0"/>
            </a:br>
            <a:r>
              <a:rPr lang="en-US" sz="900" dirty="0"/>
              <a:t>Source code changes are done for all the features in the “to do” list.” Source code has been commented appropriately.</a:t>
            </a:r>
          </a:p>
          <a:p>
            <a:r>
              <a:rPr lang="en-US" sz="900" i="1" dirty="0">
                <a:solidFill>
                  <a:srgbClr val="0070C0"/>
                </a:solidFill>
              </a:rPr>
              <a:t>Unit testing is done</a:t>
            </a:r>
            <a:br>
              <a:rPr lang="en-US" b="1" i="1" dirty="0"/>
            </a:br>
            <a:r>
              <a:rPr lang="en-US" sz="900" dirty="0"/>
              <a:t>Unit test cases have been executed and are working successfully</a:t>
            </a:r>
          </a:p>
          <a:p>
            <a:r>
              <a:rPr lang="en-US" sz="900" i="1" dirty="0">
                <a:solidFill>
                  <a:srgbClr val="0070C0"/>
                </a:solidFill>
              </a:rPr>
              <a:t>Code Refactoring</a:t>
            </a:r>
            <a:br>
              <a:rPr lang="en-US" dirty="0"/>
            </a:br>
            <a:r>
              <a:rPr lang="en-US" sz="900" dirty="0"/>
              <a:t>Source code has been refactored to make it comprehensive, maintainable and, amenable to change.</a:t>
            </a:r>
          </a:p>
          <a:p>
            <a:r>
              <a:rPr lang="en-US" sz="900" dirty="0"/>
              <a:t>A common mistake is to not keep refactoring in the definition of done. If not taken seriously, refactoring normally spills out to next sprint or, worse, is completely ignored.</a:t>
            </a:r>
          </a:p>
          <a:p>
            <a:r>
              <a:rPr lang="en-US" sz="900" i="1" dirty="0">
                <a:solidFill>
                  <a:srgbClr val="0070C0"/>
                </a:solidFill>
              </a:rPr>
              <a:t>Code check-in </a:t>
            </a:r>
            <a:br>
              <a:rPr lang="en-US" dirty="0"/>
            </a:br>
            <a:r>
              <a:rPr lang="en-US" sz="900" dirty="0"/>
              <a:t>Source code is checked in the code library with appropriate comments added.</a:t>
            </a:r>
          </a:p>
          <a:p>
            <a:r>
              <a:rPr lang="en-US" sz="900" dirty="0"/>
              <a:t>If project is using tools which help in maintaining traceability between user stories and the respective source code, proper check-in guidelines are followed.</a:t>
            </a:r>
          </a:p>
          <a:p>
            <a:r>
              <a:rPr lang="en-US" sz="900" i="1" dirty="0">
                <a:solidFill>
                  <a:srgbClr val="0070C0"/>
                </a:solidFill>
              </a:rPr>
              <a:t>Code merging and tagging</a:t>
            </a:r>
            <a:br>
              <a:rPr lang="en-US" b="1" i="1" dirty="0"/>
            </a:br>
            <a:r>
              <a:rPr lang="en-US" sz="900" dirty="0"/>
              <a:t>Finalized source code has been merged with the main branch and tagged appropriately (merging and tagging guidelines are to be used)</a:t>
            </a:r>
          </a:p>
          <a:p>
            <a:endParaRPr lang="en-US" dirty="0"/>
          </a:p>
        </p:txBody>
      </p:sp>
      <p:pic>
        <p:nvPicPr>
          <p:cNvPr id="8" name="Picture 7"/>
          <p:cNvPicPr>
            <a:picLocks noChangeAspect="1"/>
          </p:cNvPicPr>
          <p:nvPr/>
        </p:nvPicPr>
        <p:blipFill>
          <a:blip r:embed="rId2"/>
          <a:stretch>
            <a:fillRect/>
          </a:stretch>
        </p:blipFill>
        <p:spPr>
          <a:xfrm>
            <a:off x="8958318" y="1773167"/>
            <a:ext cx="921544" cy="3257550"/>
          </a:xfrm>
          <a:prstGeom prst="rect">
            <a:avLst/>
          </a:prstGeom>
        </p:spPr>
      </p:pic>
      <p:sp>
        <p:nvSpPr>
          <p:cNvPr id="9" name="Text Placeholder 4"/>
          <p:cNvSpPr>
            <a:spLocks noGrp="1"/>
          </p:cNvSpPr>
          <p:nvPr>
            <p:ph type="body" sz="quarter" idx="13"/>
          </p:nvPr>
        </p:nvSpPr>
        <p:spPr>
          <a:xfrm>
            <a:off x="1991917" y="1106742"/>
            <a:ext cx="8208169" cy="298608"/>
          </a:xfrm>
        </p:spPr>
        <p:txBody>
          <a:bodyPr/>
          <a:lstStyle/>
          <a:p>
            <a:r>
              <a:rPr lang="en-US" dirty="0"/>
              <a:t>Definition of Done</a:t>
            </a:r>
          </a:p>
        </p:txBody>
      </p:sp>
      <p:sp>
        <p:nvSpPr>
          <p:cNvPr id="10" name="Title 5"/>
          <p:cNvSpPr>
            <a:spLocks noGrp="1"/>
          </p:cNvSpPr>
          <p:nvPr>
            <p:ph type="title"/>
          </p:nvPr>
        </p:nvSpPr>
        <p:spPr>
          <a:xfrm>
            <a:off x="1991917" y="1400806"/>
            <a:ext cx="8208169" cy="249008"/>
          </a:xfrm>
        </p:spPr>
        <p:txBody>
          <a:bodyPr/>
          <a:lstStyle/>
          <a:p>
            <a:r>
              <a:rPr lang="en-US" sz="750" b="0" i="1" dirty="0"/>
              <a:t>Column 3</a:t>
            </a:r>
          </a:p>
        </p:txBody>
      </p:sp>
    </p:spTree>
    <p:extLst>
      <p:ext uri="{BB962C8B-B14F-4D97-AF65-F5344CB8AC3E}">
        <p14:creationId xmlns:p14="http://schemas.microsoft.com/office/powerpoint/2010/main" val="98229740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112</a:t>
            </a:fld>
            <a:endParaRPr lang="en-US" dirty="0"/>
          </a:p>
        </p:txBody>
      </p:sp>
      <p:sp>
        <p:nvSpPr>
          <p:cNvPr id="4" name="Content Placeholder 3"/>
          <p:cNvSpPr>
            <a:spLocks noGrp="1"/>
          </p:cNvSpPr>
          <p:nvPr>
            <p:ph sz="quarter" idx="14"/>
          </p:nvPr>
        </p:nvSpPr>
        <p:spPr>
          <a:xfrm>
            <a:off x="1991918" y="1970486"/>
            <a:ext cx="6264323" cy="3456383"/>
          </a:xfrm>
        </p:spPr>
        <p:txBody>
          <a:bodyPr/>
          <a:lstStyle/>
          <a:p>
            <a:r>
              <a:rPr lang="en-US" sz="900" i="1" dirty="0">
                <a:solidFill>
                  <a:srgbClr val="0070C0"/>
                </a:solidFill>
              </a:rPr>
              <a:t>Automated Code reviews</a:t>
            </a:r>
            <a:br>
              <a:rPr lang="en-US" b="1" i="1" dirty="0"/>
            </a:br>
            <a:r>
              <a:rPr lang="en-US" sz="900" dirty="0"/>
              <a:t>Automated code review has been completed using the supported tools/technologies. Violations have been shared with the team and the team has resolved all discrepancies to adhere to the coding standard. (Automated code reviews should be hooked up with CI builds.)</a:t>
            </a:r>
          </a:p>
          <a:p>
            <a:r>
              <a:rPr lang="en-US" sz="900" i="1" dirty="0">
                <a:solidFill>
                  <a:srgbClr val="0070C0"/>
                </a:solidFill>
              </a:rPr>
              <a:t>Peer reviews</a:t>
            </a:r>
            <a:br>
              <a:rPr lang="en-US" dirty="0"/>
            </a:br>
            <a:r>
              <a:rPr lang="en-US" sz="900" dirty="0"/>
              <a:t>Peer reviews are done. If pair programming is used, a separate peer review session might not be required.</a:t>
            </a:r>
          </a:p>
          <a:p>
            <a:r>
              <a:rPr lang="en-US" sz="900" i="1" dirty="0">
                <a:solidFill>
                  <a:srgbClr val="0070C0"/>
                </a:solidFill>
              </a:rPr>
              <a:t>Code coverage is achieved</a:t>
            </a:r>
            <a:br>
              <a:rPr lang="en-US" b="1" i="1" dirty="0"/>
            </a:br>
            <a:r>
              <a:rPr lang="en-US" sz="900" dirty="0"/>
              <a:t>Code coverage records for each package are available and whatever the team has decided as the minimum benchmark is achieved.</a:t>
            </a:r>
          </a:p>
          <a:p>
            <a:r>
              <a:rPr lang="en-US" sz="900" i="1" dirty="0">
                <a:solidFill>
                  <a:srgbClr val="0070C0"/>
                </a:solidFill>
              </a:rPr>
              <a:t>Project metrics are ready</a:t>
            </a:r>
            <a:br>
              <a:rPr lang="en-US" dirty="0"/>
            </a:br>
            <a:r>
              <a:rPr lang="en-US" sz="900" dirty="0"/>
              <a:t>Burndown chart has been updated regularly and is up to date.</a:t>
            </a:r>
          </a:p>
          <a:p>
            <a:r>
              <a:rPr lang="en-US" sz="900" i="1" dirty="0">
                <a:solidFill>
                  <a:srgbClr val="0070C0"/>
                </a:solidFill>
              </a:rPr>
              <a:t>Release Build</a:t>
            </a:r>
          </a:p>
          <a:p>
            <a:r>
              <a:rPr lang="en-US" sz="900" dirty="0"/>
              <a:t>Build and packaging</a:t>
            </a:r>
            <a:br>
              <a:rPr lang="en-US" sz="900" dirty="0"/>
            </a:br>
            <a:r>
              <a:rPr lang="en-US" sz="900" dirty="0"/>
              <a:t>A Build (successful) is done using continuous integration framework. Change log report has been generated from Code Library and Release notes have been created. Deliverables have been moved to release area.</a:t>
            </a:r>
          </a:p>
          <a:p>
            <a:r>
              <a:rPr lang="en-US" sz="900" dirty="0"/>
              <a:t>Build deployment in staging environment</a:t>
            </a:r>
            <a:br>
              <a:rPr lang="en-US" sz="900" dirty="0"/>
            </a:br>
            <a:r>
              <a:rPr lang="en-US" sz="900" dirty="0"/>
              <a:t>Build deliverables are deployed in staging environment. If it is easy, this step should be automated.</a:t>
            </a:r>
          </a:p>
          <a:p>
            <a:endParaRPr lang="en-US" dirty="0"/>
          </a:p>
        </p:txBody>
      </p:sp>
      <p:sp>
        <p:nvSpPr>
          <p:cNvPr id="7" name="Text Placeholder 4"/>
          <p:cNvSpPr>
            <a:spLocks noGrp="1"/>
          </p:cNvSpPr>
          <p:nvPr>
            <p:ph type="body" sz="quarter" idx="13"/>
          </p:nvPr>
        </p:nvSpPr>
        <p:spPr>
          <a:xfrm>
            <a:off x="1991917" y="1106742"/>
            <a:ext cx="8208169" cy="298608"/>
          </a:xfrm>
        </p:spPr>
        <p:txBody>
          <a:bodyPr/>
          <a:lstStyle/>
          <a:p>
            <a:r>
              <a:rPr lang="en-US" dirty="0"/>
              <a:t>Definition of Done</a:t>
            </a:r>
          </a:p>
        </p:txBody>
      </p:sp>
      <p:sp>
        <p:nvSpPr>
          <p:cNvPr id="8" name="Title 5"/>
          <p:cNvSpPr>
            <a:spLocks noGrp="1"/>
          </p:cNvSpPr>
          <p:nvPr>
            <p:ph type="title"/>
          </p:nvPr>
        </p:nvSpPr>
        <p:spPr>
          <a:xfrm>
            <a:off x="1991917" y="1400806"/>
            <a:ext cx="8208169" cy="249008"/>
          </a:xfrm>
        </p:spPr>
        <p:txBody>
          <a:bodyPr/>
          <a:lstStyle/>
          <a:p>
            <a:r>
              <a:rPr lang="en-US" sz="750" b="0" i="1" dirty="0"/>
              <a:t>Column 4</a:t>
            </a:r>
          </a:p>
        </p:txBody>
      </p:sp>
      <p:pic>
        <p:nvPicPr>
          <p:cNvPr id="9" name="Picture 8"/>
          <p:cNvPicPr>
            <a:picLocks noChangeAspect="1"/>
          </p:cNvPicPr>
          <p:nvPr/>
        </p:nvPicPr>
        <p:blipFill>
          <a:blip r:embed="rId2"/>
          <a:stretch>
            <a:fillRect/>
          </a:stretch>
        </p:blipFill>
        <p:spPr>
          <a:xfrm>
            <a:off x="9033506" y="1649814"/>
            <a:ext cx="885825" cy="3399366"/>
          </a:xfrm>
          <a:prstGeom prst="rect">
            <a:avLst/>
          </a:prstGeom>
        </p:spPr>
      </p:pic>
    </p:spTree>
    <p:extLst>
      <p:ext uri="{BB962C8B-B14F-4D97-AF65-F5344CB8AC3E}">
        <p14:creationId xmlns:p14="http://schemas.microsoft.com/office/powerpoint/2010/main" val="319257339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113</a:t>
            </a:fld>
            <a:endParaRPr lang="en-US" dirty="0"/>
          </a:p>
        </p:txBody>
      </p:sp>
      <p:sp>
        <p:nvSpPr>
          <p:cNvPr id="4" name="Content Placeholder 3"/>
          <p:cNvSpPr>
            <a:spLocks noGrp="1"/>
          </p:cNvSpPr>
          <p:nvPr>
            <p:ph sz="quarter" idx="14"/>
          </p:nvPr>
        </p:nvSpPr>
        <p:spPr>
          <a:xfrm>
            <a:off x="2153562" y="1472126"/>
            <a:ext cx="6804756" cy="4117115"/>
          </a:xfrm>
        </p:spPr>
        <p:txBody>
          <a:bodyPr/>
          <a:lstStyle/>
          <a:p>
            <a:r>
              <a:rPr lang="en-US" sz="900" i="1" dirty="0">
                <a:solidFill>
                  <a:srgbClr val="0070C0"/>
                </a:solidFill>
              </a:rPr>
              <a:t>Functional testing done</a:t>
            </a:r>
          </a:p>
          <a:p>
            <a:r>
              <a:rPr lang="en-US" sz="900" dirty="0"/>
              <a:t>Automated testing</a:t>
            </a:r>
            <a:br>
              <a:rPr lang="en-US" sz="900" dirty="0"/>
            </a:br>
            <a:r>
              <a:rPr lang="en-US" sz="900" dirty="0"/>
              <a:t>All types of automated test cases have been executed and a test report has been generated. All incidents/defects are reported.</a:t>
            </a:r>
          </a:p>
          <a:p>
            <a:r>
              <a:rPr lang="en-US" sz="900" i="1" dirty="0">
                <a:solidFill>
                  <a:srgbClr val="0070C0"/>
                </a:solidFill>
              </a:rPr>
              <a:t>Manual testing</a:t>
            </a:r>
            <a:br>
              <a:rPr lang="en-US" dirty="0"/>
            </a:br>
            <a:r>
              <a:rPr lang="en-US" sz="900" dirty="0"/>
              <a:t>Quality assurance team has reviewed the reports generated from automation testing and conducted necessary manual test cases to ensure that tests are passing. All incidents/defects are reported.</a:t>
            </a:r>
          </a:p>
          <a:p>
            <a:r>
              <a:rPr lang="en-US" sz="900" i="1" dirty="0">
                <a:solidFill>
                  <a:srgbClr val="0070C0"/>
                </a:solidFill>
              </a:rPr>
              <a:t>Build issues</a:t>
            </a:r>
            <a:br>
              <a:rPr lang="en-US" dirty="0"/>
            </a:br>
            <a:r>
              <a:rPr lang="en-US" sz="900" dirty="0"/>
              <a:t>If any integration or build issues are found, the necessary steps are repeated and respective “Done” points are adhered to.</a:t>
            </a:r>
          </a:p>
          <a:p>
            <a:r>
              <a:rPr lang="en-US" sz="900" i="1" dirty="0">
                <a:solidFill>
                  <a:srgbClr val="0070C0"/>
                </a:solidFill>
              </a:rPr>
              <a:t>Regression testing done</a:t>
            </a:r>
            <a:br>
              <a:rPr lang="en-US" b="1" i="1" dirty="0"/>
            </a:br>
            <a:r>
              <a:rPr lang="en-US" sz="900" dirty="0"/>
              <a:t>Regression testing is done to ensure that defects have not been introduced in the unchanged area of the software.</a:t>
            </a:r>
          </a:p>
          <a:p>
            <a:r>
              <a:rPr lang="en-US" sz="900" i="1" dirty="0">
                <a:solidFill>
                  <a:srgbClr val="0070C0"/>
                </a:solidFill>
              </a:rPr>
              <a:t>Performance testing done</a:t>
            </a:r>
            <a:br>
              <a:rPr lang="en-US" b="1" i="1" dirty="0"/>
            </a:br>
            <a:r>
              <a:rPr lang="en-US" sz="900" dirty="0"/>
              <a:t>A common mistake is to not keep performance testing in the definition of done. This is an important aspect. Most performance issues are design issues and are hard to fix at a later stage.</a:t>
            </a:r>
          </a:p>
          <a:p>
            <a:r>
              <a:rPr lang="en-US" sz="900" i="1" dirty="0">
                <a:solidFill>
                  <a:srgbClr val="0070C0"/>
                </a:solidFill>
              </a:rPr>
              <a:t>Acceptance testing done</a:t>
            </a:r>
            <a:br>
              <a:rPr lang="en-US" b="1" i="1" dirty="0"/>
            </a:br>
            <a:r>
              <a:rPr lang="en-US" sz="900" dirty="0"/>
              <a:t>Each finished user story has been passed through UAT (User Acceptance Testing) and signed off as meeting requirements</a:t>
            </a:r>
          </a:p>
          <a:p>
            <a:r>
              <a:rPr lang="en-US" sz="900" i="1" dirty="0">
                <a:solidFill>
                  <a:srgbClr val="0070C0"/>
                </a:solidFill>
              </a:rPr>
              <a:t>Closure</a:t>
            </a:r>
            <a:br>
              <a:rPr lang="en-US" dirty="0"/>
            </a:br>
            <a:r>
              <a:rPr lang="en-US" sz="900" dirty="0"/>
              <a:t>All finished user stories/tasks are marked complete/resolved. Remaining hours for task set to zero before closing the task.</a:t>
            </a:r>
          </a:p>
          <a:p>
            <a:r>
              <a:rPr lang="en-US" sz="900" i="1" dirty="0">
                <a:solidFill>
                  <a:srgbClr val="0070C0"/>
                </a:solidFill>
              </a:rPr>
              <a:t>Other necessary/optional activities</a:t>
            </a:r>
            <a:br>
              <a:rPr lang="en-US" dirty="0"/>
            </a:br>
            <a:r>
              <a:rPr lang="en-US" sz="900" dirty="0"/>
              <a:t>Anything which is very specific to the project environment</a:t>
            </a:r>
            <a:br>
              <a:rPr lang="en-US" sz="900" dirty="0"/>
            </a:br>
            <a:r>
              <a:rPr lang="en-US" sz="900" dirty="0"/>
              <a:t>These might include:</a:t>
            </a:r>
            <a:br>
              <a:rPr lang="en-US" sz="900" dirty="0"/>
            </a:br>
            <a:r>
              <a:rPr lang="en-US" sz="900" dirty="0"/>
              <a:t>- Security audit sign off</a:t>
            </a:r>
            <a:br>
              <a:rPr lang="en-US" sz="900" dirty="0"/>
            </a:br>
            <a:r>
              <a:rPr lang="en-US" sz="900" dirty="0"/>
              <a:t>- Deployable on multiple platforms such as Windows, Linux</a:t>
            </a:r>
          </a:p>
          <a:p>
            <a:endParaRPr lang="en-US" dirty="0"/>
          </a:p>
        </p:txBody>
      </p:sp>
      <p:sp>
        <p:nvSpPr>
          <p:cNvPr id="8" name="Text Placeholder 4"/>
          <p:cNvSpPr>
            <a:spLocks noGrp="1"/>
          </p:cNvSpPr>
          <p:nvPr>
            <p:ph type="body" sz="quarter" idx="13"/>
          </p:nvPr>
        </p:nvSpPr>
        <p:spPr>
          <a:xfrm>
            <a:off x="1556470" y="476672"/>
            <a:ext cx="8208169" cy="298608"/>
          </a:xfrm>
        </p:spPr>
        <p:txBody>
          <a:bodyPr/>
          <a:lstStyle/>
          <a:p>
            <a:r>
              <a:rPr lang="en-US" dirty="0"/>
              <a:t>Definition of Done</a:t>
            </a:r>
          </a:p>
        </p:txBody>
      </p:sp>
      <p:sp>
        <p:nvSpPr>
          <p:cNvPr id="9" name="Title 5"/>
          <p:cNvSpPr>
            <a:spLocks noGrp="1"/>
          </p:cNvSpPr>
          <p:nvPr>
            <p:ph type="title"/>
          </p:nvPr>
        </p:nvSpPr>
        <p:spPr>
          <a:xfrm>
            <a:off x="2045551" y="1185367"/>
            <a:ext cx="8208169" cy="249008"/>
          </a:xfrm>
        </p:spPr>
        <p:txBody>
          <a:bodyPr/>
          <a:lstStyle/>
          <a:p>
            <a:r>
              <a:rPr lang="en-US" sz="750" b="0" i="1" dirty="0"/>
              <a:t>Column 5</a:t>
            </a:r>
          </a:p>
        </p:txBody>
      </p:sp>
      <p:pic>
        <p:nvPicPr>
          <p:cNvPr id="10" name="Picture 9"/>
          <p:cNvPicPr>
            <a:picLocks noChangeAspect="1"/>
          </p:cNvPicPr>
          <p:nvPr/>
        </p:nvPicPr>
        <p:blipFill>
          <a:blip r:embed="rId2"/>
          <a:stretch>
            <a:fillRect/>
          </a:stretch>
        </p:blipFill>
        <p:spPr>
          <a:xfrm>
            <a:off x="9268149" y="1516513"/>
            <a:ext cx="992981" cy="3630923"/>
          </a:xfrm>
          <a:prstGeom prst="rect">
            <a:avLst/>
          </a:prstGeom>
        </p:spPr>
      </p:pic>
    </p:spTree>
    <p:extLst>
      <p:ext uri="{BB962C8B-B14F-4D97-AF65-F5344CB8AC3E}">
        <p14:creationId xmlns:p14="http://schemas.microsoft.com/office/powerpoint/2010/main" val="44865944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3"/>
          </p:nvPr>
        </p:nvSpPr>
        <p:spPr/>
        <p:txBody>
          <a:bodyPr/>
          <a:lstStyle/>
          <a:p>
            <a:endParaRPr lang="fr-FR"/>
          </a:p>
        </p:txBody>
      </p:sp>
      <p:sp>
        <p:nvSpPr>
          <p:cNvPr id="3" name="Titre 2"/>
          <p:cNvSpPr>
            <a:spLocks noGrp="1"/>
          </p:cNvSpPr>
          <p:nvPr>
            <p:ph type="title"/>
          </p:nvPr>
        </p:nvSpPr>
        <p:spPr>
          <a:xfrm>
            <a:off x="7296000" y="1772816"/>
            <a:ext cx="4272112" cy="488201"/>
          </a:xfrm>
        </p:spPr>
        <p:txBody>
          <a:bodyPr/>
          <a:lstStyle/>
          <a:p>
            <a:r>
              <a:rPr lang="fr-FR" dirty="0" err="1"/>
              <a:t>Testing</a:t>
            </a:r>
            <a:r>
              <a:rPr lang="fr-FR" dirty="0"/>
              <a:t> in Agile</a:t>
            </a:r>
          </a:p>
        </p:txBody>
      </p:sp>
    </p:spTree>
    <p:extLst>
      <p:ext uri="{BB962C8B-B14F-4D97-AF65-F5344CB8AC3E}">
        <p14:creationId xmlns:p14="http://schemas.microsoft.com/office/powerpoint/2010/main" val="272470843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a:xfrm>
            <a:off x="1916088" y="1264216"/>
            <a:ext cx="8229600" cy="249008"/>
          </a:xfrm>
        </p:spPr>
        <p:txBody>
          <a:bodyPr/>
          <a:lstStyle/>
          <a:p>
            <a:pPr eaLnBrk="1" hangingPunct="1"/>
            <a:r>
              <a:rPr lang="en-US" b="0" dirty="0">
                <a:solidFill>
                  <a:schemeClr val="tx1"/>
                </a:solidFill>
              </a:rPr>
              <a:t>What is Quality?</a:t>
            </a:r>
          </a:p>
        </p:txBody>
      </p:sp>
      <p:sp>
        <p:nvSpPr>
          <p:cNvPr id="4" name="Footer Placeholder 3"/>
          <p:cNvSpPr>
            <a:spLocks noGrp="1"/>
          </p:cNvSpPr>
          <p:nvPr>
            <p:ph type="ftr" sz="quarter" idx="11"/>
          </p:nvPr>
        </p:nvSpPr>
        <p:spPr/>
        <p:txBody>
          <a:bodyPr/>
          <a:lstStyle/>
          <a:p>
            <a:pPr>
              <a:defRPr/>
            </a:pPr>
            <a:endParaRPr lang="en-US" dirty="0"/>
          </a:p>
        </p:txBody>
      </p:sp>
      <p:sp>
        <p:nvSpPr>
          <p:cNvPr id="31748" name="Content Placeholder 2"/>
          <p:cNvSpPr txBox="1">
            <a:spLocks/>
          </p:cNvSpPr>
          <p:nvPr/>
        </p:nvSpPr>
        <p:spPr bwMode="auto">
          <a:xfrm>
            <a:off x="3179676" y="3140968"/>
            <a:ext cx="6516724" cy="2761202"/>
          </a:xfrm>
          <a:prstGeom prst="rect">
            <a:avLst/>
          </a:prstGeom>
          <a:noFill/>
          <a:ln w="9525">
            <a:noFill/>
            <a:miter lim="800000"/>
            <a:headEnd/>
            <a:tailEnd/>
          </a:ln>
        </p:spPr>
        <p:txBody>
          <a:bodyPr anchor="ctr"/>
          <a:lstStyle/>
          <a:p>
            <a:pPr>
              <a:spcBef>
                <a:spcPct val="0"/>
              </a:spcBef>
            </a:pPr>
            <a:r>
              <a:rPr lang="en-US" sz="3000" i="1" dirty="0">
                <a:latin typeface="Calibri" pitchFamily="34" charset="0"/>
              </a:rPr>
              <a:t>“</a:t>
            </a:r>
            <a:r>
              <a:rPr lang="en-US" i="1" dirty="0"/>
              <a:t>Markus </a:t>
            </a:r>
            <a:r>
              <a:rPr lang="en-US" i="1" dirty="0" err="1"/>
              <a:t>Gärtner</a:t>
            </a:r>
            <a:r>
              <a:rPr lang="en-US" i="1" dirty="0"/>
              <a:t> Relevance is relevance </a:t>
            </a:r>
            <a:r>
              <a:rPr lang="en-US" dirty="0"/>
              <a:t>to some person</a:t>
            </a:r>
            <a:r>
              <a:rPr lang="en-US" i="1" dirty="0"/>
              <a:t>, just like quality is quality </a:t>
            </a:r>
            <a:r>
              <a:rPr lang="en-US" dirty="0"/>
              <a:t>to some person</a:t>
            </a:r>
            <a:r>
              <a:rPr lang="en-US" i="1" dirty="0"/>
              <a:t> and hot weather is hot weather </a:t>
            </a:r>
            <a:r>
              <a:rPr lang="en-US" dirty="0"/>
              <a:t>to some person</a:t>
            </a:r>
            <a:r>
              <a:rPr lang="en-US" sz="3000" i="1" dirty="0">
                <a:latin typeface="Calibri" pitchFamily="34" charset="0"/>
              </a:rPr>
              <a:t>.”</a:t>
            </a:r>
            <a:r>
              <a:rPr lang="en-US" sz="3000" dirty="0"/>
              <a:t> </a:t>
            </a:r>
          </a:p>
          <a:p>
            <a:pPr>
              <a:spcBef>
                <a:spcPct val="0"/>
              </a:spcBef>
            </a:pPr>
            <a:endParaRPr lang="en-US" sz="3000" dirty="0"/>
          </a:p>
          <a:p>
            <a:pPr marL="257175" indent="-257175">
              <a:spcBef>
                <a:spcPct val="0"/>
              </a:spcBef>
              <a:buFont typeface="Arial" panose="020B0604020202020204" pitchFamily="34" charset="0"/>
              <a:buChar char="•"/>
            </a:pPr>
            <a:r>
              <a:rPr lang="en-US" sz="1600" dirty="0">
                <a:solidFill>
                  <a:srgbClr val="00B0F0"/>
                </a:solidFill>
              </a:rPr>
              <a:t>Value is context dependent</a:t>
            </a:r>
          </a:p>
          <a:p>
            <a:pPr marL="257175" indent="-257175">
              <a:spcBef>
                <a:spcPct val="0"/>
              </a:spcBef>
              <a:buFont typeface="Arial" panose="020B0604020202020204" pitchFamily="34" charset="0"/>
              <a:buChar char="•"/>
            </a:pPr>
            <a:r>
              <a:rPr lang="en-US" sz="1600" dirty="0">
                <a:solidFill>
                  <a:srgbClr val="00B0F0"/>
                </a:solidFill>
              </a:rPr>
              <a:t>Testing measures that value</a:t>
            </a:r>
          </a:p>
          <a:p>
            <a:pPr>
              <a:spcBef>
                <a:spcPct val="0"/>
              </a:spcBef>
            </a:pPr>
            <a:endParaRPr lang="en-US" sz="3000" dirty="0"/>
          </a:p>
          <a:p>
            <a:pPr>
              <a:spcBef>
                <a:spcPct val="0"/>
              </a:spcBef>
            </a:pPr>
            <a:endParaRPr lang="en-US" sz="3000" dirty="0"/>
          </a:p>
          <a:p>
            <a:pPr algn="ctr">
              <a:spcBef>
                <a:spcPct val="20000"/>
              </a:spcBef>
            </a:pPr>
            <a:endParaRPr lang="en-US" sz="3000" b="1" i="1" dirty="0">
              <a:latin typeface="Calibri" pitchFamily="34" charset="0"/>
            </a:endParaRPr>
          </a:p>
          <a:p>
            <a:pPr>
              <a:spcBef>
                <a:spcPct val="20000"/>
              </a:spcBef>
              <a:buFont typeface="Arial" charset="0"/>
              <a:buNone/>
            </a:pPr>
            <a:endParaRPr lang="en-US" sz="2100" dirty="0">
              <a:latin typeface="Calibri" pitchFamily="34" charset="0"/>
            </a:endParaRPr>
          </a:p>
        </p:txBody>
      </p:sp>
    </p:spTree>
    <p:extLst>
      <p:ext uri="{BB962C8B-B14F-4D97-AF65-F5344CB8AC3E}">
        <p14:creationId xmlns:p14="http://schemas.microsoft.com/office/powerpoint/2010/main" val="4136249828"/>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Content Placeholder 2"/>
          <p:cNvSpPr>
            <a:spLocks noGrp="1"/>
          </p:cNvSpPr>
          <p:nvPr>
            <p:ph idx="1"/>
          </p:nvPr>
        </p:nvSpPr>
        <p:spPr>
          <a:xfrm>
            <a:off x="1981200" y="1219200"/>
            <a:ext cx="8229600" cy="5181600"/>
          </a:xfrm>
        </p:spPr>
        <p:txBody>
          <a:bodyPr>
            <a:normAutofit/>
          </a:bodyPr>
          <a:lstStyle/>
          <a:p>
            <a:r>
              <a:rPr lang="en-US" sz="2000" dirty="0"/>
              <a:t>Method of development which drives the development and design by writing tests before actual implementation.</a:t>
            </a:r>
          </a:p>
          <a:p>
            <a:r>
              <a:rPr lang="en-US" sz="2000" dirty="0"/>
              <a:t>Improved productivity and quality</a:t>
            </a:r>
          </a:p>
          <a:p>
            <a:r>
              <a:rPr lang="en-US" sz="2000" dirty="0"/>
              <a:t>Better design and maintainability</a:t>
            </a:r>
          </a:p>
          <a:p>
            <a:r>
              <a:rPr lang="en-US" sz="2000" dirty="0"/>
              <a:t>Requires lot of discipline and commitment</a:t>
            </a:r>
          </a:p>
        </p:txBody>
      </p:sp>
      <p:pic>
        <p:nvPicPr>
          <p:cNvPr id="33796" name="Picture 2" descr="File:Test-driven developmen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2400" y="3276600"/>
            <a:ext cx="4800600" cy="3443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975470" y="332656"/>
            <a:ext cx="10972800" cy="249008"/>
          </a:xfrm>
        </p:spPr>
        <p:txBody>
          <a:bodyPr/>
          <a:lstStyle/>
          <a:p>
            <a:r>
              <a:rPr lang="en-US" sz="1800" b="0" dirty="0"/>
              <a:t>Engineering Practices - TDD</a:t>
            </a:r>
            <a:endParaRPr lang="en-US" b="0" dirty="0"/>
          </a:p>
        </p:txBody>
      </p:sp>
    </p:spTree>
    <p:extLst>
      <p:ext uri="{BB962C8B-B14F-4D97-AF65-F5344CB8AC3E}">
        <p14:creationId xmlns:p14="http://schemas.microsoft.com/office/powerpoint/2010/main" val="285137777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a:xfrm>
            <a:off x="1343472" y="548680"/>
            <a:ext cx="8229600" cy="249008"/>
          </a:xfrm>
        </p:spPr>
        <p:txBody>
          <a:bodyPr/>
          <a:lstStyle/>
          <a:p>
            <a:pPr eaLnBrk="1" hangingPunct="1"/>
            <a:r>
              <a:rPr lang="en-US" b="0" dirty="0"/>
              <a:t>Agile Testing Success Factors</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341336826"/>
              </p:ext>
            </p:extLst>
          </p:nvPr>
        </p:nvGraphicFramePr>
        <p:xfrm>
          <a:off x="2369586" y="1700808"/>
          <a:ext cx="7614846" cy="44644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0783838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a:xfrm>
            <a:off x="911424" y="476672"/>
            <a:ext cx="8229600" cy="249008"/>
          </a:xfrm>
        </p:spPr>
        <p:txBody>
          <a:bodyPr/>
          <a:lstStyle/>
          <a:p>
            <a:pPr eaLnBrk="1" hangingPunct="1"/>
            <a:r>
              <a:rPr lang="en-US" b="0" dirty="0"/>
              <a:t>Agile</a:t>
            </a:r>
            <a:r>
              <a:rPr lang="en-US" dirty="0"/>
              <a:t> </a:t>
            </a:r>
            <a:r>
              <a:rPr lang="en-US" b="0" dirty="0"/>
              <a:t>Testing Success Factors</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755695974"/>
              </p:ext>
            </p:extLst>
          </p:nvPr>
        </p:nvGraphicFramePr>
        <p:xfrm>
          <a:off x="2369586" y="1700808"/>
          <a:ext cx="7398822" cy="44644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3"/>
          <p:cNvSpPr>
            <a:spLocks noGrp="1"/>
          </p:cNvSpPr>
          <p:nvPr>
            <p:ph type="ftr" sz="quarter" idx="11"/>
          </p:nvPr>
        </p:nvSpPr>
        <p:spPr/>
        <p:txBody>
          <a:bodyPr/>
          <a:lstStyle/>
          <a:p>
            <a:pPr>
              <a:defRPr/>
            </a:pPr>
            <a:endParaRPr lang="en-US" dirty="0"/>
          </a:p>
        </p:txBody>
      </p:sp>
    </p:spTree>
    <p:extLst>
      <p:ext uri="{BB962C8B-B14F-4D97-AF65-F5344CB8AC3E}">
        <p14:creationId xmlns:p14="http://schemas.microsoft.com/office/powerpoint/2010/main" val="25001483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Diagram 11"/>
          <p:cNvGraphicFramePr/>
          <p:nvPr/>
        </p:nvGraphicFramePr>
        <p:xfrm>
          <a:off x="3524250" y="2057400"/>
          <a:ext cx="5314950" cy="31432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172" name="Title 7"/>
          <p:cNvSpPr>
            <a:spLocks noGrp="1"/>
          </p:cNvSpPr>
          <p:nvPr>
            <p:ph type="title"/>
          </p:nvPr>
        </p:nvSpPr>
        <p:spPr>
          <a:xfrm>
            <a:off x="1883533" y="1130524"/>
            <a:ext cx="8208169" cy="249008"/>
          </a:xfrm>
        </p:spPr>
        <p:txBody>
          <a:bodyPr/>
          <a:lstStyle/>
          <a:p>
            <a:pPr eaLnBrk="1" hangingPunct="1"/>
            <a:r>
              <a:rPr lang="en-US" b="0" dirty="0"/>
              <a:t>Traditional Approach - Waterfall</a:t>
            </a:r>
          </a:p>
        </p:txBody>
      </p:sp>
      <p:graphicFrame>
        <p:nvGraphicFramePr>
          <p:cNvPr id="5" name="Content Placeholder 4"/>
          <p:cNvGraphicFramePr>
            <a:graphicFrameLocks noGrp="1"/>
          </p:cNvGraphicFramePr>
          <p:nvPr>
            <p:ph sz="half" idx="2"/>
            <p:extLst>
              <p:ext uri="{D42A27DB-BD31-4B8C-83A1-F6EECF244321}">
                <p14:modId xmlns:p14="http://schemas.microsoft.com/office/powerpoint/2010/main" val="3078042505"/>
              </p:ext>
            </p:extLst>
          </p:nvPr>
        </p:nvGraphicFramePr>
        <p:xfrm>
          <a:off x="2423592" y="1657350"/>
          <a:ext cx="6696744" cy="3931890"/>
        </p:xfrm>
        <a:graphic>
          <a:graphicData uri="http://schemas.openxmlformats.org/drawingml/2006/chart">
            <c:chart xmlns:c="http://schemas.openxmlformats.org/drawingml/2006/chart" xmlns:r="http://schemas.openxmlformats.org/officeDocument/2006/relationships" r:id="rId9"/>
          </a:graphicData>
        </a:graphic>
      </p:graphicFrame>
      <p:sp>
        <p:nvSpPr>
          <p:cNvPr id="2" name="TextBox 1"/>
          <p:cNvSpPr txBox="1"/>
          <p:nvPr/>
        </p:nvSpPr>
        <p:spPr bwMode="gray">
          <a:xfrm>
            <a:off x="9768408" y="1379532"/>
            <a:ext cx="2016224" cy="4154984"/>
          </a:xfrm>
          <a:prstGeom prst="rect">
            <a:avLst/>
          </a:prstGeom>
          <a:noFill/>
        </p:spPr>
        <p:txBody>
          <a:bodyPr wrap="square" lIns="0" tIns="0" rIns="0" bIns="0" rtlCol="0">
            <a:spAutoFit/>
          </a:bodyPr>
          <a:lstStyle/>
          <a:p>
            <a:pPr>
              <a:spcBef>
                <a:spcPts val="300"/>
              </a:spcBef>
              <a:spcAft>
                <a:spcPts val="300"/>
              </a:spcAft>
              <a:buClr>
                <a:schemeClr val="accent1"/>
              </a:buClr>
            </a:pPr>
            <a:r>
              <a:rPr lang="en-US" sz="1200" dirty="0"/>
              <a:t>This is the “perceived wisdom” – the way that we have been taught.</a:t>
            </a:r>
          </a:p>
          <a:p>
            <a:pPr>
              <a:spcBef>
                <a:spcPts val="300"/>
              </a:spcBef>
              <a:spcAft>
                <a:spcPts val="300"/>
              </a:spcAft>
              <a:buClr>
                <a:schemeClr val="accent1"/>
              </a:buClr>
            </a:pPr>
            <a:endParaRPr lang="en-US" sz="1200" dirty="0"/>
          </a:p>
          <a:p>
            <a:pPr>
              <a:spcBef>
                <a:spcPct val="0"/>
              </a:spcBef>
            </a:pPr>
            <a:r>
              <a:rPr lang="en-US" sz="1200" dirty="0"/>
              <a:t>The agile community argues that:</a:t>
            </a:r>
          </a:p>
          <a:p>
            <a:pPr>
              <a:spcBef>
                <a:spcPct val="0"/>
              </a:spcBef>
            </a:pPr>
            <a:endParaRPr lang="en-US" sz="1200" dirty="0"/>
          </a:p>
          <a:p>
            <a:pPr>
              <a:spcBef>
                <a:spcPct val="0"/>
              </a:spcBef>
              <a:buFontTx/>
              <a:buChar char="•"/>
            </a:pPr>
            <a:r>
              <a:rPr lang="en-US" sz="1200" dirty="0"/>
              <a:t> The cost of change curve is as much a result of the process rather than intrinsic to software development</a:t>
            </a:r>
          </a:p>
          <a:p>
            <a:pPr>
              <a:spcBef>
                <a:spcPct val="0"/>
              </a:spcBef>
            </a:pPr>
            <a:endParaRPr lang="en-US" sz="1200" dirty="0"/>
          </a:p>
          <a:p>
            <a:pPr>
              <a:spcBef>
                <a:spcPct val="0"/>
              </a:spcBef>
              <a:buFontTx/>
              <a:buChar char="•"/>
            </a:pPr>
            <a:r>
              <a:rPr lang="en-US" sz="1200" dirty="0"/>
              <a:t> Requirements, analysis &amp; design should be </a:t>
            </a:r>
          </a:p>
          <a:p>
            <a:pPr>
              <a:spcBef>
                <a:spcPts val="300"/>
              </a:spcBef>
              <a:spcAft>
                <a:spcPts val="300"/>
              </a:spcAft>
              <a:buClr>
                <a:schemeClr val="accent1"/>
              </a:buClr>
            </a:pPr>
            <a:endParaRPr lang="en-US" sz="1200" dirty="0"/>
          </a:p>
          <a:p>
            <a:pPr>
              <a:spcBef>
                <a:spcPts val="300"/>
              </a:spcBef>
              <a:spcAft>
                <a:spcPts val="300"/>
              </a:spcAft>
              <a:buClr>
                <a:schemeClr val="accent1"/>
              </a:buCl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a:spcBef>
                <a:spcPts val="300"/>
              </a:spcBef>
              <a:spcAft>
                <a:spcPts val="300"/>
              </a:spcAft>
              <a:buClr>
                <a:schemeClr val="accent1"/>
              </a:buClr>
            </a:pP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spcBef>
                <a:spcPts val="300"/>
              </a:spcBef>
              <a:spcAft>
                <a:spcPts val="300"/>
              </a:spcAft>
              <a:buClr>
                <a:schemeClr val="accent1"/>
              </a:buCl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a:spcBef>
                <a:spcPts val="300"/>
              </a:spcBef>
              <a:spcAft>
                <a:spcPts val="300"/>
              </a:spcAft>
              <a:buClr>
                <a:schemeClr val="accent1"/>
              </a:buClr>
            </a:pPr>
            <a:endParaRPr kumimoji="0" lang="en-US" sz="1200" i="0" u="none" strike="noStrike" kern="1200" cap="none" spc="0" normalizeH="0" baseline="0" noProof="0" dirty="0" err="1">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33251524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
          <p:cNvSpPr>
            <a:spLocks/>
          </p:cNvSpPr>
          <p:nvPr/>
        </p:nvSpPr>
        <p:spPr bwMode="auto">
          <a:xfrm>
            <a:off x="2369587" y="995586"/>
            <a:ext cx="6999573" cy="4593654"/>
          </a:xfrm>
          <a:prstGeom prst="rect">
            <a:avLst/>
          </a:prstGeom>
          <a:blipFill dpi="0" rotWithShape="0">
            <a:blip r:embed="rId2"/>
            <a:srcRect/>
            <a:tile tx="0" ty="0" sx="100000" sy="100000" flip="none" algn="tl"/>
          </a:blipFill>
          <a:ln w="9525">
            <a:solidFill>
              <a:srgbClr val="8E8E8E"/>
            </a:solidFill>
            <a:miter lim="800000"/>
            <a:headEnd/>
            <a:tailEnd/>
          </a:ln>
          <a:effectLst>
            <a:outerShdw blurRad="76200" dist="50800" dir="21480060" algn="ctr" rotWithShape="0">
              <a:schemeClr val="bg2">
                <a:alpha val="39998"/>
              </a:schemeClr>
            </a:outerShdw>
          </a:effectLst>
        </p:spPr>
        <p:txBody>
          <a:bodyPr/>
          <a:lstStyle/>
          <a:p>
            <a:pPr algn="ctr" eaLnBrk="1" hangingPunct="1">
              <a:defRPr/>
            </a:pPr>
            <a:endParaRPr lang="en-US" sz="1350">
              <a:latin typeface="Gill Sans" pitchFamily="80" charset="0"/>
              <a:ea typeface="ヒラギノ角ゴ Pro W3" pitchFamily="80" charset="-128"/>
              <a:sym typeface="Gill Sans" pitchFamily="80" charset="0"/>
            </a:endParaRPr>
          </a:p>
        </p:txBody>
      </p:sp>
      <p:sp>
        <p:nvSpPr>
          <p:cNvPr id="30" name="Oval 3"/>
          <p:cNvSpPr>
            <a:spLocks/>
          </p:cNvSpPr>
          <p:nvPr/>
        </p:nvSpPr>
        <p:spPr bwMode="auto">
          <a:xfrm>
            <a:off x="2796314" y="2564904"/>
            <a:ext cx="3140273" cy="3036316"/>
          </a:xfrm>
          <a:prstGeom prst="ellipse">
            <a:avLst/>
          </a:prstGeom>
          <a:gradFill rotWithShape="0">
            <a:gsLst>
              <a:gs pos="0">
                <a:srgbClr val="2497D4"/>
              </a:gs>
              <a:gs pos="100000">
                <a:srgbClr val="FFFFFF"/>
              </a:gs>
            </a:gsLst>
            <a:lin ang="5400000" scaled="1"/>
          </a:gradFill>
          <a:ln w="25400">
            <a:solidFill>
              <a:schemeClr val="tx1"/>
            </a:solidFill>
            <a:round/>
            <a:headEnd/>
            <a:tailEnd/>
          </a:ln>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31" name="Oval 4"/>
          <p:cNvSpPr>
            <a:spLocks/>
          </p:cNvSpPr>
          <p:nvPr/>
        </p:nvSpPr>
        <p:spPr bwMode="auto">
          <a:xfrm>
            <a:off x="3500568" y="3729261"/>
            <a:ext cx="1657350" cy="1657350"/>
          </a:xfrm>
          <a:prstGeom prst="ellipse">
            <a:avLst/>
          </a:prstGeom>
          <a:gradFill rotWithShape="0">
            <a:gsLst>
              <a:gs pos="0">
                <a:srgbClr val="2497D4"/>
              </a:gs>
              <a:gs pos="100000">
                <a:srgbClr val="FFFFFF"/>
              </a:gs>
            </a:gsLst>
            <a:lin ang="5400000" scaled="1"/>
          </a:gradFill>
          <a:ln w="25400">
            <a:solidFill>
              <a:schemeClr val="tx1"/>
            </a:solidFill>
            <a:round/>
            <a:headEnd/>
            <a:tailEnd/>
          </a:ln>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32" name="Rectangle 5"/>
          <p:cNvSpPr>
            <a:spLocks/>
          </p:cNvSpPr>
          <p:nvPr/>
        </p:nvSpPr>
        <p:spPr bwMode="auto">
          <a:xfrm>
            <a:off x="3329119" y="4563127"/>
            <a:ext cx="5934075" cy="1076325"/>
          </a:xfrm>
          <a:prstGeom prst="rect">
            <a:avLst/>
          </a:prstGeom>
          <a:blipFill dpi="0" rotWithShape="0">
            <a:blip r:embed="rId2"/>
            <a:srcRect/>
            <a:tile tx="0" ty="0" sx="100000" sy="100000" flip="none" algn="tl"/>
          </a:blipFill>
          <a:ln>
            <a:noFill/>
          </a:ln>
          <a:extLst>
            <a:ext uri="{91240B29-F687-4F45-9708-019B960494DF}">
              <a14:hiddenLine xmlns:a14="http://schemas.microsoft.com/office/drawing/2010/main" w="9525">
                <a:solidFill>
                  <a:srgbClr val="8E8E8E"/>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33" name="Rectangle 6"/>
          <p:cNvSpPr>
            <a:spLocks/>
          </p:cNvSpPr>
          <p:nvPr/>
        </p:nvSpPr>
        <p:spPr bwMode="auto">
          <a:xfrm>
            <a:off x="2662369" y="2078851"/>
            <a:ext cx="1482329" cy="3549309"/>
          </a:xfrm>
          <a:prstGeom prst="rect">
            <a:avLst/>
          </a:prstGeom>
          <a:blipFill dpi="0" rotWithShape="0">
            <a:blip r:embed="rId2"/>
            <a:srcRect/>
            <a:tile tx="0" ty="0" sx="100000" sy="100000" flip="none" algn="tl"/>
          </a:blipFill>
          <a:ln>
            <a:noFill/>
          </a:ln>
          <a:extLst>
            <a:ext uri="{91240B29-F687-4F45-9708-019B960494DF}">
              <a14:hiddenLine xmlns:a14="http://schemas.microsoft.com/office/drawing/2010/main" w="9525">
                <a:solidFill>
                  <a:srgbClr val="8E8E8E"/>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34" name="Line 7"/>
          <p:cNvSpPr>
            <a:spLocks noChangeShapeType="1"/>
          </p:cNvSpPr>
          <p:nvPr/>
        </p:nvSpPr>
        <p:spPr bwMode="auto">
          <a:xfrm>
            <a:off x="4185178" y="1965946"/>
            <a:ext cx="0" cy="2736056"/>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35" name="Line 8"/>
          <p:cNvSpPr>
            <a:spLocks noChangeShapeType="1"/>
          </p:cNvSpPr>
          <p:nvPr/>
        </p:nvSpPr>
        <p:spPr bwMode="auto">
          <a:xfrm flipH="1">
            <a:off x="4176843" y="4682952"/>
            <a:ext cx="3105150" cy="0"/>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36" name="Oval 9"/>
          <p:cNvSpPr>
            <a:spLocks/>
          </p:cNvSpPr>
          <p:nvPr/>
        </p:nvSpPr>
        <p:spPr bwMode="auto">
          <a:xfrm>
            <a:off x="5977068" y="1268760"/>
            <a:ext cx="2190750" cy="1993776"/>
          </a:xfrm>
          <a:prstGeom prst="ellipse">
            <a:avLst/>
          </a:prstGeom>
          <a:gradFill rotWithShape="0">
            <a:gsLst>
              <a:gs pos="0">
                <a:srgbClr val="FFFFFF"/>
              </a:gs>
              <a:gs pos="100000">
                <a:srgbClr val="2497D4"/>
              </a:gs>
            </a:gsLst>
            <a:lin ang="5400000" scaled="1"/>
          </a:gradFill>
          <a:ln w="25400">
            <a:solidFill>
              <a:schemeClr val="tx1"/>
            </a:solidFill>
            <a:round/>
            <a:headEnd/>
            <a:tailEnd/>
          </a:ln>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37" name="Rectangle 10"/>
          <p:cNvSpPr>
            <a:spLocks/>
          </p:cNvSpPr>
          <p:nvPr/>
        </p:nvSpPr>
        <p:spPr bwMode="auto">
          <a:xfrm>
            <a:off x="7243893" y="1043212"/>
            <a:ext cx="1447800" cy="4105275"/>
          </a:xfrm>
          <a:prstGeom prst="rect">
            <a:avLst/>
          </a:prstGeom>
          <a:blipFill dpi="0" rotWithShape="0">
            <a:blip r:embed="rId2"/>
            <a:srcRect/>
            <a:tile tx="0" ty="0" sx="100000" sy="100000" flip="none" algn="tl"/>
          </a:blipFill>
          <a:ln>
            <a:noFill/>
          </a:ln>
          <a:extLst>
            <a:ext uri="{91240B29-F687-4F45-9708-019B960494DF}">
              <a14:hiddenLine xmlns:a14="http://schemas.microsoft.com/office/drawing/2010/main" w="9525">
                <a:solidFill>
                  <a:srgbClr val="8E8E8E"/>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39" name="Rectangle 12"/>
          <p:cNvSpPr>
            <a:spLocks/>
          </p:cNvSpPr>
          <p:nvPr/>
        </p:nvSpPr>
        <p:spPr bwMode="auto">
          <a:xfrm>
            <a:off x="4252118" y="4169770"/>
            <a:ext cx="766235"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spAutoFit/>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r>
              <a:rPr lang="en-US" altLang="en-US" sz="1950">
                <a:solidFill>
                  <a:schemeClr val="tx1"/>
                </a:solidFill>
              </a:rPr>
              <a:t>Simple</a:t>
            </a:r>
          </a:p>
        </p:txBody>
      </p:sp>
      <p:sp>
        <p:nvSpPr>
          <p:cNvPr id="40" name="Rectangle 13"/>
          <p:cNvSpPr>
            <a:spLocks/>
          </p:cNvSpPr>
          <p:nvPr/>
        </p:nvSpPr>
        <p:spPr bwMode="auto">
          <a:xfrm>
            <a:off x="4977494" y="2401673"/>
            <a:ext cx="989053"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spAutoFit/>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r>
              <a:rPr lang="en-US" altLang="en-US" sz="1950" dirty="0">
                <a:solidFill>
                  <a:schemeClr val="tx1"/>
                </a:solidFill>
              </a:rPr>
              <a:t>Complex</a:t>
            </a:r>
          </a:p>
        </p:txBody>
      </p:sp>
      <p:sp>
        <p:nvSpPr>
          <p:cNvPr id="41" name="Rectangle 14"/>
          <p:cNvSpPr>
            <a:spLocks/>
          </p:cNvSpPr>
          <p:nvPr/>
        </p:nvSpPr>
        <p:spPr bwMode="auto">
          <a:xfrm>
            <a:off x="6204800" y="2360020"/>
            <a:ext cx="918521"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spAutoFit/>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r>
              <a:rPr lang="en-US" altLang="en-US" sz="1950">
                <a:solidFill>
                  <a:schemeClr val="tx1"/>
                </a:solidFill>
              </a:rPr>
              <a:t>Anarchy</a:t>
            </a:r>
          </a:p>
        </p:txBody>
      </p:sp>
      <p:sp>
        <p:nvSpPr>
          <p:cNvPr id="42" name="Rectangle 15"/>
          <p:cNvSpPr>
            <a:spLocks/>
          </p:cNvSpPr>
          <p:nvPr/>
        </p:nvSpPr>
        <p:spPr bwMode="auto">
          <a:xfrm rot="2509210">
            <a:off x="4395930" y="3561360"/>
            <a:ext cx="1393010"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spAutoFit/>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r>
              <a:rPr lang="en-US" altLang="en-US" sz="1950">
                <a:solidFill>
                  <a:schemeClr val="tx1"/>
                </a:solidFill>
              </a:rPr>
              <a:t>Complicated</a:t>
            </a:r>
          </a:p>
        </p:txBody>
      </p:sp>
      <p:sp>
        <p:nvSpPr>
          <p:cNvPr id="43" name="Rectangle 16"/>
          <p:cNvSpPr>
            <a:spLocks/>
          </p:cNvSpPr>
          <p:nvPr/>
        </p:nvSpPr>
        <p:spPr bwMode="auto">
          <a:xfrm>
            <a:off x="5162926" y="4684120"/>
            <a:ext cx="1267527"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spAutoFit/>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r>
              <a:rPr lang="en-US" altLang="en-US" sz="1950">
                <a:solidFill>
                  <a:schemeClr val="tx1"/>
                </a:solidFill>
              </a:rPr>
              <a:t>Technology</a:t>
            </a:r>
          </a:p>
        </p:txBody>
      </p:sp>
      <p:sp>
        <p:nvSpPr>
          <p:cNvPr id="44" name="Rectangle 17"/>
          <p:cNvSpPr>
            <a:spLocks/>
          </p:cNvSpPr>
          <p:nvPr/>
        </p:nvSpPr>
        <p:spPr bwMode="auto">
          <a:xfrm rot="16200000">
            <a:off x="3225532" y="3168454"/>
            <a:ext cx="1559722"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spAutoFit/>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r>
              <a:rPr lang="en-US" altLang="en-US" sz="1950">
                <a:solidFill>
                  <a:schemeClr val="tx1"/>
                </a:solidFill>
              </a:rPr>
              <a:t>Requirements</a:t>
            </a:r>
          </a:p>
        </p:txBody>
      </p:sp>
      <p:sp>
        <p:nvSpPr>
          <p:cNvPr id="45" name="Rectangle 18"/>
          <p:cNvSpPr>
            <a:spLocks/>
          </p:cNvSpPr>
          <p:nvPr/>
        </p:nvSpPr>
        <p:spPr bwMode="auto">
          <a:xfrm>
            <a:off x="3214037" y="1879180"/>
            <a:ext cx="94256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spAutoFit/>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algn="r" eaLnBrk="1" hangingPunct="1"/>
            <a:r>
              <a:rPr lang="en-US" altLang="en-US" sz="1500" dirty="0">
                <a:solidFill>
                  <a:schemeClr val="tx1"/>
                </a:solidFill>
              </a:rPr>
              <a:t>Far from</a:t>
            </a:r>
          </a:p>
          <a:p>
            <a:pPr algn="r" eaLnBrk="1" hangingPunct="1"/>
            <a:r>
              <a:rPr lang="en-US" altLang="en-US" sz="1500" dirty="0">
                <a:solidFill>
                  <a:schemeClr val="tx1"/>
                </a:solidFill>
              </a:rPr>
              <a:t>Agreement</a:t>
            </a:r>
          </a:p>
        </p:txBody>
      </p:sp>
      <p:sp>
        <p:nvSpPr>
          <p:cNvPr id="46" name="Rectangle 19"/>
          <p:cNvSpPr>
            <a:spLocks/>
          </p:cNvSpPr>
          <p:nvPr/>
        </p:nvSpPr>
        <p:spPr bwMode="auto">
          <a:xfrm>
            <a:off x="3154877" y="4278732"/>
            <a:ext cx="94256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spAutoFit/>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algn="r" eaLnBrk="1" hangingPunct="1"/>
            <a:r>
              <a:rPr lang="en-US" altLang="en-US" sz="1500" dirty="0">
                <a:solidFill>
                  <a:schemeClr val="tx1"/>
                </a:solidFill>
              </a:rPr>
              <a:t>Close to</a:t>
            </a:r>
          </a:p>
          <a:p>
            <a:pPr algn="r" eaLnBrk="1" hangingPunct="1"/>
            <a:r>
              <a:rPr lang="en-US" altLang="en-US" sz="1500" dirty="0">
                <a:solidFill>
                  <a:schemeClr val="tx1"/>
                </a:solidFill>
              </a:rPr>
              <a:t>Agreement</a:t>
            </a:r>
          </a:p>
        </p:txBody>
      </p:sp>
      <p:sp>
        <p:nvSpPr>
          <p:cNvPr id="47" name="Rectangle 20"/>
          <p:cNvSpPr>
            <a:spLocks/>
          </p:cNvSpPr>
          <p:nvPr/>
        </p:nvSpPr>
        <p:spPr bwMode="auto">
          <a:xfrm rot="16200000">
            <a:off x="4023437" y="4865155"/>
            <a:ext cx="77104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spAutoFit/>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algn="r" eaLnBrk="1" hangingPunct="1"/>
            <a:r>
              <a:rPr lang="en-US" altLang="en-US" sz="1500" dirty="0">
                <a:solidFill>
                  <a:schemeClr val="tx1"/>
                </a:solidFill>
              </a:rPr>
              <a:t>Close to</a:t>
            </a:r>
          </a:p>
          <a:p>
            <a:pPr algn="r" eaLnBrk="1" hangingPunct="1"/>
            <a:r>
              <a:rPr lang="en-US" altLang="en-US" sz="1500" dirty="0">
                <a:solidFill>
                  <a:schemeClr val="tx1"/>
                </a:solidFill>
              </a:rPr>
              <a:t>Certainty</a:t>
            </a:r>
          </a:p>
        </p:txBody>
      </p:sp>
      <p:sp>
        <p:nvSpPr>
          <p:cNvPr id="48" name="Rectangle 21"/>
          <p:cNvSpPr>
            <a:spLocks/>
          </p:cNvSpPr>
          <p:nvPr/>
        </p:nvSpPr>
        <p:spPr bwMode="auto">
          <a:xfrm rot="16200000">
            <a:off x="6676206" y="4840860"/>
            <a:ext cx="77104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spAutoFit/>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algn="r" eaLnBrk="1" hangingPunct="1"/>
            <a:r>
              <a:rPr lang="en-US" altLang="en-US" sz="1500">
                <a:solidFill>
                  <a:schemeClr val="tx1"/>
                </a:solidFill>
              </a:rPr>
              <a:t>Far from</a:t>
            </a:r>
          </a:p>
          <a:p>
            <a:pPr algn="r" eaLnBrk="1" hangingPunct="1"/>
            <a:r>
              <a:rPr lang="en-US" altLang="en-US" sz="1500">
                <a:solidFill>
                  <a:schemeClr val="tx1"/>
                </a:solidFill>
              </a:rPr>
              <a:t>Certainty</a:t>
            </a:r>
          </a:p>
        </p:txBody>
      </p:sp>
      <p:sp>
        <p:nvSpPr>
          <p:cNvPr id="49" name="Rectangle 22"/>
          <p:cNvSpPr>
            <a:spLocks/>
          </p:cNvSpPr>
          <p:nvPr/>
        </p:nvSpPr>
        <p:spPr bwMode="auto">
          <a:xfrm>
            <a:off x="9704936" y="1664570"/>
            <a:ext cx="1719656" cy="2805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algn="l" eaLnBrk="1" hangingPunct="1"/>
            <a:r>
              <a:rPr lang="en-US" altLang="en-US" sz="900" dirty="0">
                <a:solidFill>
                  <a:schemeClr val="tx1"/>
                </a:solidFill>
              </a:rPr>
              <a:t>Source: </a:t>
            </a:r>
            <a:r>
              <a:rPr lang="en-US" altLang="en-US" sz="900" i="1" dirty="0">
                <a:solidFill>
                  <a:schemeClr val="tx1"/>
                </a:solidFill>
              </a:rPr>
              <a:t>Strategic Management and Organizational Dynamics</a:t>
            </a:r>
            <a:r>
              <a:rPr lang="en-US" altLang="en-US" sz="900" dirty="0">
                <a:solidFill>
                  <a:schemeClr val="tx1"/>
                </a:solidFill>
              </a:rPr>
              <a:t> by Ralph Stacey in </a:t>
            </a:r>
            <a:r>
              <a:rPr lang="en-US" altLang="en-US" sz="900" i="1" dirty="0">
                <a:solidFill>
                  <a:schemeClr val="tx1"/>
                </a:solidFill>
              </a:rPr>
              <a:t>Agile Software Development with Scrum</a:t>
            </a:r>
            <a:r>
              <a:rPr lang="en-US" altLang="en-US" sz="900" dirty="0">
                <a:solidFill>
                  <a:schemeClr val="tx1"/>
                </a:solidFill>
              </a:rPr>
              <a:t> by Ken </a:t>
            </a:r>
            <a:r>
              <a:rPr lang="en-US" altLang="en-US" sz="900" dirty="0" err="1">
                <a:solidFill>
                  <a:schemeClr val="tx1"/>
                </a:solidFill>
              </a:rPr>
              <a:t>Schwaber</a:t>
            </a:r>
            <a:r>
              <a:rPr lang="en-US" altLang="en-US" sz="900" dirty="0">
                <a:solidFill>
                  <a:schemeClr val="tx1"/>
                </a:solidFill>
              </a:rPr>
              <a:t> and Mike </a:t>
            </a:r>
            <a:r>
              <a:rPr lang="en-US" altLang="en-US" sz="900" dirty="0" err="1">
                <a:solidFill>
                  <a:schemeClr val="tx1"/>
                </a:solidFill>
              </a:rPr>
              <a:t>Beedle</a:t>
            </a:r>
            <a:r>
              <a:rPr lang="en-US" altLang="en-US" sz="900" dirty="0">
                <a:solidFill>
                  <a:schemeClr val="tx1"/>
                </a:solidFill>
              </a:rPr>
              <a:t>.</a:t>
            </a:r>
          </a:p>
        </p:txBody>
      </p:sp>
      <p:sp>
        <p:nvSpPr>
          <p:cNvPr id="23" name="Title 5"/>
          <p:cNvSpPr>
            <a:spLocks noGrp="1"/>
          </p:cNvSpPr>
          <p:nvPr>
            <p:ph type="title"/>
          </p:nvPr>
        </p:nvSpPr>
        <p:spPr>
          <a:xfrm>
            <a:off x="2459833" y="1081514"/>
            <a:ext cx="8208169" cy="249008"/>
          </a:xfrm>
        </p:spPr>
        <p:txBody>
          <a:bodyPr/>
          <a:lstStyle/>
          <a:p>
            <a:r>
              <a:rPr lang="en-US" b="0" dirty="0"/>
              <a:t>Project noise levels..</a:t>
            </a:r>
          </a:p>
        </p:txBody>
      </p:sp>
    </p:spTree>
    <p:extLst>
      <p:ext uri="{BB962C8B-B14F-4D97-AF65-F5344CB8AC3E}">
        <p14:creationId xmlns:p14="http://schemas.microsoft.com/office/powerpoint/2010/main" val="129887749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3348322729"/>
              </p:ext>
            </p:extLst>
          </p:nvPr>
        </p:nvGraphicFramePr>
        <p:xfrm>
          <a:off x="2781300" y="1657350"/>
          <a:ext cx="6000750" cy="3943350"/>
        </p:xfrm>
        <a:graphic>
          <a:graphicData uri="http://schemas.openxmlformats.org/drawingml/2006/chart">
            <c:chart xmlns:c="http://schemas.openxmlformats.org/drawingml/2006/chart" xmlns:r="http://schemas.openxmlformats.org/officeDocument/2006/relationships" r:id="rId3"/>
          </a:graphicData>
        </a:graphic>
      </p:graphicFrame>
      <p:sp>
        <p:nvSpPr>
          <p:cNvPr id="8195" name="Title 7"/>
          <p:cNvSpPr>
            <a:spLocks noGrp="1"/>
          </p:cNvSpPr>
          <p:nvPr>
            <p:ph type="title"/>
          </p:nvPr>
        </p:nvSpPr>
        <p:spPr>
          <a:xfrm>
            <a:off x="1937539" y="1114660"/>
            <a:ext cx="8208169" cy="249008"/>
          </a:xfrm>
        </p:spPr>
        <p:txBody>
          <a:bodyPr/>
          <a:lstStyle/>
          <a:p>
            <a:pPr eaLnBrk="1" hangingPunct="1"/>
            <a:r>
              <a:rPr lang="en-US" b="0" dirty="0"/>
              <a:t>Agile Approach</a:t>
            </a:r>
          </a:p>
        </p:txBody>
      </p:sp>
      <p:graphicFrame>
        <p:nvGraphicFramePr>
          <p:cNvPr id="6" name="Diagram 5"/>
          <p:cNvGraphicFramePr/>
          <p:nvPr>
            <p:extLst>
              <p:ext uri="{D42A27DB-BD31-4B8C-83A1-F6EECF244321}">
                <p14:modId xmlns:p14="http://schemas.microsoft.com/office/powerpoint/2010/main" val="507865878"/>
              </p:ext>
            </p:extLst>
          </p:nvPr>
        </p:nvGraphicFramePr>
        <p:xfrm>
          <a:off x="3863752" y="1556792"/>
          <a:ext cx="5372100" cy="3429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245407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a:xfrm rot="5400000">
            <a:off x="7610475" y="3571875"/>
            <a:ext cx="2914650" cy="342900"/>
          </a:xfrm>
          <a:prstGeom prst="roundRect">
            <a:avLst/>
          </a:prstGeom>
        </p:spPr>
        <p:style>
          <a:lnRef idx="1">
            <a:schemeClr val="accent6"/>
          </a:lnRef>
          <a:fillRef idx="2">
            <a:schemeClr val="accent6"/>
          </a:fillRef>
          <a:effectRef idx="1">
            <a:schemeClr val="accent6"/>
          </a:effectRef>
          <a:fontRef idx="minor">
            <a:schemeClr val="dk1"/>
          </a:fontRef>
        </p:style>
        <p:txBody>
          <a:bodyPr anchor="ctr"/>
          <a:lstStyle/>
          <a:p>
            <a:pPr algn="ctr">
              <a:defRPr/>
            </a:pPr>
            <a:r>
              <a:rPr lang="en-US" sz="1350" dirty="0"/>
              <a:t>Critiques Product</a:t>
            </a:r>
          </a:p>
        </p:txBody>
      </p:sp>
      <p:sp>
        <p:nvSpPr>
          <p:cNvPr id="21" name="Rounded Rectangle 20"/>
          <p:cNvSpPr/>
          <p:nvPr/>
        </p:nvSpPr>
        <p:spPr>
          <a:xfrm rot="16200000">
            <a:off x="1666875" y="3490740"/>
            <a:ext cx="2914650" cy="342900"/>
          </a:xfrm>
          <a:prstGeom prst="roundRect">
            <a:avLst/>
          </a:prstGeom>
        </p:spPr>
        <p:style>
          <a:lnRef idx="1">
            <a:schemeClr val="accent6"/>
          </a:lnRef>
          <a:fillRef idx="2">
            <a:schemeClr val="accent6"/>
          </a:fillRef>
          <a:effectRef idx="1">
            <a:schemeClr val="accent6"/>
          </a:effectRef>
          <a:fontRef idx="minor">
            <a:schemeClr val="dk1"/>
          </a:fontRef>
        </p:style>
        <p:txBody>
          <a:bodyPr anchor="ctr"/>
          <a:lstStyle/>
          <a:p>
            <a:pPr algn="ctr">
              <a:defRPr/>
            </a:pPr>
            <a:r>
              <a:rPr lang="en-US" sz="1350" dirty="0"/>
              <a:t>Supports Development</a:t>
            </a:r>
          </a:p>
        </p:txBody>
      </p:sp>
      <p:sp>
        <p:nvSpPr>
          <p:cNvPr id="40964" name="Title 1"/>
          <p:cNvSpPr>
            <a:spLocks noGrp="1"/>
          </p:cNvSpPr>
          <p:nvPr>
            <p:ph type="title"/>
          </p:nvPr>
        </p:nvSpPr>
        <p:spPr>
          <a:xfrm>
            <a:off x="1847528" y="571526"/>
            <a:ext cx="8229600" cy="249008"/>
          </a:xfrm>
        </p:spPr>
        <p:txBody>
          <a:bodyPr/>
          <a:lstStyle/>
          <a:p>
            <a:pPr eaLnBrk="1" hangingPunct="1"/>
            <a:r>
              <a:rPr lang="en-US" b="0" dirty="0"/>
              <a:t>Brian Marick’s Agile Testing Matrix</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618481669"/>
              </p:ext>
            </p:extLst>
          </p:nvPr>
        </p:nvGraphicFramePr>
        <p:xfrm>
          <a:off x="3352800" y="2286000"/>
          <a:ext cx="5486400" cy="2914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3"/>
          <p:cNvSpPr>
            <a:spLocks noGrp="1"/>
          </p:cNvSpPr>
          <p:nvPr>
            <p:ph type="ftr" sz="quarter" idx="11"/>
          </p:nvPr>
        </p:nvSpPr>
        <p:spPr/>
        <p:txBody>
          <a:bodyPr/>
          <a:lstStyle/>
          <a:p>
            <a:pPr>
              <a:defRPr/>
            </a:pPr>
            <a:endParaRPr lang="en-US" dirty="0"/>
          </a:p>
        </p:txBody>
      </p:sp>
      <p:sp>
        <p:nvSpPr>
          <p:cNvPr id="8" name="Rounded Rectangle 7"/>
          <p:cNvSpPr/>
          <p:nvPr/>
        </p:nvSpPr>
        <p:spPr>
          <a:xfrm>
            <a:off x="3352800" y="1885950"/>
            <a:ext cx="5486400" cy="342900"/>
          </a:xfrm>
          <a:prstGeom prst="roundRect">
            <a:avLst/>
          </a:prstGeom>
        </p:spPr>
        <p:style>
          <a:lnRef idx="1">
            <a:schemeClr val="accent6"/>
          </a:lnRef>
          <a:fillRef idx="2">
            <a:schemeClr val="accent6"/>
          </a:fillRef>
          <a:effectRef idx="1">
            <a:schemeClr val="accent6"/>
          </a:effectRef>
          <a:fontRef idx="minor">
            <a:schemeClr val="dk1"/>
          </a:fontRef>
        </p:style>
        <p:txBody>
          <a:bodyPr anchor="ctr"/>
          <a:lstStyle/>
          <a:p>
            <a:pPr algn="ctr">
              <a:defRPr/>
            </a:pPr>
            <a:r>
              <a:rPr lang="en-US" sz="1350" dirty="0"/>
              <a:t>Customer Facing</a:t>
            </a:r>
          </a:p>
        </p:txBody>
      </p:sp>
      <p:sp>
        <p:nvSpPr>
          <p:cNvPr id="9" name="Rounded Rectangle 8"/>
          <p:cNvSpPr/>
          <p:nvPr/>
        </p:nvSpPr>
        <p:spPr>
          <a:xfrm>
            <a:off x="3352800" y="5257800"/>
            <a:ext cx="5486400" cy="342900"/>
          </a:xfrm>
          <a:prstGeom prst="roundRect">
            <a:avLst/>
          </a:prstGeom>
        </p:spPr>
        <p:style>
          <a:lnRef idx="1">
            <a:schemeClr val="accent6"/>
          </a:lnRef>
          <a:fillRef idx="2">
            <a:schemeClr val="accent6"/>
          </a:fillRef>
          <a:effectRef idx="1">
            <a:schemeClr val="accent6"/>
          </a:effectRef>
          <a:fontRef idx="minor">
            <a:schemeClr val="dk1"/>
          </a:fontRef>
        </p:style>
        <p:txBody>
          <a:bodyPr anchor="ctr"/>
          <a:lstStyle/>
          <a:p>
            <a:pPr algn="ctr">
              <a:defRPr/>
            </a:pPr>
            <a:r>
              <a:rPr lang="en-US" sz="1350" dirty="0"/>
              <a:t>Technology Facing</a:t>
            </a:r>
          </a:p>
        </p:txBody>
      </p:sp>
      <p:sp>
        <p:nvSpPr>
          <p:cNvPr id="12" name="Cloud 11"/>
          <p:cNvSpPr/>
          <p:nvPr/>
        </p:nvSpPr>
        <p:spPr>
          <a:xfrm>
            <a:off x="2697608" y="1751490"/>
            <a:ext cx="2030239" cy="491936"/>
          </a:xfrm>
          <a:prstGeom prst="cloud">
            <a:avLst/>
          </a:prstGeom>
          <a:solidFill>
            <a:schemeClr val="tx2">
              <a:lumMod val="40000"/>
              <a:lumOff val="60000"/>
            </a:schemeClr>
          </a:solidFill>
        </p:spPr>
        <p:txBody>
          <a:bodyPr wrap="square">
            <a:spAutoFit/>
          </a:bodyPr>
          <a:lstStyle/>
          <a:p>
            <a:pPr algn="ctr">
              <a:defRPr/>
            </a:pPr>
            <a:r>
              <a:rPr lang="en-US" sz="1500" dirty="0"/>
              <a:t>Automate</a:t>
            </a:r>
          </a:p>
        </p:txBody>
      </p:sp>
      <p:sp>
        <p:nvSpPr>
          <p:cNvPr id="15" name="Cloud 14"/>
          <p:cNvSpPr/>
          <p:nvPr/>
        </p:nvSpPr>
        <p:spPr>
          <a:xfrm>
            <a:off x="8220077" y="5108972"/>
            <a:ext cx="1189435" cy="491936"/>
          </a:xfrm>
          <a:prstGeom prst="cloud">
            <a:avLst/>
          </a:prstGeom>
          <a:solidFill>
            <a:schemeClr val="tx2">
              <a:lumMod val="40000"/>
              <a:lumOff val="60000"/>
            </a:schemeClr>
          </a:solidFill>
        </p:spPr>
        <p:txBody>
          <a:bodyPr>
            <a:spAutoFit/>
          </a:bodyPr>
          <a:lstStyle/>
          <a:p>
            <a:pPr algn="ctr">
              <a:defRPr/>
            </a:pPr>
            <a:r>
              <a:rPr lang="en-US" sz="1500" dirty="0"/>
              <a:t>Tools</a:t>
            </a:r>
          </a:p>
        </p:txBody>
      </p:sp>
      <p:sp>
        <p:nvSpPr>
          <p:cNvPr id="16" name="Cloud 15"/>
          <p:cNvSpPr/>
          <p:nvPr/>
        </p:nvSpPr>
        <p:spPr>
          <a:xfrm>
            <a:off x="7932205" y="1846660"/>
            <a:ext cx="1421606" cy="491936"/>
          </a:xfrm>
          <a:prstGeom prst="cloud">
            <a:avLst/>
          </a:prstGeom>
          <a:solidFill>
            <a:schemeClr val="tx2">
              <a:lumMod val="40000"/>
              <a:lumOff val="60000"/>
            </a:schemeClr>
          </a:solidFill>
        </p:spPr>
        <p:txBody>
          <a:bodyPr>
            <a:spAutoFit/>
          </a:bodyPr>
          <a:lstStyle/>
          <a:p>
            <a:pPr algn="ctr">
              <a:defRPr/>
            </a:pPr>
            <a:r>
              <a:rPr lang="en-US" sz="1500" dirty="0"/>
              <a:t>Manual</a:t>
            </a:r>
          </a:p>
        </p:txBody>
      </p:sp>
      <p:sp>
        <p:nvSpPr>
          <p:cNvPr id="40972" name="TextBox 16"/>
          <p:cNvSpPr txBox="1">
            <a:spLocks noChangeArrowheads="1"/>
          </p:cNvSpPr>
          <p:nvPr/>
        </p:nvSpPr>
        <p:spPr bwMode="auto">
          <a:xfrm>
            <a:off x="5695950" y="3795712"/>
            <a:ext cx="389850" cy="300082"/>
          </a:xfrm>
          <a:prstGeom prst="rect">
            <a:avLst/>
          </a:prstGeom>
          <a:noFill/>
          <a:ln w="9525">
            <a:noFill/>
            <a:miter lim="800000"/>
            <a:headEnd/>
            <a:tailEnd/>
          </a:ln>
        </p:spPr>
        <p:txBody>
          <a:bodyPr wrap="none">
            <a:spAutoFit/>
          </a:bodyPr>
          <a:lstStyle/>
          <a:p>
            <a:r>
              <a:rPr lang="en-US" sz="1350">
                <a:latin typeface="Calibri" pitchFamily="34" charset="0"/>
              </a:rPr>
              <a:t>Q1</a:t>
            </a:r>
          </a:p>
        </p:txBody>
      </p:sp>
      <p:sp>
        <p:nvSpPr>
          <p:cNvPr id="40973" name="TextBox 17"/>
          <p:cNvSpPr txBox="1">
            <a:spLocks noChangeArrowheads="1"/>
          </p:cNvSpPr>
          <p:nvPr/>
        </p:nvSpPr>
        <p:spPr bwMode="auto">
          <a:xfrm>
            <a:off x="5695950" y="3421856"/>
            <a:ext cx="389850" cy="300082"/>
          </a:xfrm>
          <a:prstGeom prst="rect">
            <a:avLst/>
          </a:prstGeom>
          <a:noFill/>
          <a:ln w="9525">
            <a:noFill/>
            <a:miter lim="800000"/>
            <a:headEnd/>
            <a:tailEnd/>
          </a:ln>
        </p:spPr>
        <p:txBody>
          <a:bodyPr wrap="none">
            <a:spAutoFit/>
          </a:bodyPr>
          <a:lstStyle/>
          <a:p>
            <a:r>
              <a:rPr lang="en-US" sz="1350">
                <a:latin typeface="Calibri" pitchFamily="34" charset="0"/>
              </a:rPr>
              <a:t>Q2</a:t>
            </a:r>
          </a:p>
        </p:txBody>
      </p:sp>
      <p:sp>
        <p:nvSpPr>
          <p:cNvPr id="40974" name="TextBox 18"/>
          <p:cNvSpPr txBox="1">
            <a:spLocks noChangeArrowheads="1"/>
          </p:cNvSpPr>
          <p:nvPr/>
        </p:nvSpPr>
        <p:spPr bwMode="auto">
          <a:xfrm>
            <a:off x="6153150" y="3421856"/>
            <a:ext cx="389850" cy="300082"/>
          </a:xfrm>
          <a:prstGeom prst="rect">
            <a:avLst/>
          </a:prstGeom>
          <a:noFill/>
          <a:ln w="9525">
            <a:noFill/>
            <a:miter lim="800000"/>
            <a:headEnd/>
            <a:tailEnd/>
          </a:ln>
        </p:spPr>
        <p:txBody>
          <a:bodyPr wrap="none">
            <a:spAutoFit/>
          </a:bodyPr>
          <a:lstStyle/>
          <a:p>
            <a:r>
              <a:rPr lang="en-US" sz="1350">
                <a:latin typeface="Calibri" pitchFamily="34" charset="0"/>
              </a:rPr>
              <a:t>Q3</a:t>
            </a:r>
          </a:p>
        </p:txBody>
      </p:sp>
      <p:sp>
        <p:nvSpPr>
          <p:cNvPr id="40975" name="TextBox 19"/>
          <p:cNvSpPr txBox="1">
            <a:spLocks noChangeArrowheads="1"/>
          </p:cNvSpPr>
          <p:nvPr/>
        </p:nvSpPr>
        <p:spPr bwMode="auto">
          <a:xfrm>
            <a:off x="6153150" y="3795713"/>
            <a:ext cx="389850" cy="300082"/>
          </a:xfrm>
          <a:prstGeom prst="rect">
            <a:avLst/>
          </a:prstGeom>
          <a:noFill/>
          <a:ln w="9525">
            <a:noFill/>
            <a:miter lim="800000"/>
            <a:headEnd/>
            <a:tailEnd/>
          </a:ln>
        </p:spPr>
        <p:txBody>
          <a:bodyPr wrap="square">
            <a:spAutoFit/>
          </a:bodyPr>
          <a:lstStyle/>
          <a:p>
            <a:r>
              <a:rPr lang="en-US" sz="1350" dirty="0">
                <a:latin typeface="Calibri" pitchFamily="34" charset="0"/>
              </a:rPr>
              <a:t>Q4</a:t>
            </a:r>
          </a:p>
        </p:txBody>
      </p:sp>
      <p:sp>
        <p:nvSpPr>
          <p:cNvPr id="17" name="Cloud 16"/>
          <p:cNvSpPr/>
          <p:nvPr/>
        </p:nvSpPr>
        <p:spPr>
          <a:xfrm>
            <a:off x="2714625" y="5086350"/>
            <a:ext cx="1771650" cy="491936"/>
          </a:xfrm>
          <a:prstGeom prst="cloud">
            <a:avLst/>
          </a:prstGeom>
          <a:solidFill>
            <a:schemeClr val="tx2">
              <a:lumMod val="40000"/>
              <a:lumOff val="60000"/>
            </a:schemeClr>
          </a:solidFill>
        </p:spPr>
        <p:txBody>
          <a:bodyPr>
            <a:spAutoFit/>
          </a:bodyPr>
          <a:lstStyle/>
          <a:p>
            <a:pPr algn="ctr">
              <a:defRPr/>
            </a:pPr>
            <a:r>
              <a:rPr lang="en-US" sz="1500" dirty="0"/>
              <a:t>Automate</a:t>
            </a:r>
          </a:p>
        </p:txBody>
      </p:sp>
      <p:sp>
        <p:nvSpPr>
          <p:cNvPr id="3" name="Rectangle 2"/>
          <p:cNvSpPr/>
          <p:nvPr/>
        </p:nvSpPr>
        <p:spPr>
          <a:xfrm>
            <a:off x="1539589" y="4381851"/>
            <a:ext cx="1335357" cy="1477328"/>
          </a:xfrm>
          <a:prstGeom prst="rect">
            <a:avLst/>
          </a:prstGeom>
        </p:spPr>
        <p:txBody>
          <a:bodyPr wrap="square">
            <a:spAutoFit/>
          </a:bodyPr>
          <a:lstStyle/>
          <a:p>
            <a:pPr>
              <a:defRPr/>
            </a:pPr>
            <a:r>
              <a:rPr lang="en-US" sz="750" dirty="0"/>
              <a:t>Measure “internal quality” of system</a:t>
            </a:r>
          </a:p>
          <a:p>
            <a:pPr>
              <a:defRPr/>
            </a:pPr>
            <a:r>
              <a:rPr lang="en-US" sz="750" dirty="0"/>
              <a:t>Small unit tests drive design of small part of code.</a:t>
            </a:r>
          </a:p>
          <a:p>
            <a:pPr>
              <a:defRPr/>
            </a:pPr>
            <a:r>
              <a:rPr lang="en-US" sz="750" dirty="0"/>
              <a:t>Larger integration tests drive system design</a:t>
            </a:r>
          </a:p>
          <a:p>
            <a:pPr>
              <a:defRPr/>
            </a:pPr>
            <a:r>
              <a:rPr lang="en-US" sz="750" dirty="0"/>
              <a:t>Automated, in same language, done by programmers</a:t>
            </a:r>
          </a:p>
          <a:p>
            <a:pPr>
              <a:defRPr/>
            </a:pPr>
            <a:r>
              <a:rPr lang="en-US" sz="750" dirty="0"/>
              <a:t>Run often and at every </a:t>
            </a:r>
            <a:r>
              <a:rPr lang="en-US" sz="750" dirty="0" err="1"/>
              <a:t>checkin</a:t>
            </a:r>
            <a:endParaRPr lang="en-US" sz="750" dirty="0"/>
          </a:p>
        </p:txBody>
      </p:sp>
      <p:sp>
        <p:nvSpPr>
          <p:cNvPr id="6" name="Rectangle 5"/>
          <p:cNvSpPr/>
          <p:nvPr/>
        </p:nvSpPr>
        <p:spPr>
          <a:xfrm>
            <a:off x="1640973" y="1773905"/>
            <a:ext cx="1136990" cy="1823576"/>
          </a:xfrm>
          <a:prstGeom prst="rect">
            <a:avLst/>
          </a:prstGeom>
        </p:spPr>
        <p:txBody>
          <a:bodyPr wrap="square">
            <a:spAutoFit/>
          </a:bodyPr>
          <a:lstStyle/>
          <a:p>
            <a:pPr>
              <a:defRPr/>
            </a:pPr>
            <a:r>
              <a:rPr lang="en-US" sz="750" dirty="0"/>
              <a:t>Q2: Story Driven Development</a:t>
            </a:r>
          </a:p>
          <a:p>
            <a:pPr>
              <a:defRPr/>
            </a:pPr>
            <a:r>
              <a:rPr lang="en-US" sz="750" dirty="0"/>
              <a:t>Measure “external quality” of system</a:t>
            </a:r>
          </a:p>
          <a:p>
            <a:pPr>
              <a:defRPr/>
            </a:pPr>
            <a:r>
              <a:rPr lang="en-US" sz="750" dirty="0"/>
              <a:t>Story tests drive higher level system design</a:t>
            </a:r>
          </a:p>
          <a:p>
            <a:pPr>
              <a:defRPr/>
            </a:pPr>
            <a:r>
              <a:rPr lang="en-US" sz="750" dirty="0"/>
              <a:t>Tests are more functional; more examples &amp; combinations</a:t>
            </a:r>
          </a:p>
          <a:p>
            <a:pPr>
              <a:defRPr/>
            </a:pPr>
            <a:r>
              <a:rPr lang="en-US" sz="750" dirty="0"/>
              <a:t>Tests boundary conditions, error handling, presentation</a:t>
            </a:r>
          </a:p>
        </p:txBody>
      </p:sp>
      <p:sp>
        <p:nvSpPr>
          <p:cNvPr id="7" name="Rectangle 6"/>
          <p:cNvSpPr/>
          <p:nvPr/>
        </p:nvSpPr>
        <p:spPr>
          <a:xfrm>
            <a:off x="9389706" y="1589063"/>
            <a:ext cx="1242138" cy="1938992"/>
          </a:xfrm>
          <a:prstGeom prst="rect">
            <a:avLst/>
          </a:prstGeom>
        </p:spPr>
        <p:txBody>
          <a:bodyPr wrap="square">
            <a:spAutoFit/>
          </a:bodyPr>
          <a:lstStyle/>
          <a:p>
            <a:pPr>
              <a:defRPr/>
            </a:pPr>
            <a:r>
              <a:rPr lang="en-US" sz="750" dirty="0"/>
              <a:t>Q3:</a:t>
            </a:r>
          </a:p>
          <a:p>
            <a:pPr>
              <a:defRPr/>
            </a:pPr>
            <a:endParaRPr lang="en-US" sz="750" dirty="0"/>
          </a:p>
          <a:p>
            <a:pPr>
              <a:defRPr/>
            </a:pPr>
            <a:r>
              <a:rPr lang="en-US" sz="750" dirty="0"/>
              <a:t>Some tests in Q2 may be incorrect or incomplete</a:t>
            </a:r>
          </a:p>
          <a:p>
            <a:pPr>
              <a:defRPr/>
            </a:pPr>
            <a:r>
              <a:rPr lang="en-US" sz="750" dirty="0"/>
              <a:t>Team may misunderstand, agile customer may omit or forget something</a:t>
            </a:r>
          </a:p>
          <a:p>
            <a:pPr>
              <a:defRPr/>
            </a:pPr>
            <a:r>
              <a:rPr lang="en-US" sz="750" dirty="0"/>
              <a:t>Emulate how a real user would use the system</a:t>
            </a:r>
          </a:p>
          <a:p>
            <a:pPr>
              <a:defRPr/>
            </a:pPr>
            <a:r>
              <a:rPr lang="en-US" sz="750" dirty="0"/>
              <a:t>Manual testing – requires a human</a:t>
            </a:r>
          </a:p>
          <a:p>
            <a:pPr>
              <a:defRPr/>
            </a:pPr>
            <a:r>
              <a:rPr lang="en-US" sz="750" dirty="0"/>
              <a:t>Exploratory/session based testing</a:t>
            </a:r>
          </a:p>
        </p:txBody>
      </p:sp>
      <p:sp>
        <p:nvSpPr>
          <p:cNvPr id="10" name="Rectangle 9"/>
          <p:cNvSpPr/>
          <p:nvPr/>
        </p:nvSpPr>
        <p:spPr>
          <a:xfrm>
            <a:off x="9565003" y="3743326"/>
            <a:ext cx="887065" cy="1477328"/>
          </a:xfrm>
          <a:prstGeom prst="rect">
            <a:avLst/>
          </a:prstGeom>
        </p:spPr>
        <p:txBody>
          <a:bodyPr wrap="square">
            <a:spAutoFit/>
          </a:bodyPr>
          <a:lstStyle/>
          <a:p>
            <a:pPr>
              <a:defRPr/>
            </a:pPr>
            <a:r>
              <a:rPr lang="en-US" sz="750" dirty="0"/>
              <a:t>Q4:</a:t>
            </a:r>
          </a:p>
          <a:p>
            <a:pPr>
              <a:defRPr/>
            </a:pPr>
            <a:r>
              <a:rPr lang="en-US" sz="750" dirty="0"/>
              <a:t>Performance, robustness, security etc.</a:t>
            </a:r>
          </a:p>
          <a:p>
            <a:pPr>
              <a:defRPr/>
            </a:pPr>
            <a:r>
              <a:rPr lang="en-US" sz="750" dirty="0"/>
              <a:t>Sometimes not given enough focus on agile teams</a:t>
            </a:r>
          </a:p>
          <a:p>
            <a:pPr>
              <a:defRPr/>
            </a:pPr>
            <a:r>
              <a:rPr lang="en-US" sz="750" dirty="0"/>
              <a:t>Often requires specialized tools &amp; expertise</a:t>
            </a:r>
          </a:p>
        </p:txBody>
      </p:sp>
    </p:spTree>
    <p:extLst>
      <p:ext uri="{BB962C8B-B14F-4D97-AF65-F5344CB8AC3E}">
        <p14:creationId xmlns:p14="http://schemas.microsoft.com/office/powerpoint/2010/main" val="34066657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a:xfrm rot="5400000">
            <a:off x="7610475" y="3571875"/>
            <a:ext cx="2914650" cy="342900"/>
          </a:xfrm>
          <a:prstGeom prst="roundRect">
            <a:avLst/>
          </a:prstGeom>
        </p:spPr>
        <p:style>
          <a:lnRef idx="1">
            <a:schemeClr val="accent6"/>
          </a:lnRef>
          <a:fillRef idx="2">
            <a:schemeClr val="accent6"/>
          </a:fillRef>
          <a:effectRef idx="1">
            <a:schemeClr val="accent6"/>
          </a:effectRef>
          <a:fontRef idx="minor">
            <a:schemeClr val="dk1"/>
          </a:fontRef>
        </p:style>
        <p:txBody>
          <a:bodyPr anchor="ctr"/>
          <a:lstStyle/>
          <a:p>
            <a:pPr algn="ctr">
              <a:defRPr/>
            </a:pPr>
            <a:r>
              <a:rPr lang="en-US" sz="1350" dirty="0"/>
              <a:t>Critiques Product</a:t>
            </a:r>
          </a:p>
        </p:txBody>
      </p:sp>
      <p:sp>
        <p:nvSpPr>
          <p:cNvPr id="21" name="Rounded Rectangle 20"/>
          <p:cNvSpPr/>
          <p:nvPr/>
        </p:nvSpPr>
        <p:spPr>
          <a:xfrm rot="16200000">
            <a:off x="1666875" y="3571875"/>
            <a:ext cx="2914650" cy="342900"/>
          </a:xfrm>
          <a:prstGeom prst="roundRect">
            <a:avLst/>
          </a:prstGeom>
        </p:spPr>
        <p:style>
          <a:lnRef idx="1">
            <a:schemeClr val="accent6"/>
          </a:lnRef>
          <a:fillRef idx="2">
            <a:schemeClr val="accent6"/>
          </a:fillRef>
          <a:effectRef idx="1">
            <a:schemeClr val="accent6"/>
          </a:effectRef>
          <a:fontRef idx="minor">
            <a:schemeClr val="dk1"/>
          </a:fontRef>
        </p:style>
        <p:txBody>
          <a:bodyPr anchor="ctr"/>
          <a:lstStyle/>
          <a:p>
            <a:pPr algn="ctr">
              <a:defRPr/>
            </a:pPr>
            <a:r>
              <a:rPr lang="en-US" sz="1350" dirty="0"/>
              <a:t>Supports Development</a:t>
            </a:r>
          </a:p>
        </p:txBody>
      </p:sp>
      <p:sp>
        <p:nvSpPr>
          <p:cNvPr id="41988" name="Title 1"/>
          <p:cNvSpPr>
            <a:spLocks noGrp="1"/>
          </p:cNvSpPr>
          <p:nvPr>
            <p:ph type="title"/>
          </p:nvPr>
        </p:nvSpPr>
        <p:spPr>
          <a:xfrm>
            <a:off x="1826865" y="506950"/>
            <a:ext cx="8229600" cy="249008"/>
          </a:xfrm>
        </p:spPr>
        <p:txBody>
          <a:bodyPr/>
          <a:lstStyle/>
          <a:p>
            <a:pPr eaLnBrk="1" hangingPunct="1"/>
            <a:r>
              <a:rPr lang="en-US" dirty="0"/>
              <a:t>   </a:t>
            </a:r>
            <a:r>
              <a:rPr lang="en-US" b="0" dirty="0"/>
              <a:t>QA Activities</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697935777"/>
              </p:ext>
            </p:extLst>
          </p:nvPr>
        </p:nvGraphicFramePr>
        <p:xfrm>
          <a:off x="3352800" y="2286000"/>
          <a:ext cx="5486400" cy="2914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ounded Rectangle 7"/>
          <p:cNvSpPr/>
          <p:nvPr/>
        </p:nvSpPr>
        <p:spPr>
          <a:xfrm>
            <a:off x="3352800" y="1885950"/>
            <a:ext cx="5486400" cy="342900"/>
          </a:xfrm>
          <a:prstGeom prst="roundRect">
            <a:avLst/>
          </a:prstGeom>
        </p:spPr>
        <p:style>
          <a:lnRef idx="1">
            <a:schemeClr val="accent6"/>
          </a:lnRef>
          <a:fillRef idx="2">
            <a:schemeClr val="accent6"/>
          </a:fillRef>
          <a:effectRef idx="1">
            <a:schemeClr val="accent6"/>
          </a:effectRef>
          <a:fontRef idx="minor">
            <a:schemeClr val="dk1"/>
          </a:fontRef>
        </p:style>
        <p:txBody>
          <a:bodyPr anchor="ctr"/>
          <a:lstStyle/>
          <a:p>
            <a:pPr algn="ctr">
              <a:defRPr/>
            </a:pPr>
            <a:r>
              <a:rPr lang="en-US" sz="1350" dirty="0"/>
              <a:t>Customer Facing</a:t>
            </a:r>
          </a:p>
        </p:txBody>
      </p:sp>
      <p:sp>
        <p:nvSpPr>
          <p:cNvPr id="9" name="Rounded Rectangle 8"/>
          <p:cNvSpPr/>
          <p:nvPr/>
        </p:nvSpPr>
        <p:spPr>
          <a:xfrm>
            <a:off x="3352800" y="5257800"/>
            <a:ext cx="5486400" cy="342900"/>
          </a:xfrm>
          <a:prstGeom prst="roundRect">
            <a:avLst/>
          </a:prstGeom>
        </p:spPr>
        <p:style>
          <a:lnRef idx="1">
            <a:schemeClr val="accent6"/>
          </a:lnRef>
          <a:fillRef idx="2">
            <a:schemeClr val="accent6"/>
          </a:fillRef>
          <a:effectRef idx="1">
            <a:schemeClr val="accent6"/>
          </a:effectRef>
          <a:fontRef idx="minor">
            <a:schemeClr val="dk1"/>
          </a:fontRef>
        </p:style>
        <p:txBody>
          <a:bodyPr anchor="ctr"/>
          <a:lstStyle/>
          <a:p>
            <a:pPr algn="ctr">
              <a:defRPr/>
            </a:pPr>
            <a:r>
              <a:rPr lang="en-US" sz="1350" dirty="0"/>
              <a:t>Technology Facing</a:t>
            </a:r>
          </a:p>
        </p:txBody>
      </p:sp>
      <p:sp>
        <p:nvSpPr>
          <p:cNvPr id="12" name="Cloud 11"/>
          <p:cNvSpPr/>
          <p:nvPr/>
        </p:nvSpPr>
        <p:spPr>
          <a:xfrm>
            <a:off x="2714626" y="1600201"/>
            <a:ext cx="2409825" cy="1194703"/>
          </a:xfrm>
          <a:prstGeom prst="cloud">
            <a:avLst/>
          </a:prstGeom>
          <a:solidFill>
            <a:schemeClr val="tx2">
              <a:lumMod val="40000"/>
              <a:lumOff val="60000"/>
            </a:schemeClr>
          </a:solidFill>
        </p:spPr>
        <p:txBody>
          <a:bodyPr>
            <a:spAutoFit/>
          </a:bodyPr>
          <a:lstStyle/>
          <a:p>
            <a:pPr algn="ctr">
              <a:defRPr/>
            </a:pPr>
            <a:r>
              <a:rPr lang="en-US" sz="1500" dirty="0"/>
              <a:t>Product Owner Collaboration</a:t>
            </a:r>
          </a:p>
        </p:txBody>
      </p:sp>
      <p:sp>
        <p:nvSpPr>
          <p:cNvPr id="15" name="Cloud 14"/>
          <p:cNvSpPr/>
          <p:nvPr/>
        </p:nvSpPr>
        <p:spPr>
          <a:xfrm>
            <a:off x="7181851" y="4980386"/>
            <a:ext cx="2227660" cy="843320"/>
          </a:xfrm>
          <a:prstGeom prst="cloud">
            <a:avLst/>
          </a:prstGeom>
          <a:solidFill>
            <a:schemeClr val="tx2">
              <a:lumMod val="40000"/>
              <a:lumOff val="60000"/>
            </a:schemeClr>
          </a:solidFill>
        </p:spPr>
        <p:txBody>
          <a:bodyPr>
            <a:spAutoFit/>
          </a:bodyPr>
          <a:lstStyle/>
          <a:p>
            <a:pPr algn="ctr">
              <a:defRPr/>
            </a:pPr>
            <a:r>
              <a:rPr lang="en-US" sz="1500" dirty="0"/>
              <a:t>IT Collaboration</a:t>
            </a:r>
          </a:p>
        </p:txBody>
      </p:sp>
      <p:sp>
        <p:nvSpPr>
          <p:cNvPr id="16" name="Cloud 15"/>
          <p:cNvSpPr/>
          <p:nvPr/>
        </p:nvSpPr>
        <p:spPr>
          <a:xfrm>
            <a:off x="7239000" y="1565673"/>
            <a:ext cx="2228850" cy="843320"/>
          </a:xfrm>
          <a:prstGeom prst="cloud">
            <a:avLst/>
          </a:prstGeom>
          <a:solidFill>
            <a:schemeClr val="tx2">
              <a:lumMod val="40000"/>
              <a:lumOff val="60000"/>
            </a:schemeClr>
          </a:solidFill>
        </p:spPr>
        <p:txBody>
          <a:bodyPr>
            <a:spAutoFit/>
          </a:bodyPr>
          <a:lstStyle/>
          <a:p>
            <a:pPr algn="ctr">
              <a:defRPr/>
            </a:pPr>
            <a:r>
              <a:rPr lang="en-US" sz="1500" dirty="0"/>
              <a:t>Customer Collaboration</a:t>
            </a:r>
          </a:p>
        </p:txBody>
      </p:sp>
      <p:sp>
        <p:nvSpPr>
          <p:cNvPr id="17" name="Cloud 16"/>
          <p:cNvSpPr/>
          <p:nvPr/>
        </p:nvSpPr>
        <p:spPr>
          <a:xfrm>
            <a:off x="2781300" y="4914901"/>
            <a:ext cx="2228850" cy="843320"/>
          </a:xfrm>
          <a:prstGeom prst="cloud">
            <a:avLst/>
          </a:prstGeom>
          <a:solidFill>
            <a:schemeClr val="tx2">
              <a:lumMod val="40000"/>
              <a:lumOff val="60000"/>
            </a:schemeClr>
          </a:solidFill>
        </p:spPr>
        <p:txBody>
          <a:bodyPr>
            <a:spAutoFit/>
          </a:bodyPr>
          <a:lstStyle/>
          <a:p>
            <a:pPr algn="ctr">
              <a:defRPr/>
            </a:pPr>
            <a:r>
              <a:rPr lang="en-US" sz="1500" dirty="0"/>
              <a:t>Developer</a:t>
            </a:r>
          </a:p>
          <a:p>
            <a:pPr algn="ctr">
              <a:defRPr/>
            </a:pPr>
            <a:r>
              <a:rPr lang="en-US" sz="1500" dirty="0"/>
              <a:t>Collaboration</a:t>
            </a:r>
          </a:p>
        </p:txBody>
      </p:sp>
      <p:sp>
        <p:nvSpPr>
          <p:cNvPr id="41997" name="TextBox 16"/>
          <p:cNvSpPr txBox="1">
            <a:spLocks noChangeArrowheads="1"/>
          </p:cNvSpPr>
          <p:nvPr/>
        </p:nvSpPr>
        <p:spPr bwMode="auto">
          <a:xfrm>
            <a:off x="5695950" y="3795712"/>
            <a:ext cx="389850" cy="300082"/>
          </a:xfrm>
          <a:prstGeom prst="rect">
            <a:avLst/>
          </a:prstGeom>
          <a:noFill/>
          <a:ln w="9525">
            <a:noFill/>
            <a:miter lim="800000"/>
            <a:headEnd/>
            <a:tailEnd/>
          </a:ln>
        </p:spPr>
        <p:txBody>
          <a:bodyPr wrap="none">
            <a:spAutoFit/>
          </a:bodyPr>
          <a:lstStyle/>
          <a:p>
            <a:r>
              <a:rPr lang="en-US" sz="1350">
                <a:latin typeface="Calibri" pitchFamily="34" charset="0"/>
              </a:rPr>
              <a:t>Q1</a:t>
            </a:r>
          </a:p>
        </p:txBody>
      </p:sp>
      <p:sp>
        <p:nvSpPr>
          <p:cNvPr id="41998" name="TextBox 17"/>
          <p:cNvSpPr txBox="1">
            <a:spLocks noChangeArrowheads="1"/>
          </p:cNvSpPr>
          <p:nvPr/>
        </p:nvSpPr>
        <p:spPr bwMode="auto">
          <a:xfrm>
            <a:off x="5695950" y="3421856"/>
            <a:ext cx="389850" cy="300082"/>
          </a:xfrm>
          <a:prstGeom prst="rect">
            <a:avLst/>
          </a:prstGeom>
          <a:noFill/>
          <a:ln w="9525">
            <a:noFill/>
            <a:miter lim="800000"/>
            <a:headEnd/>
            <a:tailEnd/>
          </a:ln>
        </p:spPr>
        <p:txBody>
          <a:bodyPr wrap="none">
            <a:spAutoFit/>
          </a:bodyPr>
          <a:lstStyle/>
          <a:p>
            <a:r>
              <a:rPr lang="en-US" sz="1350">
                <a:latin typeface="Calibri" pitchFamily="34" charset="0"/>
              </a:rPr>
              <a:t>Q2</a:t>
            </a:r>
          </a:p>
        </p:txBody>
      </p:sp>
      <p:sp>
        <p:nvSpPr>
          <p:cNvPr id="41999" name="TextBox 18"/>
          <p:cNvSpPr txBox="1">
            <a:spLocks noChangeArrowheads="1"/>
          </p:cNvSpPr>
          <p:nvPr/>
        </p:nvSpPr>
        <p:spPr bwMode="auto">
          <a:xfrm>
            <a:off x="6153150" y="3421856"/>
            <a:ext cx="389850" cy="300082"/>
          </a:xfrm>
          <a:prstGeom prst="rect">
            <a:avLst/>
          </a:prstGeom>
          <a:noFill/>
          <a:ln w="9525">
            <a:noFill/>
            <a:miter lim="800000"/>
            <a:headEnd/>
            <a:tailEnd/>
          </a:ln>
        </p:spPr>
        <p:txBody>
          <a:bodyPr wrap="none">
            <a:spAutoFit/>
          </a:bodyPr>
          <a:lstStyle/>
          <a:p>
            <a:r>
              <a:rPr lang="en-US" sz="1350">
                <a:latin typeface="Calibri" pitchFamily="34" charset="0"/>
              </a:rPr>
              <a:t>Q3</a:t>
            </a:r>
          </a:p>
        </p:txBody>
      </p:sp>
      <p:sp>
        <p:nvSpPr>
          <p:cNvPr id="42000" name="TextBox 19"/>
          <p:cNvSpPr txBox="1">
            <a:spLocks noChangeArrowheads="1"/>
          </p:cNvSpPr>
          <p:nvPr/>
        </p:nvSpPr>
        <p:spPr bwMode="auto">
          <a:xfrm>
            <a:off x="6153150" y="3795713"/>
            <a:ext cx="389850" cy="300082"/>
          </a:xfrm>
          <a:prstGeom prst="rect">
            <a:avLst/>
          </a:prstGeom>
          <a:noFill/>
          <a:ln w="9525">
            <a:noFill/>
            <a:miter lim="800000"/>
            <a:headEnd/>
            <a:tailEnd/>
          </a:ln>
        </p:spPr>
        <p:txBody>
          <a:bodyPr wrap="square">
            <a:spAutoFit/>
          </a:bodyPr>
          <a:lstStyle/>
          <a:p>
            <a:r>
              <a:rPr lang="en-US" sz="1350" dirty="0">
                <a:latin typeface="Calibri" pitchFamily="34" charset="0"/>
              </a:rPr>
              <a:t>Q4</a:t>
            </a:r>
          </a:p>
        </p:txBody>
      </p:sp>
      <p:sp>
        <p:nvSpPr>
          <p:cNvPr id="2" name="Rectangle 1"/>
          <p:cNvSpPr/>
          <p:nvPr/>
        </p:nvSpPr>
        <p:spPr>
          <a:xfrm>
            <a:off x="1576052" y="4075119"/>
            <a:ext cx="1205249" cy="1823576"/>
          </a:xfrm>
          <a:prstGeom prst="rect">
            <a:avLst/>
          </a:prstGeom>
        </p:spPr>
        <p:txBody>
          <a:bodyPr wrap="square">
            <a:spAutoFit/>
          </a:bodyPr>
          <a:lstStyle/>
          <a:p>
            <a:r>
              <a:rPr lang="en-US" sz="750" dirty="0"/>
              <a:t>Q1: Test Driven Development</a:t>
            </a:r>
          </a:p>
          <a:p>
            <a:r>
              <a:rPr lang="en-US" sz="750" dirty="0"/>
              <a:t>Measure “internal quality” of system</a:t>
            </a:r>
          </a:p>
          <a:p>
            <a:r>
              <a:rPr lang="en-US" sz="750" dirty="0"/>
              <a:t>Small unit tests drive design of small part of code.</a:t>
            </a:r>
          </a:p>
          <a:p>
            <a:r>
              <a:rPr lang="en-US" sz="750" dirty="0"/>
              <a:t>Larger integration tests drive system design</a:t>
            </a:r>
          </a:p>
          <a:p>
            <a:r>
              <a:rPr lang="en-US" sz="750" dirty="0"/>
              <a:t>Automated, in same language, done by programmers</a:t>
            </a:r>
          </a:p>
          <a:p>
            <a:r>
              <a:rPr lang="en-US" sz="750" dirty="0"/>
              <a:t>Run often and at every </a:t>
            </a:r>
            <a:r>
              <a:rPr lang="en-US" sz="750" dirty="0" err="1"/>
              <a:t>checkin</a:t>
            </a:r>
            <a:endParaRPr lang="en-US" sz="750" dirty="0"/>
          </a:p>
        </p:txBody>
      </p:sp>
      <p:sp>
        <p:nvSpPr>
          <p:cNvPr id="3" name="Rectangle 2"/>
          <p:cNvSpPr/>
          <p:nvPr/>
        </p:nvSpPr>
        <p:spPr>
          <a:xfrm>
            <a:off x="1624371" y="1579382"/>
            <a:ext cx="1170941" cy="2031325"/>
          </a:xfrm>
          <a:prstGeom prst="rect">
            <a:avLst/>
          </a:prstGeom>
        </p:spPr>
        <p:txBody>
          <a:bodyPr wrap="square">
            <a:spAutoFit/>
          </a:bodyPr>
          <a:lstStyle/>
          <a:p>
            <a:endParaRPr lang="en-US" sz="1350" dirty="0"/>
          </a:p>
          <a:p>
            <a:r>
              <a:rPr lang="en-US" sz="750" dirty="0"/>
              <a:t>Q2: Story Driven Development</a:t>
            </a:r>
          </a:p>
          <a:p>
            <a:r>
              <a:rPr lang="en-US" sz="750" dirty="0"/>
              <a:t>Measure “external quality” of system</a:t>
            </a:r>
          </a:p>
          <a:p>
            <a:r>
              <a:rPr lang="en-US" sz="750" dirty="0"/>
              <a:t>Story tests drive higher level system design</a:t>
            </a:r>
          </a:p>
          <a:p>
            <a:r>
              <a:rPr lang="en-US" sz="750" dirty="0"/>
              <a:t>Tests are more functional; more examples &amp; combinations</a:t>
            </a:r>
          </a:p>
          <a:p>
            <a:r>
              <a:rPr lang="en-US" sz="750" dirty="0"/>
              <a:t>Tests boundary conditions, error handling, presentation</a:t>
            </a:r>
          </a:p>
        </p:txBody>
      </p:sp>
      <p:sp>
        <p:nvSpPr>
          <p:cNvPr id="4" name="Rectangle 3"/>
          <p:cNvSpPr/>
          <p:nvPr/>
        </p:nvSpPr>
        <p:spPr>
          <a:xfrm>
            <a:off x="9467850" y="1484784"/>
            <a:ext cx="1177230" cy="1938992"/>
          </a:xfrm>
          <a:prstGeom prst="rect">
            <a:avLst/>
          </a:prstGeom>
        </p:spPr>
        <p:txBody>
          <a:bodyPr wrap="square">
            <a:spAutoFit/>
          </a:bodyPr>
          <a:lstStyle/>
          <a:p>
            <a:r>
              <a:rPr lang="en-US" sz="750" dirty="0"/>
              <a:t>Q3:</a:t>
            </a:r>
          </a:p>
          <a:p>
            <a:r>
              <a:rPr lang="en-US" sz="750" dirty="0"/>
              <a:t>Some tests in Q2 may be incorrect or incomplete</a:t>
            </a:r>
          </a:p>
          <a:p>
            <a:r>
              <a:rPr lang="en-US" sz="750" dirty="0"/>
              <a:t>Team may misunderstand, agile customer may omit or forget something</a:t>
            </a:r>
          </a:p>
          <a:p>
            <a:r>
              <a:rPr lang="en-US" sz="750" dirty="0"/>
              <a:t>Emulate how a real user would use the system</a:t>
            </a:r>
          </a:p>
          <a:p>
            <a:r>
              <a:rPr lang="en-US" sz="750" dirty="0"/>
              <a:t>Manual testing – requires a human</a:t>
            </a:r>
          </a:p>
          <a:p>
            <a:r>
              <a:rPr lang="en-US" sz="750" dirty="0"/>
              <a:t>Exploratory/session based testing</a:t>
            </a:r>
          </a:p>
        </p:txBody>
      </p:sp>
      <p:sp>
        <p:nvSpPr>
          <p:cNvPr id="6" name="Rectangle 5"/>
          <p:cNvSpPr/>
          <p:nvPr/>
        </p:nvSpPr>
        <p:spPr>
          <a:xfrm>
            <a:off x="9409511" y="3376235"/>
            <a:ext cx="1173490" cy="2031325"/>
          </a:xfrm>
          <a:prstGeom prst="rect">
            <a:avLst/>
          </a:prstGeom>
        </p:spPr>
        <p:txBody>
          <a:bodyPr wrap="square">
            <a:spAutoFit/>
          </a:bodyPr>
          <a:lstStyle/>
          <a:p>
            <a:endParaRPr lang="en-US" sz="1350" dirty="0"/>
          </a:p>
          <a:p>
            <a:r>
              <a:rPr lang="en-US" sz="750" dirty="0"/>
              <a:t>Q4:</a:t>
            </a:r>
          </a:p>
          <a:p>
            <a:r>
              <a:rPr lang="en-US" sz="750" dirty="0"/>
              <a:t>Performance, robustness, security etc.</a:t>
            </a:r>
          </a:p>
          <a:p>
            <a:r>
              <a:rPr lang="en-US" sz="750" dirty="0"/>
              <a:t>Sometimes not given enough focus on agile teams</a:t>
            </a:r>
          </a:p>
          <a:p>
            <a:r>
              <a:rPr lang="en-US" sz="750" dirty="0"/>
              <a:t>Often requires specialized tools &amp; expertise</a:t>
            </a:r>
            <a:br>
              <a:rPr lang="en-US" sz="750" dirty="0"/>
            </a:br>
            <a:endParaRPr lang="en-US" sz="750" dirty="0"/>
          </a:p>
          <a:p>
            <a:r>
              <a:rPr lang="en-US" sz="750" dirty="0"/>
              <a:t>* Tests on right hand side feed into stories/tasks for left hand side</a:t>
            </a:r>
          </a:p>
        </p:txBody>
      </p:sp>
    </p:spTree>
    <p:extLst>
      <p:ext uri="{BB962C8B-B14F-4D97-AF65-F5344CB8AC3E}">
        <p14:creationId xmlns:p14="http://schemas.microsoft.com/office/powerpoint/2010/main" val="292538086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6"/>
          </p:nvPr>
        </p:nvSpPr>
        <p:spPr/>
        <p:txBody>
          <a:bodyPr/>
          <a:lstStyle/>
          <a:p>
            <a:fld id="{86941F2A-596F-4B21-9441-5490ADE17F9F}" type="slidenum">
              <a:rPr lang="en-US" smtClean="0"/>
              <a:t>123</a:t>
            </a:fld>
            <a:endParaRPr lang="en-US"/>
          </a:p>
        </p:txBody>
      </p:sp>
      <p:sp>
        <p:nvSpPr>
          <p:cNvPr id="8" name="Title 1"/>
          <p:cNvSpPr txBox="1">
            <a:spLocks/>
          </p:cNvSpPr>
          <p:nvPr/>
        </p:nvSpPr>
        <p:spPr bwMode="gray">
          <a:xfrm>
            <a:off x="1883532" y="1604374"/>
            <a:ext cx="1836204" cy="710673"/>
          </a:xfrm>
          <a:prstGeom prst="rect">
            <a:avLst/>
          </a:prstGeom>
          <a:noFill/>
        </p:spPr>
        <p:txBody>
          <a:bodyPr vert="horz" lIns="0" tIns="0" rIns="0" bIns="18000" rtlCol="0" anchor="b" anchorCtr="0">
            <a:spAutoFit/>
          </a:bodyPr>
          <a:lstStyle>
            <a:lvl1pPr algn="l" defTabSz="685800" rtl="0" eaLnBrk="1" latinLnBrk="0" hangingPunct="1">
              <a:lnSpc>
                <a:spcPts val="1800"/>
              </a:lnSpc>
              <a:spcBef>
                <a:spcPct val="0"/>
              </a:spcBef>
              <a:buNone/>
              <a:defRPr lang="de-DE" sz="1650" b="1" kern="1200" baseline="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en-US" b="0" dirty="0">
                <a:solidFill>
                  <a:srgbClr val="00B050"/>
                </a:solidFill>
              </a:rPr>
              <a:t>Goals – What should we focus on?</a:t>
            </a:r>
          </a:p>
        </p:txBody>
      </p:sp>
      <p:graphicFrame>
        <p:nvGraphicFramePr>
          <p:cNvPr id="9" name="Content Placeholder 4"/>
          <p:cNvGraphicFramePr>
            <a:graphicFrameLocks/>
          </p:cNvGraphicFramePr>
          <p:nvPr>
            <p:extLst>
              <p:ext uri="{D42A27DB-BD31-4B8C-83A1-F6EECF244321}">
                <p14:modId xmlns:p14="http://schemas.microsoft.com/office/powerpoint/2010/main" val="1851978614"/>
              </p:ext>
            </p:extLst>
          </p:nvPr>
        </p:nvGraphicFramePr>
        <p:xfrm>
          <a:off x="1775520" y="2636913"/>
          <a:ext cx="2232248" cy="280831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itle 1"/>
          <p:cNvSpPr txBox="1">
            <a:spLocks/>
          </p:cNvSpPr>
          <p:nvPr/>
        </p:nvSpPr>
        <p:spPr bwMode="gray">
          <a:xfrm>
            <a:off x="4379034" y="1615567"/>
            <a:ext cx="1777747" cy="479841"/>
          </a:xfrm>
          <a:prstGeom prst="rect">
            <a:avLst/>
          </a:prstGeom>
          <a:noFill/>
        </p:spPr>
        <p:txBody>
          <a:bodyPr vert="horz" wrap="square" lIns="0" tIns="0" rIns="0" bIns="18000" rtlCol="0" anchor="b" anchorCtr="0">
            <a:spAutoFit/>
          </a:bodyPr>
          <a:lstStyle>
            <a:lvl1pPr algn="l" defTabSz="685800" rtl="0" eaLnBrk="1" latinLnBrk="0" hangingPunct="1">
              <a:lnSpc>
                <a:spcPts val="1800"/>
              </a:lnSpc>
              <a:spcBef>
                <a:spcPct val="0"/>
              </a:spcBef>
              <a:buNone/>
              <a:defRPr lang="de-DE" sz="1650" b="1"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en-US" b="0" dirty="0">
                <a:solidFill>
                  <a:srgbClr val="00B050"/>
                </a:solidFill>
              </a:rPr>
              <a:t>The Test Status Problem</a:t>
            </a:r>
          </a:p>
        </p:txBody>
      </p:sp>
      <p:graphicFrame>
        <p:nvGraphicFramePr>
          <p:cNvPr id="11" name="Content Placeholder 4"/>
          <p:cNvGraphicFramePr>
            <a:graphicFrameLocks/>
          </p:cNvGraphicFramePr>
          <p:nvPr>
            <p:extLst>
              <p:ext uri="{D42A27DB-BD31-4B8C-83A1-F6EECF244321}">
                <p14:modId xmlns:p14="http://schemas.microsoft.com/office/powerpoint/2010/main" val="906153817"/>
              </p:ext>
            </p:extLst>
          </p:nvPr>
        </p:nvGraphicFramePr>
        <p:xfrm>
          <a:off x="3935760" y="2636912"/>
          <a:ext cx="2746548" cy="295232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2" name="Title 1"/>
          <p:cNvSpPr txBox="1">
            <a:spLocks/>
          </p:cNvSpPr>
          <p:nvPr/>
        </p:nvSpPr>
        <p:spPr bwMode="gray">
          <a:xfrm>
            <a:off x="6811068" y="1586198"/>
            <a:ext cx="2686472" cy="479841"/>
          </a:xfrm>
          <a:prstGeom prst="rect">
            <a:avLst/>
          </a:prstGeom>
          <a:noFill/>
        </p:spPr>
        <p:txBody>
          <a:bodyPr vert="horz" wrap="square" lIns="0" tIns="0" rIns="0" bIns="18000" rtlCol="0" anchor="b" anchorCtr="0">
            <a:spAutoFit/>
          </a:bodyPr>
          <a:lstStyle>
            <a:lvl1pPr algn="l" defTabSz="685800" rtl="0" eaLnBrk="1" latinLnBrk="0" hangingPunct="1">
              <a:lnSpc>
                <a:spcPts val="1800"/>
              </a:lnSpc>
              <a:spcBef>
                <a:spcPct val="0"/>
              </a:spcBef>
              <a:buNone/>
              <a:defRPr lang="de-DE" sz="1650" b="1"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en-US" b="0" dirty="0">
                <a:solidFill>
                  <a:srgbClr val="00B050"/>
                </a:solidFill>
              </a:rPr>
              <a:t>A Low Tech Dashboard Solution</a:t>
            </a:r>
          </a:p>
        </p:txBody>
      </p:sp>
      <p:graphicFrame>
        <p:nvGraphicFramePr>
          <p:cNvPr id="13" name="Content Placeholder 4"/>
          <p:cNvGraphicFramePr>
            <a:graphicFrameLocks/>
          </p:cNvGraphicFramePr>
          <p:nvPr>
            <p:extLst>
              <p:ext uri="{D42A27DB-BD31-4B8C-83A1-F6EECF244321}">
                <p14:modId xmlns:p14="http://schemas.microsoft.com/office/powerpoint/2010/main" val="963539316"/>
              </p:ext>
            </p:extLst>
          </p:nvPr>
        </p:nvGraphicFramePr>
        <p:xfrm>
          <a:off x="6682308" y="2636912"/>
          <a:ext cx="2664296" cy="302433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14" name="Title 1"/>
          <p:cNvSpPr>
            <a:spLocks noGrp="1"/>
          </p:cNvSpPr>
          <p:nvPr>
            <p:ph type="title"/>
          </p:nvPr>
        </p:nvSpPr>
        <p:spPr>
          <a:xfrm>
            <a:off x="1272001" y="548680"/>
            <a:ext cx="10972800" cy="249008"/>
          </a:xfrm>
        </p:spPr>
        <p:txBody>
          <a:bodyPr/>
          <a:lstStyle/>
          <a:p>
            <a:r>
              <a:rPr lang="en-US" b="0" dirty="0"/>
              <a:t>What should we test?</a:t>
            </a:r>
          </a:p>
        </p:txBody>
      </p:sp>
    </p:spTree>
    <p:extLst>
      <p:ext uri="{BB962C8B-B14F-4D97-AF65-F5344CB8AC3E}">
        <p14:creationId xmlns:p14="http://schemas.microsoft.com/office/powerpoint/2010/main" val="355192159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a:xfrm>
            <a:off x="1809750" y="1264216"/>
            <a:ext cx="8229600" cy="249008"/>
          </a:xfrm>
        </p:spPr>
        <p:txBody>
          <a:bodyPr/>
          <a:lstStyle/>
          <a:p>
            <a:pPr eaLnBrk="1" hangingPunct="1"/>
            <a:r>
              <a:rPr lang="en-US" b="0" dirty="0"/>
              <a:t>Types of Automated Tests</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4265534249"/>
              </p:ext>
            </p:extLst>
          </p:nvPr>
        </p:nvGraphicFramePr>
        <p:xfrm>
          <a:off x="2693622" y="1505971"/>
          <a:ext cx="5143500" cy="36802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3"/>
          <p:cNvSpPr>
            <a:spLocks noGrp="1"/>
          </p:cNvSpPr>
          <p:nvPr>
            <p:ph type="ftr" sz="quarter" idx="11"/>
          </p:nvPr>
        </p:nvSpPr>
        <p:spPr/>
        <p:txBody>
          <a:bodyPr/>
          <a:lstStyle/>
          <a:p>
            <a:pPr>
              <a:defRPr/>
            </a:pPr>
            <a:endParaRPr lang="en-US" dirty="0"/>
          </a:p>
        </p:txBody>
      </p:sp>
      <p:sp>
        <p:nvSpPr>
          <p:cNvPr id="9" name="Up Arrow 8"/>
          <p:cNvSpPr/>
          <p:nvPr/>
        </p:nvSpPr>
        <p:spPr>
          <a:xfrm>
            <a:off x="8595336" y="1916825"/>
            <a:ext cx="685800" cy="2877480"/>
          </a:xfrm>
          <a:prstGeom prst="upArrow">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3600" dirty="0">
                <a:solidFill>
                  <a:srgbClr val="E61E50"/>
                </a:solidFill>
              </a:rPr>
              <a:t>cost</a:t>
            </a:r>
          </a:p>
        </p:txBody>
      </p:sp>
      <p:sp>
        <p:nvSpPr>
          <p:cNvPr id="2" name="TextBox 1"/>
          <p:cNvSpPr txBox="1"/>
          <p:nvPr/>
        </p:nvSpPr>
        <p:spPr bwMode="gray">
          <a:xfrm>
            <a:off x="2099556" y="5157192"/>
            <a:ext cx="7074786" cy="579646"/>
          </a:xfrm>
          <a:prstGeom prst="rect">
            <a:avLst/>
          </a:prstGeom>
          <a:noFill/>
        </p:spPr>
        <p:txBody>
          <a:bodyPr wrap="square" lIns="0" tIns="0" rIns="0" bIns="0" rtlCol="0">
            <a:spAutoFit/>
          </a:bodyPr>
          <a:lstStyle/>
          <a:p>
            <a:pPr>
              <a:spcBef>
                <a:spcPct val="0"/>
              </a:spcBef>
            </a:pPr>
            <a:r>
              <a:rPr lang="en-US" sz="1200" dirty="0"/>
              <a:t>Exploratory testing can provide immediate rapid feedback on areas not fully specified.</a:t>
            </a:r>
          </a:p>
          <a:p>
            <a:pPr>
              <a:spcBef>
                <a:spcPct val="0"/>
              </a:spcBef>
            </a:pPr>
            <a:r>
              <a:rPr lang="en-US" sz="1200" dirty="0"/>
              <a:t>Automated tests provide feedback that previously validated work still works as expected</a:t>
            </a:r>
          </a:p>
          <a:p>
            <a:pPr defTabSz="685800">
              <a:spcBef>
                <a:spcPts val="225"/>
              </a:spcBef>
              <a:spcAft>
                <a:spcPts val="225"/>
              </a:spcAft>
              <a:buClr>
                <a:schemeClr val="accent1"/>
              </a:buClr>
            </a:pPr>
            <a:endParaRPr lang="en-US" sz="1200" dirty="0" err="1">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7" name="Content Placeholder 2"/>
          <p:cNvSpPr txBox="1">
            <a:spLocks/>
          </p:cNvSpPr>
          <p:nvPr/>
        </p:nvSpPr>
        <p:spPr bwMode="gray">
          <a:xfrm>
            <a:off x="9802291" y="2028406"/>
            <a:ext cx="1782198" cy="3682157"/>
          </a:xfrm>
          <a:prstGeom prst="rect">
            <a:avLst/>
          </a:prstGeom>
        </p:spPr>
        <p:txBody>
          <a:bodyPr vert="horz" lIns="0" tIns="0" rIns="0" bIns="0" rtlCol="0">
            <a:noAutofit/>
          </a:bodyPr>
          <a:lstStyle>
            <a:lvl1pPr marL="0" indent="0" algn="l" defTabSz="685800" rtl="0" eaLnBrk="1" latinLnBrk="0" hangingPunct="1">
              <a:lnSpc>
                <a:spcPct val="105000"/>
              </a:lnSpc>
              <a:spcBef>
                <a:spcPts val="450"/>
              </a:spcBef>
              <a:spcAft>
                <a:spcPts val="225"/>
              </a:spcAft>
              <a:buFont typeface="Arial" panose="020B0604020202020204" pitchFamily="34" charset="0"/>
              <a:buNone/>
              <a:defRPr lang="en-US"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35000" indent="-135000" algn="l" defTabSz="685800" rtl="0" eaLnBrk="1" latinLnBrk="0" hangingPunct="1">
              <a:lnSpc>
                <a:spcPct val="105000"/>
              </a:lnSpc>
              <a:spcBef>
                <a:spcPts val="225"/>
              </a:spcBef>
              <a:spcAft>
                <a:spcPts val="225"/>
              </a:spcAft>
              <a:buClr>
                <a:schemeClr val="accent1"/>
              </a:buClr>
              <a:buFont typeface="Wingdings" panose="05000000000000000000" pitchFamily="2" charset="2"/>
              <a:buChar char=""/>
              <a:defRPr lang="en-US"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70000" indent="-135000" algn="l" defTabSz="685800" rtl="0" eaLnBrk="1" latinLnBrk="0" hangingPunct="1">
              <a:lnSpc>
                <a:spcPct val="105000"/>
              </a:lnSpc>
              <a:spcBef>
                <a:spcPts val="225"/>
              </a:spcBef>
              <a:spcAft>
                <a:spcPts val="225"/>
              </a:spcAft>
              <a:buClr>
                <a:schemeClr val="accent1"/>
              </a:buClr>
              <a:buFont typeface="Symbol" panose="05050102010706020507" pitchFamily="18" charset="2"/>
              <a:buChar char="-"/>
              <a:defRPr lang="en-US"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403622"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lang="en-US"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540544"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lang="de-DE"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540000"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540000"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sz="12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540000"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sz="12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540000"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214313" indent="-214313">
              <a:buFont typeface="Arial" panose="020B0604020202020204" pitchFamily="34" charset="0"/>
              <a:buChar char="•"/>
            </a:pPr>
            <a:r>
              <a:rPr lang="en-US"/>
              <a:t>Provides safety net</a:t>
            </a:r>
          </a:p>
          <a:p>
            <a:pPr marL="214313" indent="-214313">
              <a:buFont typeface="Arial" panose="020B0604020202020204" pitchFamily="34" charset="0"/>
              <a:buChar char="•"/>
            </a:pPr>
            <a:r>
              <a:rPr lang="en-US"/>
              <a:t>Supports rapid iterations</a:t>
            </a:r>
          </a:p>
          <a:p>
            <a:pPr marL="214313" indent="-214313">
              <a:buFont typeface="Arial" panose="020B0604020202020204" pitchFamily="34" charset="0"/>
              <a:buChar char="•"/>
            </a:pPr>
            <a:r>
              <a:rPr lang="en-US"/>
              <a:t>Provides footholds to keep notching upward</a:t>
            </a:r>
          </a:p>
          <a:p>
            <a:pPr marL="214313" indent="-214313">
              <a:buFont typeface="Arial" panose="020B0604020202020204" pitchFamily="34" charset="0"/>
              <a:buChar char="•"/>
            </a:pPr>
            <a:r>
              <a:rPr lang="en-US"/>
              <a:t>Provides rapid feedback</a:t>
            </a:r>
          </a:p>
          <a:p>
            <a:pPr marL="214313" indent="-214313">
              <a:buFont typeface="Arial" panose="020B0604020202020204" pitchFamily="34" charset="0"/>
              <a:buChar char="•"/>
            </a:pPr>
            <a:r>
              <a:rPr lang="en-US"/>
              <a:t>Focuses effort on what is valuable</a:t>
            </a:r>
          </a:p>
          <a:p>
            <a:pPr marL="214313" indent="-214313">
              <a:buFont typeface="Arial" panose="020B0604020202020204" pitchFamily="34" charset="0"/>
              <a:buChar char="•"/>
            </a:pPr>
            <a:r>
              <a:rPr lang="en-US"/>
              <a:t>Frees people to do their best work</a:t>
            </a:r>
            <a:endParaRPr lang="en-US" dirty="0"/>
          </a:p>
        </p:txBody>
      </p:sp>
    </p:spTree>
    <p:extLst>
      <p:ext uri="{BB962C8B-B14F-4D97-AF65-F5344CB8AC3E}">
        <p14:creationId xmlns:p14="http://schemas.microsoft.com/office/powerpoint/2010/main" val="2575859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125</a:t>
            </a:fld>
            <a:endParaRPr lang="en-US" dirty="0"/>
          </a:p>
        </p:txBody>
      </p:sp>
      <p:pic>
        <p:nvPicPr>
          <p:cNvPr id="7" name="Content Placeholder 6"/>
          <p:cNvPicPr>
            <a:picLocks noGrp="1" noChangeAspect="1"/>
          </p:cNvPicPr>
          <p:nvPr>
            <p:ph sz="quarter" idx="14"/>
          </p:nvPr>
        </p:nvPicPr>
        <p:blipFill>
          <a:blip r:embed="rId2">
            <a:extLst>
              <a:ext uri="{28A0092B-C50C-407E-A947-70E740481C1C}">
                <a14:useLocalDpi xmlns:a14="http://schemas.microsoft.com/office/drawing/2010/main" val="0"/>
              </a:ext>
            </a:extLst>
          </a:blip>
          <a:stretch>
            <a:fillRect/>
          </a:stretch>
        </p:blipFill>
        <p:spPr>
          <a:xfrm>
            <a:off x="1937538" y="1810934"/>
            <a:ext cx="5592124" cy="2752193"/>
          </a:xfrm>
        </p:spPr>
      </p:pic>
      <p:sp>
        <p:nvSpPr>
          <p:cNvPr id="5" name="Text Placeholder 4"/>
          <p:cNvSpPr>
            <a:spLocks noGrp="1"/>
          </p:cNvSpPr>
          <p:nvPr>
            <p:ph type="body" sz="quarter" idx="13"/>
          </p:nvPr>
        </p:nvSpPr>
        <p:spPr/>
        <p:txBody>
          <a:bodyPr/>
          <a:lstStyle/>
          <a:p>
            <a:r>
              <a:rPr lang="en-US" dirty="0"/>
              <a:t>Difference Between ‘Commitment’ &amp; being Involved</a:t>
            </a:r>
          </a:p>
        </p:txBody>
      </p:sp>
      <p:sp>
        <p:nvSpPr>
          <p:cNvPr id="8" name="Rectangle 7"/>
          <p:cNvSpPr/>
          <p:nvPr/>
        </p:nvSpPr>
        <p:spPr>
          <a:xfrm>
            <a:off x="7760576" y="1308184"/>
            <a:ext cx="2897814" cy="3785652"/>
          </a:xfrm>
          <a:prstGeom prst="rect">
            <a:avLst/>
          </a:prstGeom>
        </p:spPr>
        <p:txBody>
          <a:bodyPr wrap="square">
            <a:spAutoFit/>
          </a:bodyPr>
          <a:lstStyle/>
          <a:p>
            <a:r>
              <a:rPr lang="en-US" sz="1200" dirty="0"/>
              <a:t>There is a story in Scrum about a chicken and a pig.</a:t>
            </a:r>
          </a:p>
          <a:p>
            <a:endParaRPr lang="en-US" sz="1200" dirty="0"/>
          </a:p>
          <a:p>
            <a:r>
              <a:rPr lang="en-US" sz="1200" dirty="0"/>
              <a:t>One day the chicken decides that the two should start a restaurant.</a:t>
            </a:r>
          </a:p>
          <a:p>
            <a:endParaRPr lang="en-US" sz="1200" dirty="0"/>
          </a:p>
          <a:p>
            <a:r>
              <a:rPr lang="en-US" sz="1200" dirty="0"/>
              <a:t>The pig is intrigued by the idea and says, “That sounds great. I’m an entrepreneurial type of hog. I’m sick of working for the farmer. But what are we going to call the restaurant?”</a:t>
            </a:r>
          </a:p>
          <a:p>
            <a:endParaRPr lang="en-US" sz="1200" dirty="0"/>
          </a:p>
          <a:p>
            <a:r>
              <a:rPr lang="en-US" sz="1200" dirty="0"/>
              <a:t>The chicken thinks. Then she scratches and pecks at the dirt and suggests, “Ham and Eggs!”</a:t>
            </a:r>
          </a:p>
          <a:p>
            <a:endParaRPr lang="en-US" sz="1200" dirty="0"/>
          </a:p>
          <a:p>
            <a:r>
              <a:rPr lang="en-US" sz="1200" dirty="0"/>
              <a:t>To which the pig replies, “No thanks, I’d be committed. You’d only be involved.”</a:t>
            </a:r>
          </a:p>
        </p:txBody>
      </p:sp>
    </p:spTree>
    <p:extLst>
      <p:ext uri="{BB962C8B-B14F-4D97-AF65-F5344CB8AC3E}">
        <p14:creationId xmlns:p14="http://schemas.microsoft.com/office/powerpoint/2010/main" val="214442605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126</a:t>
            </a:fld>
            <a:endParaRPr lang="en-US" dirty="0"/>
          </a:p>
        </p:txBody>
      </p:sp>
      <p:sp>
        <p:nvSpPr>
          <p:cNvPr id="6" name="Title 5"/>
          <p:cNvSpPr>
            <a:spLocks noGrp="1"/>
          </p:cNvSpPr>
          <p:nvPr>
            <p:ph type="title"/>
          </p:nvPr>
        </p:nvSpPr>
        <p:spPr>
          <a:xfrm>
            <a:off x="1829527" y="1102198"/>
            <a:ext cx="8208169" cy="249008"/>
          </a:xfrm>
        </p:spPr>
        <p:txBody>
          <a:bodyPr/>
          <a:lstStyle/>
          <a:p>
            <a:r>
              <a:rPr lang="en-US" b="0" dirty="0"/>
              <a:t>Glossary of Terms</a:t>
            </a:r>
          </a:p>
        </p:txBody>
      </p:sp>
      <p:graphicFrame>
        <p:nvGraphicFramePr>
          <p:cNvPr id="8" name="Object 7"/>
          <p:cNvGraphicFramePr>
            <a:graphicFrameLocks noChangeAspect="1"/>
          </p:cNvGraphicFramePr>
          <p:nvPr>
            <p:extLst>
              <p:ext uri="{D42A27DB-BD31-4B8C-83A1-F6EECF244321}">
                <p14:modId xmlns:p14="http://schemas.microsoft.com/office/powerpoint/2010/main" val="3424709522"/>
              </p:ext>
            </p:extLst>
          </p:nvPr>
        </p:nvGraphicFramePr>
        <p:xfrm>
          <a:off x="4945285" y="2456894"/>
          <a:ext cx="1493617" cy="1260239"/>
        </p:xfrm>
        <a:graphic>
          <a:graphicData uri="http://schemas.openxmlformats.org/presentationml/2006/ole">
            <mc:AlternateContent xmlns:mc="http://schemas.openxmlformats.org/markup-compatibility/2006">
              <mc:Choice xmlns:v="urn:schemas-microsoft-com:vml" Requires="v">
                <p:oleObj spid="_x0000_s25315" name="Acrobat Document" showAsIcon="1" r:id="rId3" imgW="914400" imgH="771480" progId="Acrobat.Document.11">
                  <p:embed/>
                </p:oleObj>
              </mc:Choice>
              <mc:Fallback>
                <p:oleObj name="Acrobat Document" showAsIcon="1" r:id="rId3" imgW="914400" imgH="771480" progId="Acrobat.Document.11">
                  <p:embed/>
                  <p:pic>
                    <p:nvPicPr>
                      <p:cNvPr id="0" name=""/>
                      <p:cNvPicPr/>
                      <p:nvPr/>
                    </p:nvPicPr>
                    <p:blipFill>
                      <a:blip r:embed="rId4"/>
                      <a:stretch>
                        <a:fillRect/>
                      </a:stretch>
                    </p:blipFill>
                    <p:spPr>
                      <a:xfrm>
                        <a:off x="4945285" y="2456894"/>
                        <a:ext cx="1493617" cy="1260239"/>
                      </a:xfrm>
                      <a:prstGeom prst="rect">
                        <a:avLst/>
                      </a:prstGeom>
                    </p:spPr>
                  </p:pic>
                </p:oleObj>
              </mc:Fallback>
            </mc:AlternateContent>
          </a:graphicData>
        </a:graphic>
      </p:graphicFrame>
      <p:sp>
        <p:nvSpPr>
          <p:cNvPr id="9" name="TextBox 8"/>
          <p:cNvSpPr txBox="1"/>
          <p:nvPr/>
        </p:nvSpPr>
        <p:spPr bwMode="gray">
          <a:xfrm>
            <a:off x="2585610" y="3645026"/>
            <a:ext cx="4320480" cy="138499"/>
          </a:xfrm>
          <a:prstGeom prst="rect">
            <a:avLst/>
          </a:prstGeom>
          <a:noFill/>
        </p:spPr>
        <p:txBody>
          <a:bodyPr wrap="square" lIns="0" tIns="0" rIns="0" bIns="0" rtlCol="0">
            <a:spAutoFit/>
          </a:bodyPr>
          <a:lstStyle/>
          <a:p>
            <a:pPr defTabSz="685800">
              <a:spcBef>
                <a:spcPts val="225"/>
              </a:spcBef>
              <a:spcAft>
                <a:spcPts val="225"/>
              </a:spcAft>
              <a:buClr>
                <a:schemeClr val="accent1"/>
              </a:buClr>
            </a:pPr>
            <a:r>
              <a:rPr lang="en-US" sz="900" i="1" dirty="0">
                <a:solidFill>
                  <a:srgbClr val="0070C0"/>
                </a:solidFill>
                <a:latin typeface="Verdana" panose="020B0604030504040204" pitchFamily="34" charset="0"/>
                <a:ea typeface="Verdana" panose="020B0604030504040204" pitchFamily="34" charset="0"/>
                <a:cs typeface="Verdana" panose="020B0604030504040204" pitchFamily="34" charset="0"/>
              </a:rPr>
              <a:t>*** Please click on the PDF file for glossary of terms</a:t>
            </a:r>
          </a:p>
        </p:txBody>
      </p:sp>
    </p:spTree>
    <p:extLst>
      <p:ext uri="{BB962C8B-B14F-4D97-AF65-F5344CB8AC3E}">
        <p14:creationId xmlns:p14="http://schemas.microsoft.com/office/powerpoint/2010/main" val="115460991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127</a:t>
            </a:fld>
            <a:endParaRPr lang="en-US" dirty="0"/>
          </a:p>
        </p:txBody>
      </p:sp>
      <p:sp>
        <p:nvSpPr>
          <p:cNvPr id="3" name="Footer Placeholder 2"/>
          <p:cNvSpPr>
            <a:spLocks noGrp="1"/>
          </p:cNvSpPr>
          <p:nvPr>
            <p:ph type="ftr" sz="quarter" idx="15"/>
          </p:nvPr>
        </p:nvSpPr>
        <p:spPr/>
        <p:txBody>
          <a:bodyPr/>
          <a:lstStyle/>
          <a:p>
            <a:r>
              <a:rPr lang="en-US" noProof="0"/>
              <a:t>Title of Presentation | DD.MM.YYYY</a:t>
            </a:r>
            <a:endParaRPr lang="en-US" noProof="0" dirty="0"/>
          </a:p>
        </p:txBody>
      </p:sp>
      <p:pic>
        <p:nvPicPr>
          <p:cNvPr id="7" name="Content Placeholder 6" descr="Welcome to Cover Me Q&amp;A, where we take your questions about cover ..."/>
          <p:cNvPicPr>
            <a:picLocks noGrp="1" noChangeAspect="1"/>
          </p:cNvPicPr>
          <p:nvPr>
            <p:ph sz="quarter" idx="14"/>
          </p:nvPr>
        </p:nvPicPr>
        <p:blipFill>
          <a:blip r:embed="rId2">
            <a:extLst>
              <a:ext uri="{28A0092B-C50C-407E-A947-70E740481C1C}">
                <a14:useLocalDpi xmlns:a14="http://schemas.microsoft.com/office/drawing/2010/main" val="0"/>
              </a:ext>
            </a:extLst>
          </a:blip>
          <a:stretch>
            <a:fillRect/>
          </a:stretch>
        </p:blipFill>
        <p:spPr>
          <a:xfrm>
            <a:off x="3429000" y="2669381"/>
            <a:ext cx="5334000" cy="2238375"/>
          </a:xfrm>
        </p:spPr>
      </p:pic>
    </p:spTree>
    <p:extLst>
      <p:ext uri="{BB962C8B-B14F-4D97-AF65-F5344CB8AC3E}">
        <p14:creationId xmlns:p14="http://schemas.microsoft.com/office/powerpoint/2010/main" val="37044983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2639616" y="404664"/>
            <a:ext cx="10972800" cy="249008"/>
          </a:xfrm>
        </p:spPr>
        <p:txBody>
          <a:bodyPr/>
          <a:lstStyle/>
          <a:p>
            <a:r>
              <a:rPr lang="en-US" b="0" dirty="0"/>
              <a:t>Agile Critical Success Factors</a:t>
            </a:r>
          </a:p>
        </p:txBody>
      </p:sp>
      <p:sp>
        <p:nvSpPr>
          <p:cNvPr id="11267" name="Content Placeholder 2"/>
          <p:cNvSpPr>
            <a:spLocks noGrp="1"/>
          </p:cNvSpPr>
          <p:nvPr>
            <p:ph idx="1"/>
          </p:nvPr>
        </p:nvSpPr>
        <p:spPr>
          <a:xfrm>
            <a:off x="2639617" y="2204864"/>
            <a:ext cx="5400600" cy="3024188"/>
          </a:xfrm>
        </p:spPr>
        <p:txBody>
          <a:bodyPr/>
          <a:lstStyle/>
          <a:p>
            <a:r>
              <a:rPr lang="en-US" sz="1600" dirty="0">
                <a:ea typeface="+mn-ea"/>
              </a:rPr>
              <a:t>Management Buy-In</a:t>
            </a:r>
          </a:p>
          <a:p>
            <a:r>
              <a:rPr lang="en-US" sz="1600" dirty="0">
                <a:ea typeface="+mn-ea"/>
              </a:rPr>
              <a:t>Change Organizational Structure and Design</a:t>
            </a:r>
          </a:p>
          <a:p>
            <a:r>
              <a:rPr lang="en-US" sz="1600" dirty="0">
                <a:ea typeface="+mn-ea"/>
              </a:rPr>
              <a:t>Top Down Approach</a:t>
            </a:r>
          </a:p>
          <a:p>
            <a:r>
              <a:rPr lang="en-US" sz="1600" dirty="0">
                <a:ea typeface="+mn-ea"/>
              </a:rPr>
              <a:t>Participation from Customer</a:t>
            </a:r>
          </a:p>
          <a:p>
            <a:r>
              <a:rPr lang="en-US" sz="1600" dirty="0">
                <a:ea typeface="+mn-ea"/>
              </a:rPr>
              <a:t>Appropriate infrastructure</a:t>
            </a:r>
          </a:p>
          <a:p>
            <a:endParaRPr lang="en-US" dirty="0"/>
          </a:p>
          <a:p>
            <a:pPr>
              <a:buFontTx/>
              <a:buChar char="•"/>
            </a:pPr>
            <a:endParaRPr lang="en-US" dirty="0"/>
          </a:p>
        </p:txBody>
      </p:sp>
      <p:sp>
        <p:nvSpPr>
          <p:cNvPr id="5" name="Title 1"/>
          <p:cNvSpPr txBox="1">
            <a:spLocks/>
          </p:cNvSpPr>
          <p:nvPr/>
        </p:nvSpPr>
        <p:spPr bwMode="auto">
          <a:xfrm>
            <a:off x="1559496" y="4835524"/>
            <a:ext cx="8639175" cy="1329779"/>
          </a:xfrm>
          <a:prstGeom prst="rect">
            <a:avLst/>
          </a:prstGeom>
          <a:noFill/>
          <a:ln w="9525">
            <a:noFill/>
            <a:miter lim="800000"/>
            <a:headEnd/>
            <a:tailEnd/>
          </a:ln>
        </p:spPr>
        <p:txBody>
          <a:bodyPr lIns="0" tIns="0" rIns="0" bIns="0"/>
          <a:lstStyle/>
          <a:p>
            <a:pPr algn="ctr" eaLnBrk="0" hangingPunct="0">
              <a:lnSpc>
                <a:spcPct val="90000"/>
              </a:lnSpc>
              <a:defRPr/>
            </a:pPr>
            <a:r>
              <a:rPr lang="en-US" sz="2800" b="1" kern="0" dirty="0">
                <a:solidFill>
                  <a:srgbClr val="00B050"/>
                </a:solidFill>
                <a:latin typeface="Bauhaus 93" panose="04030905020B02020C02" pitchFamily="82" charset="0"/>
                <a:ea typeface="+mj-ea"/>
                <a:cs typeface="+mj-cs"/>
              </a:rPr>
              <a:t>Change In Mindset</a:t>
            </a:r>
          </a:p>
        </p:txBody>
      </p:sp>
      <p:pic>
        <p:nvPicPr>
          <p:cNvPr id="27650" name="Picture 2" descr="Related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08368" y="2174404"/>
            <a:ext cx="2209428" cy="22094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38524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Content Placeholder 2"/>
          <p:cNvSpPr>
            <a:spLocks noGrp="1"/>
          </p:cNvSpPr>
          <p:nvPr>
            <p:ph idx="1"/>
          </p:nvPr>
        </p:nvSpPr>
        <p:spPr>
          <a:xfrm>
            <a:off x="1981200" y="1600203"/>
            <a:ext cx="9601200" cy="4525963"/>
          </a:xfrm>
        </p:spPr>
        <p:txBody>
          <a:bodyPr/>
          <a:lstStyle/>
          <a:p>
            <a:pPr>
              <a:spcBef>
                <a:spcPct val="0"/>
              </a:spcBef>
              <a:spcAft>
                <a:spcPts val="1200"/>
              </a:spcAft>
            </a:pPr>
            <a:r>
              <a:rPr lang="en-US" sz="1600" dirty="0">
                <a:ea typeface="+mn-ea"/>
              </a:rPr>
              <a:t>Daily Stand-up</a:t>
            </a:r>
          </a:p>
          <a:p>
            <a:pPr>
              <a:spcBef>
                <a:spcPct val="0"/>
              </a:spcBef>
              <a:spcAft>
                <a:spcPts val="1200"/>
              </a:spcAft>
            </a:pPr>
            <a:r>
              <a:rPr lang="en-US" sz="1600" dirty="0">
                <a:ea typeface="+mn-ea"/>
              </a:rPr>
              <a:t>Iteration planning</a:t>
            </a:r>
          </a:p>
          <a:p>
            <a:pPr>
              <a:spcBef>
                <a:spcPct val="0"/>
              </a:spcBef>
              <a:spcAft>
                <a:spcPts val="1200"/>
              </a:spcAft>
            </a:pPr>
            <a:r>
              <a:rPr lang="en-US" sz="1600" dirty="0">
                <a:ea typeface="+mn-ea"/>
              </a:rPr>
              <a:t>Release planning</a:t>
            </a:r>
          </a:p>
          <a:p>
            <a:pPr>
              <a:spcBef>
                <a:spcPct val="0"/>
              </a:spcBef>
              <a:spcAft>
                <a:spcPts val="1200"/>
              </a:spcAft>
            </a:pPr>
            <a:r>
              <a:rPr lang="en-US" sz="1600" dirty="0">
                <a:ea typeface="+mn-ea"/>
              </a:rPr>
              <a:t>Prioritized backlog</a:t>
            </a:r>
          </a:p>
          <a:p>
            <a:pPr>
              <a:spcBef>
                <a:spcPct val="0"/>
              </a:spcBef>
              <a:spcAft>
                <a:spcPts val="1200"/>
              </a:spcAft>
            </a:pPr>
            <a:r>
              <a:rPr lang="en-US" sz="1600" dirty="0">
                <a:ea typeface="+mn-ea"/>
              </a:rPr>
              <a:t>Retrospectives</a:t>
            </a:r>
          </a:p>
          <a:p>
            <a:pPr>
              <a:spcBef>
                <a:spcPct val="0"/>
              </a:spcBef>
              <a:spcAft>
                <a:spcPts val="1200"/>
              </a:spcAft>
            </a:pPr>
            <a:r>
              <a:rPr lang="en-US" sz="1600" dirty="0">
                <a:ea typeface="+mn-ea"/>
              </a:rPr>
              <a:t>Onsite customer satisfaction</a:t>
            </a:r>
          </a:p>
          <a:p>
            <a:pPr>
              <a:spcBef>
                <a:spcPct val="0"/>
              </a:spcBef>
              <a:spcAft>
                <a:spcPts val="1200"/>
              </a:spcAft>
            </a:pPr>
            <a:r>
              <a:rPr lang="en-US" sz="1600" dirty="0">
                <a:ea typeface="+mn-ea"/>
              </a:rPr>
              <a:t>Story wall</a:t>
            </a:r>
          </a:p>
          <a:p>
            <a:pPr>
              <a:spcBef>
                <a:spcPct val="0"/>
              </a:spcBef>
              <a:spcAft>
                <a:spcPts val="1200"/>
              </a:spcAft>
            </a:pPr>
            <a:r>
              <a:rPr lang="en-US" sz="1600" dirty="0">
                <a:ea typeface="+mn-ea"/>
              </a:rPr>
              <a:t>Pair programming</a:t>
            </a:r>
          </a:p>
          <a:p>
            <a:pPr>
              <a:spcBef>
                <a:spcPct val="0"/>
              </a:spcBef>
              <a:spcAft>
                <a:spcPts val="1200"/>
              </a:spcAft>
            </a:pPr>
            <a:r>
              <a:rPr lang="en-US" sz="1600" dirty="0">
                <a:ea typeface="+mn-ea"/>
              </a:rPr>
              <a:t>Open workspaces</a:t>
            </a:r>
          </a:p>
          <a:p>
            <a:pPr>
              <a:spcBef>
                <a:spcPct val="0"/>
              </a:spcBef>
              <a:spcAft>
                <a:spcPts val="1200"/>
              </a:spcAft>
            </a:pPr>
            <a:r>
              <a:rPr lang="en-US" sz="1600" dirty="0">
                <a:ea typeface="+mn-ea"/>
              </a:rPr>
              <a:t>Showcase/demo</a:t>
            </a:r>
          </a:p>
        </p:txBody>
      </p:sp>
      <p:pic>
        <p:nvPicPr>
          <p:cNvPr id="24579" name="Picture 3" descr="invisible man.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688288" y="1700808"/>
            <a:ext cx="2170334" cy="2889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p:cNvSpPr>
            <a:spLocks noGrp="1"/>
          </p:cNvSpPr>
          <p:nvPr>
            <p:ph type="title"/>
          </p:nvPr>
        </p:nvSpPr>
        <p:spPr>
          <a:xfrm>
            <a:off x="1981200" y="548680"/>
            <a:ext cx="10972800" cy="249008"/>
          </a:xfrm>
        </p:spPr>
        <p:txBody>
          <a:bodyPr/>
          <a:lstStyle/>
          <a:p>
            <a:r>
              <a:rPr lang="en-US" sz="1800" b="0" dirty="0"/>
              <a:t>Key Agile Management Practices</a:t>
            </a:r>
            <a:endParaRPr lang="en-US" dirty="0"/>
          </a:p>
        </p:txBody>
      </p:sp>
    </p:spTree>
    <p:extLst>
      <p:ext uri="{BB962C8B-B14F-4D97-AF65-F5344CB8AC3E}">
        <p14:creationId xmlns:p14="http://schemas.microsoft.com/office/powerpoint/2010/main" val="23557496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Content Placeholder 2"/>
          <p:cNvSpPr>
            <a:spLocks noGrp="1"/>
          </p:cNvSpPr>
          <p:nvPr>
            <p:ph idx="1"/>
          </p:nvPr>
        </p:nvSpPr>
        <p:spPr>
          <a:xfrm>
            <a:off x="1981200" y="1600203"/>
            <a:ext cx="9601200" cy="4525963"/>
          </a:xfrm>
        </p:spPr>
        <p:txBody>
          <a:bodyPr/>
          <a:lstStyle/>
          <a:p>
            <a:pPr>
              <a:lnSpc>
                <a:spcPct val="110000"/>
              </a:lnSpc>
              <a:spcBef>
                <a:spcPct val="0"/>
              </a:spcBef>
              <a:spcAft>
                <a:spcPts val="1200"/>
              </a:spcAft>
            </a:pPr>
            <a:r>
              <a:rPr lang="en-US" sz="1600" dirty="0">
                <a:ea typeface="+mn-ea"/>
              </a:rPr>
              <a:t>Unit testing</a:t>
            </a:r>
          </a:p>
          <a:p>
            <a:pPr>
              <a:lnSpc>
                <a:spcPct val="110000"/>
              </a:lnSpc>
              <a:spcBef>
                <a:spcPct val="0"/>
              </a:spcBef>
              <a:spcAft>
                <a:spcPts val="1200"/>
              </a:spcAft>
            </a:pPr>
            <a:r>
              <a:rPr lang="en-US" sz="1600" dirty="0">
                <a:ea typeface="+mn-ea"/>
              </a:rPr>
              <a:t>Continuous integration</a:t>
            </a:r>
          </a:p>
          <a:p>
            <a:pPr>
              <a:lnSpc>
                <a:spcPct val="110000"/>
              </a:lnSpc>
              <a:spcBef>
                <a:spcPct val="0"/>
              </a:spcBef>
              <a:spcAft>
                <a:spcPts val="1200"/>
              </a:spcAft>
            </a:pPr>
            <a:r>
              <a:rPr lang="en-US" sz="1600" dirty="0">
                <a:ea typeface="+mn-ea"/>
              </a:rPr>
              <a:t>Frequent check-ins</a:t>
            </a:r>
          </a:p>
          <a:p>
            <a:pPr>
              <a:lnSpc>
                <a:spcPct val="110000"/>
              </a:lnSpc>
              <a:spcBef>
                <a:spcPct val="0"/>
              </a:spcBef>
              <a:spcAft>
                <a:spcPts val="1200"/>
              </a:spcAft>
            </a:pPr>
            <a:r>
              <a:rPr lang="en-US" sz="1600" dirty="0">
                <a:ea typeface="+mn-ea"/>
              </a:rPr>
              <a:t>Test driven development</a:t>
            </a:r>
          </a:p>
          <a:p>
            <a:pPr>
              <a:lnSpc>
                <a:spcPct val="110000"/>
              </a:lnSpc>
              <a:spcBef>
                <a:spcPct val="0"/>
              </a:spcBef>
              <a:spcAft>
                <a:spcPts val="1200"/>
              </a:spcAft>
            </a:pPr>
            <a:r>
              <a:rPr lang="en-US" sz="1600" dirty="0">
                <a:ea typeface="+mn-ea"/>
              </a:rPr>
              <a:t>Automated acceptance testing </a:t>
            </a:r>
          </a:p>
          <a:p>
            <a:pPr>
              <a:lnSpc>
                <a:spcPct val="110000"/>
              </a:lnSpc>
              <a:spcBef>
                <a:spcPct val="0"/>
              </a:spcBef>
              <a:spcAft>
                <a:spcPts val="1200"/>
              </a:spcAft>
            </a:pPr>
            <a:r>
              <a:rPr lang="en-US" sz="1600" dirty="0">
                <a:ea typeface="+mn-ea"/>
              </a:rPr>
              <a:t>Continuous refactoring</a:t>
            </a:r>
          </a:p>
          <a:p>
            <a:pPr>
              <a:lnSpc>
                <a:spcPct val="110000"/>
              </a:lnSpc>
              <a:spcBef>
                <a:spcPct val="0"/>
              </a:spcBef>
              <a:spcAft>
                <a:spcPts val="1200"/>
              </a:spcAft>
            </a:pPr>
            <a:r>
              <a:rPr lang="en-US" sz="1600" dirty="0">
                <a:ea typeface="+mn-ea"/>
              </a:rPr>
              <a:t>Evolutionary design</a:t>
            </a:r>
          </a:p>
          <a:p>
            <a:pPr>
              <a:lnSpc>
                <a:spcPct val="110000"/>
              </a:lnSpc>
              <a:spcBef>
                <a:spcPct val="0"/>
              </a:spcBef>
              <a:spcAft>
                <a:spcPts val="1200"/>
              </a:spcAft>
            </a:pPr>
            <a:endParaRPr lang="en-US" sz="2400" dirty="0">
              <a:ea typeface="ＭＳ Ｐゴシック" pitchFamily="34" charset="-128"/>
            </a:endParaRPr>
          </a:p>
        </p:txBody>
      </p:sp>
      <p:pic>
        <p:nvPicPr>
          <p:cNvPr id="25603" name="Picture 6" descr="gears3.png"/>
          <p:cNvPicPr>
            <a:picLocks noChangeAspect="1"/>
          </p:cNvPicPr>
          <p:nvPr/>
        </p:nvPicPr>
        <p:blipFill>
          <a:blip r:embed="rId3">
            <a:extLst>
              <a:ext uri="{28A0092B-C50C-407E-A947-70E740481C1C}">
                <a14:useLocalDpi xmlns:a14="http://schemas.microsoft.com/office/drawing/2010/main" val="0"/>
              </a:ext>
            </a:extLst>
          </a:blip>
          <a:srcRect l="6250" t="9375" r="4688" b="9375"/>
          <a:stretch>
            <a:fillRect/>
          </a:stretch>
        </p:blipFill>
        <p:spPr bwMode="auto">
          <a:xfrm>
            <a:off x="7431792" y="2636912"/>
            <a:ext cx="2956808" cy="269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981200" y="559029"/>
            <a:ext cx="10972800" cy="249008"/>
          </a:xfrm>
        </p:spPr>
        <p:txBody>
          <a:bodyPr/>
          <a:lstStyle/>
          <a:p>
            <a:r>
              <a:rPr lang="en-US" sz="1800" b="0" dirty="0"/>
              <a:t>Key Agile Engineering Practices</a:t>
            </a:r>
            <a:endParaRPr lang="en-US" dirty="0"/>
          </a:p>
        </p:txBody>
      </p:sp>
    </p:spTree>
    <p:extLst>
      <p:ext uri="{BB962C8B-B14F-4D97-AF65-F5344CB8AC3E}">
        <p14:creationId xmlns:p14="http://schemas.microsoft.com/office/powerpoint/2010/main" val="4560243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Content Placeholder 2"/>
          <p:cNvSpPr>
            <a:spLocks noGrp="1"/>
          </p:cNvSpPr>
          <p:nvPr>
            <p:ph idx="1"/>
          </p:nvPr>
        </p:nvSpPr>
        <p:spPr>
          <a:xfrm>
            <a:off x="1981200" y="1600203"/>
            <a:ext cx="9601200" cy="4525963"/>
          </a:xfrm>
        </p:spPr>
        <p:txBody>
          <a:bodyPr/>
          <a:lstStyle/>
          <a:p>
            <a:pPr>
              <a:spcBef>
                <a:spcPct val="0"/>
              </a:spcBef>
              <a:spcAft>
                <a:spcPts val="1200"/>
              </a:spcAft>
            </a:pPr>
            <a:r>
              <a:rPr lang="en-US" sz="1600" dirty="0">
                <a:ea typeface="+mn-ea"/>
              </a:rPr>
              <a:t>Opposition to change/cultural shift</a:t>
            </a:r>
          </a:p>
          <a:p>
            <a:pPr>
              <a:spcBef>
                <a:spcPct val="0"/>
              </a:spcBef>
              <a:spcAft>
                <a:spcPts val="1200"/>
              </a:spcAft>
            </a:pPr>
            <a:r>
              <a:rPr lang="en-US" sz="1600" dirty="0">
                <a:ea typeface="+mn-ea"/>
              </a:rPr>
              <a:t>Lack of coaching/Help in adoption</a:t>
            </a:r>
          </a:p>
          <a:p>
            <a:pPr>
              <a:spcBef>
                <a:spcPct val="0"/>
              </a:spcBef>
              <a:spcAft>
                <a:spcPts val="1200"/>
              </a:spcAft>
            </a:pPr>
            <a:r>
              <a:rPr lang="en-US" sz="1600" dirty="0">
                <a:ea typeface="+mn-ea"/>
              </a:rPr>
              <a:t>Lack of quality people</a:t>
            </a:r>
          </a:p>
          <a:p>
            <a:pPr>
              <a:spcBef>
                <a:spcPct val="0"/>
              </a:spcBef>
              <a:spcAft>
                <a:spcPts val="1200"/>
              </a:spcAft>
            </a:pPr>
            <a:r>
              <a:rPr lang="en-US" sz="1600" dirty="0">
                <a:ea typeface="+mn-ea"/>
              </a:rPr>
              <a:t>Perception of less documentation</a:t>
            </a:r>
          </a:p>
          <a:p>
            <a:pPr>
              <a:spcBef>
                <a:spcPct val="0"/>
              </a:spcBef>
              <a:spcAft>
                <a:spcPts val="1200"/>
              </a:spcAft>
            </a:pPr>
            <a:r>
              <a:rPr lang="en-US" sz="1600" dirty="0">
                <a:ea typeface="+mn-ea"/>
              </a:rPr>
              <a:t>Perceived loss of management control</a:t>
            </a:r>
          </a:p>
          <a:p>
            <a:pPr>
              <a:spcBef>
                <a:spcPct val="0"/>
              </a:spcBef>
              <a:spcAft>
                <a:spcPts val="1200"/>
              </a:spcAft>
            </a:pPr>
            <a:r>
              <a:rPr lang="en-US" sz="1600" dirty="0">
                <a:ea typeface="+mn-ea"/>
              </a:rPr>
              <a:t>Perception that agile does not scale</a:t>
            </a:r>
          </a:p>
          <a:p>
            <a:pPr>
              <a:spcBef>
                <a:spcPct val="0"/>
              </a:spcBef>
              <a:spcAft>
                <a:spcPts val="1200"/>
              </a:spcAft>
            </a:pPr>
            <a:r>
              <a:rPr lang="en-US" sz="1600" dirty="0">
                <a:ea typeface="+mn-ea"/>
              </a:rPr>
              <a:t>Lack of management buy-in</a:t>
            </a:r>
          </a:p>
          <a:p>
            <a:pPr>
              <a:spcBef>
                <a:spcPct val="0"/>
              </a:spcBef>
              <a:spcAft>
                <a:spcPts val="1200"/>
              </a:spcAft>
            </a:pPr>
            <a:r>
              <a:rPr lang="en-US" sz="1600" dirty="0">
                <a:ea typeface="+mn-ea"/>
              </a:rPr>
              <a:t>Perception that agile reduces quality</a:t>
            </a:r>
          </a:p>
        </p:txBody>
      </p:sp>
      <p:pic>
        <p:nvPicPr>
          <p:cNvPr id="26627" name="Picture 3" descr="question-mark.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832304" y="1700808"/>
            <a:ext cx="2232854" cy="3066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981200" y="548680"/>
            <a:ext cx="10972800" cy="249008"/>
          </a:xfrm>
        </p:spPr>
        <p:txBody>
          <a:bodyPr/>
          <a:lstStyle/>
          <a:p>
            <a:r>
              <a:rPr lang="en-US" sz="1800" b="0" dirty="0"/>
              <a:t>Concerns With Agile Adoption</a:t>
            </a:r>
            <a:endParaRPr lang="en-US" dirty="0"/>
          </a:p>
        </p:txBody>
      </p:sp>
    </p:spTree>
    <p:extLst>
      <p:ext uri="{BB962C8B-B14F-4D97-AF65-F5344CB8AC3E}">
        <p14:creationId xmlns:p14="http://schemas.microsoft.com/office/powerpoint/2010/main" val="3253298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1600203"/>
            <a:ext cx="9601200" cy="4525963"/>
          </a:xfrm>
        </p:spPr>
        <p:txBody>
          <a:bodyPr>
            <a:normAutofit/>
          </a:bodyPr>
          <a:lstStyle/>
          <a:p>
            <a:pPr marL="0" lvl="1" indent="0">
              <a:lnSpc>
                <a:spcPct val="120000"/>
              </a:lnSpc>
              <a:spcBef>
                <a:spcPts val="0"/>
              </a:spcBef>
              <a:spcAft>
                <a:spcPts val="600"/>
              </a:spcAft>
              <a:buNone/>
              <a:defRPr/>
            </a:pPr>
            <a:r>
              <a:rPr lang="en-US" sz="1600" dirty="0">
                <a:ea typeface="+mn-ea"/>
              </a:rPr>
              <a:t>New </a:t>
            </a:r>
          </a:p>
          <a:p>
            <a:pPr marL="0" lvl="1" indent="0">
              <a:lnSpc>
                <a:spcPct val="120000"/>
              </a:lnSpc>
              <a:spcBef>
                <a:spcPts val="0"/>
              </a:spcBef>
              <a:spcAft>
                <a:spcPts val="600"/>
              </a:spcAft>
              <a:buNone/>
              <a:defRPr/>
            </a:pPr>
            <a:r>
              <a:rPr lang="en-US" sz="1600" dirty="0">
                <a:ea typeface="+mn-ea"/>
              </a:rPr>
              <a:t>A silver bullet</a:t>
            </a:r>
          </a:p>
          <a:p>
            <a:pPr marL="0" lvl="1" indent="0">
              <a:lnSpc>
                <a:spcPct val="120000"/>
              </a:lnSpc>
              <a:spcBef>
                <a:spcPts val="0"/>
              </a:spcBef>
              <a:spcAft>
                <a:spcPts val="600"/>
              </a:spcAft>
              <a:buNone/>
              <a:defRPr/>
            </a:pPr>
            <a:r>
              <a:rPr lang="en-US" sz="1600" dirty="0">
                <a:ea typeface="+mn-ea"/>
              </a:rPr>
              <a:t>A solution to resource issues</a:t>
            </a:r>
          </a:p>
          <a:p>
            <a:pPr marL="0" lvl="1" indent="0">
              <a:lnSpc>
                <a:spcPct val="120000"/>
              </a:lnSpc>
              <a:spcBef>
                <a:spcPts val="0"/>
              </a:spcBef>
              <a:spcAft>
                <a:spcPts val="600"/>
              </a:spcAft>
              <a:buNone/>
              <a:defRPr/>
            </a:pPr>
            <a:r>
              <a:rPr lang="en-US" sz="1600" dirty="0">
                <a:ea typeface="+mn-ea"/>
              </a:rPr>
              <a:t>Without planning, documentation, architecture</a:t>
            </a:r>
          </a:p>
          <a:p>
            <a:pPr marL="0" lvl="1" indent="0">
              <a:lnSpc>
                <a:spcPct val="120000"/>
              </a:lnSpc>
              <a:spcBef>
                <a:spcPts val="0"/>
              </a:spcBef>
              <a:spcAft>
                <a:spcPts val="600"/>
              </a:spcAft>
              <a:buNone/>
              <a:defRPr/>
            </a:pPr>
            <a:r>
              <a:rPr lang="en-US" sz="1600" dirty="0">
                <a:ea typeface="+mn-ea"/>
              </a:rPr>
              <a:t>A license to hack</a:t>
            </a:r>
          </a:p>
          <a:p>
            <a:pPr marL="0" lvl="1" indent="0">
              <a:lnSpc>
                <a:spcPct val="120000"/>
              </a:lnSpc>
              <a:spcBef>
                <a:spcPts val="0"/>
              </a:spcBef>
              <a:spcAft>
                <a:spcPts val="600"/>
              </a:spcAft>
              <a:buNone/>
              <a:defRPr/>
            </a:pPr>
            <a:r>
              <a:rPr lang="en-US" sz="1600" dirty="0">
                <a:ea typeface="+mn-ea"/>
              </a:rPr>
              <a:t>An excuse for poor quality, upfront design</a:t>
            </a:r>
          </a:p>
          <a:p>
            <a:pPr marL="0" lvl="1" indent="0">
              <a:lnSpc>
                <a:spcPct val="120000"/>
              </a:lnSpc>
              <a:spcBef>
                <a:spcPts val="0"/>
              </a:spcBef>
              <a:spcAft>
                <a:spcPts val="600"/>
              </a:spcAft>
              <a:buNone/>
              <a:defRPr/>
            </a:pPr>
            <a:r>
              <a:rPr lang="en-US" sz="1600" dirty="0">
                <a:ea typeface="+mn-ea"/>
              </a:rPr>
              <a:t>Not Disciplined</a:t>
            </a:r>
          </a:p>
          <a:p>
            <a:pPr>
              <a:lnSpc>
                <a:spcPct val="120000"/>
              </a:lnSpc>
              <a:spcBef>
                <a:spcPts val="0"/>
              </a:spcBef>
              <a:spcAft>
                <a:spcPts val="1200"/>
              </a:spcAft>
              <a:defRPr/>
            </a:pPr>
            <a:r>
              <a:rPr lang="en-US" sz="1600" dirty="0">
                <a:ea typeface="+mn-ea"/>
              </a:rPr>
              <a:t>No fixed price contracts</a:t>
            </a:r>
          </a:p>
          <a:p>
            <a:pPr>
              <a:lnSpc>
                <a:spcPct val="120000"/>
              </a:lnSpc>
              <a:spcBef>
                <a:spcPts val="0"/>
              </a:spcBef>
              <a:spcAft>
                <a:spcPts val="1200"/>
              </a:spcAft>
              <a:defRPr/>
            </a:pPr>
            <a:r>
              <a:rPr lang="en-US" sz="1600" dirty="0">
                <a:ea typeface="+mn-ea"/>
              </a:rPr>
              <a:t>No project manager</a:t>
            </a:r>
          </a:p>
          <a:p>
            <a:pPr>
              <a:lnSpc>
                <a:spcPct val="120000"/>
              </a:lnSpc>
              <a:spcBef>
                <a:spcPts val="0"/>
              </a:spcBef>
              <a:spcAft>
                <a:spcPts val="1200"/>
              </a:spcAft>
              <a:defRPr/>
            </a:pPr>
            <a:r>
              <a:rPr lang="en-US" sz="1600" dirty="0">
                <a:ea typeface="+mn-ea"/>
              </a:rPr>
              <a:t>No distributed teams</a:t>
            </a:r>
          </a:p>
          <a:p>
            <a:pPr>
              <a:defRPr/>
            </a:pPr>
            <a:endParaRPr lang="en-US" dirty="0">
              <a:ea typeface="+mn-ea"/>
            </a:endParaRPr>
          </a:p>
        </p:txBody>
      </p:sp>
      <p:pic>
        <p:nvPicPr>
          <p:cNvPr id="27651" name="Picture 5" descr="unicorn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902059" y="1752600"/>
            <a:ext cx="2781817" cy="347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981200" y="548680"/>
            <a:ext cx="10972800" cy="249008"/>
          </a:xfrm>
        </p:spPr>
        <p:txBody>
          <a:bodyPr/>
          <a:lstStyle/>
          <a:p>
            <a:r>
              <a:rPr lang="en-US" sz="1800" b="0" dirty="0"/>
              <a:t>Myths And Misconceptions</a:t>
            </a:r>
            <a:endParaRPr lang="en-US" dirty="0"/>
          </a:p>
        </p:txBody>
      </p:sp>
    </p:spTree>
    <p:extLst>
      <p:ext uri="{BB962C8B-B14F-4D97-AF65-F5344CB8AC3E}">
        <p14:creationId xmlns:p14="http://schemas.microsoft.com/office/powerpoint/2010/main" val="41544722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356173" y="1772816"/>
            <a:ext cx="9230816" cy="4525963"/>
          </a:xfrm>
        </p:spPr>
        <p:txBody>
          <a:bodyPr>
            <a:normAutofit/>
          </a:bodyPr>
          <a:lstStyle/>
          <a:p>
            <a:pPr>
              <a:lnSpc>
                <a:spcPct val="120000"/>
              </a:lnSpc>
              <a:spcBef>
                <a:spcPts val="0"/>
              </a:spcBef>
              <a:defRPr/>
            </a:pPr>
            <a:r>
              <a:rPr lang="en-US" sz="1600" dirty="0">
                <a:ea typeface="+mn-ea"/>
              </a:rPr>
              <a:t>Adapting to changing requirements</a:t>
            </a:r>
          </a:p>
          <a:p>
            <a:pPr>
              <a:lnSpc>
                <a:spcPct val="120000"/>
              </a:lnSpc>
              <a:spcBef>
                <a:spcPts val="0"/>
              </a:spcBef>
              <a:defRPr/>
            </a:pPr>
            <a:r>
              <a:rPr lang="en-US" sz="1600" dirty="0">
                <a:ea typeface="+mn-ea"/>
              </a:rPr>
              <a:t>Improving time to market</a:t>
            </a:r>
          </a:p>
          <a:p>
            <a:pPr>
              <a:lnSpc>
                <a:spcPct val="120000"/>
              </a:lnSpc>
              <a:spcBef>
                <a:spcPts val="0"/>
              </a:spcBef>
              <a:defRPr/>
            </a:pPr>
            <a:r>
              <a:rPr lang="en-US" sz="1600" dirty="0">
                <a:ea typeface="+mn-ea"/>
              </a:rPr>
              <a:t>Improving quality</a:t>
            </a:r>
          </a:p>
          <a:p>
            <a:pPr>
              <a:lnSpc>
                <a:spcPct val="120000"/>
              </a:lnSpc>
              <a:spcBef>
                <a:spcPts val="0"/>
              </a:spcBef>
              <a:defRPr/>
            </a:pPr>
            <a:r>
              <a:rPr lang="en-US" sz="1600" dirty="0">
                <a:ea typeface="+mn-ea"/>
              </a:rPr>
              <a:t>Increasing productivity</a:t>
            </a:r>
          </a:p>
          <a:p>
            <a:pPr>
              <a:lnSpc>
                <a:spcPct val="120000"/>
              </a:lnSpc>
              <a:spcBef>
                <a:spcPts val="0"/>
              </a:spcBef>
              <a:defRPr/>
            </a:pPr>
            <a:r>
              <a:rPr lang="en-US" sz="1600" dirty="0">
                <a:ea typeface="+mn-ea"/>
              </a:rPr>
              <a:t>Improve success ratio</a:t>
            </a:r>
          </a:p>
          <a:p>
            <a:pPr>
              <a:lnSpc>
                <a:spcPct val="120000"/>
              </a:lnSpc>
              <a:spcBef>
                <a:spcPts val="0"/>
              </a:spcBef>
              <a:defRPr/>
            </a:pPr>
            <a:r>
              <a:rPr lang="en-US" sz="1600" dirty="0">
                <a:ea typeface="+mn-ea"/>
              </a:rPr>
              <a:t>Improving collaboration between business and IT</a:t>
            </a:r>
          </a:p>
          <a:p>
            <a:pPr>
              <a:lnSpc>
                <a:spcPct val="120000"/>
              </a:lnSpc>
              <a:spcBef>
                <a:spcPts val="0"/>
              </a:spcBef>
              <a:defRPr/>
            </a:pPr>
            <a:r>
              <a:rPr lang="en-US" sz="1600" dirty="0">
                <a:ea typeface="+mn-ea"/>
              </a:rPr>
              <a:t>Reducing cost of software development</a:t>
            </a:r>
          </a:p>
          <a:p>
            <a:pPr>
              <a:lnSpc>
                <a:spcPct val="120000"/>
              </a:lnSpc>
              <a:spcBef>
                <a:spcPts val="0"/>
              </a:spcBef>
              <a:defRPr/>
            </a:pPr>
            <a:r>
              <a:rPr lang="en-US" sz="1600" dirty="0">
                <a:ea typeface="+mn-ea"/>
              </a:rPr>
              <a:t>Improve project visibility</a:t>
            </a:r>
          </a:p>
          <a:p>
            <a:pPr>
              <a:lnSpc>
                <a:spcPct val="120000"/>
              </a:lnSpc>
              <a:spcBef>
                <a:spcPts val="0"/>
              </a:spcBef>
              <a:defRPr/>
            </a:pPr>
            <a:r>
              <a:rPr lang="en-US" sz="1600" dirty="0">
                <a:ea typeface="+mn-ea"/>
              </a:rPr>
              <a:t>Fixing problems in existing process</a:t>
            </a:r>
          </a:p>
          <a:p>
            <a:pPr>
              <a:lnSpc>
                <a:spcPct val="120000"/>
              </a:lnSpc>
              <a:spcBef>
                <a:spcPts val="0"/>
              </a:spcBef>
              <a:defRPr/>
            </a:pPr>
            <a:r>
              <a:rPr lang="en-US" sz="1600" dirty="0">
                <a:ea typeface="+mn-ea"/>
              </a:rPr>
              <a:t>Empowering teams</a:t>
            </a:r>
          </a:p>
          <a:p>
            <a:pPr>
              <a:lnSpc>
                <a:spcPct val="120000"/>
              </a:lnSpc>
              <a:spcBef>
                <a:spcPts val="0"/>
              </a:spcBef>
              <a:defRPr/>
            </a:pPr>
            <a:r>
              <a:rPr lang="en-US" sz="1600" dirty="0">
                <a:ea typeface="+mn-ea"/>
              </a:rPr>
              <a:t>Customers asked for it</a:t>
            </a:r>
          </a:p>
        </p:txBody>
      </p:sp>
      <p:sp>
        <p:nvSpPr>
          <p:cNvPr id="2" name="Title 1"/>
          <p:cNvSpPr>
            <a:spLocks noGrp="1"/>
          </p:cNvSpPr>
          <p:nvPr>
            <p:ph type="title"/>
          </p:nvPr>
        </p:nvSpPr>
        <p:spPr>
          <a:xfrm>
            <a:off x="2356173" y="332656"/>
            <a:ext cx="10972800" cy="249008"/>
          </a:xfrm>
        </p:spPr>
        <p:txBody>
          <a:bodyPr/>
          <a:lstStyle/>
          <a:p>
            <a:r>
              <a:rPr lang="en-US" sz="1800" b="0" dirty="0"/>
              <a:t>Factors Influencing Agile Adoption</a:t>
            </a:r>
            <a:endParaRPr lang="en-US" b="0" dirty="0"/>
          </a:p>
        </p:txBody>
      </p:sp>
      <p:pic>
        <p:nvPicPr>
          <p:cNvPr id="41988" name="Picture 4" descr="Image result for influenc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71581" y="2276872"/>
            <a:ext cx="4762500" cy="22955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98009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19</a:t>
            </a:fld>
            <a:endParaRPr lang="en-US" dirty="0"/>
          </a:p>
        </p:txBody>
      </p:sp>
      <p:sp>
        <p:nvSpPr>
          <p:cNvPr id="7" name="Rectangle 2"/>
          <p:cNvSpPr>
            <a:spLocks noGrp="1" noChangeArrowheads="1"/>
          </p:cNvSpPr>
          <p:nvPr>
            <p:ph sz="quarter" idx="14"/>
          </p:nvPr>
        </p:nvSpPr>
        <p:spPr>
          <a:xfrm>
            <a:off x="2207568" y="2060848"/>
            <a:ext cx="6480720" cy="3456383"/>
          </a:xfrm>
        </p:spPr>
        <p:txBody>
          <a:bodyPr/>
          <a:lstStyle/>
          <a:p>
            <a:pPr marL="523875">
              <a:lnSpc>
                <a:spcPct val="90000"/>
              </a:lnSpc>
              <a:buSzPct val="125000"/>
              <a:defRPr/>
            </a:pPr>
            <a:r>
              <a:rPr lang="en-US" sz="1600" dirty="0">
                <a:ea typeface="+mn-ea"/>
                <a:sym typeface="Gill Sans" charset="0"/>
              </a:rPr>
              <a:t>Self-organizing teams</a:t>
            </a:r>
          </a:p>
          <a:p>
            <a:pPr marL="523875">
              <a:lnSpc>
                <a:spcPct val="90000"/>
              </a:lnSpc>
              <a:spcBef>
                <a:spcPts val="975"/>
              </a:spcBef>
              <a:buSzPct val="125000"/>
              <a:defRPr/>
            </a:pPr>
            <a:r>
              <a:rPr lang="en-US" sz="1600" dirty="0">
                <a:ea typeface="+mn-ea"/>
                <a:sym typeface="Gill Sans" charset="0"/>
              </a:rPr>
              <a:t>Product progresses in a series of month-long </a:t>
            </a:r>
            <a:r>
              <a:rPr lang="ja-JP" altLang="en-US" sz="1600" dirty="0">
                <a:ea typeface="+mn-ea"/>
                <a:sym typeface="Gill Sans" charset="0"/>
              </a:rPr>
              <a:t>“</a:t>
            </a:r>
            <a:r>
              <a:rPr lang="en-US" altLang="ja-JP" sz="1600" dirty="0">
                <a:ea typeface="+mn-ea"/>
                <a:sym typeface="Gill Sans" charset="0"/>
              </a:rPr>
              <a:t>sprints</a:t>
            </a:r>
            <a:r>
              <a:rPr lang="ja-JP" altLang="en-US" sz="1600" dirty="0">
                <a:ea typeface="+mn-ea"/>
                <a:sym typeface="Gill Sans" charset="0"/>
              </a:rPr>
              <a:t>”</a:t>
            </a:r>
            <a:endParaRPr lang="en-US" altLang="ja-JP" sz="1600" dirty="0">
              <a:ea typeface="+mn-ea"/>
              <a:sym typeface="Gill Sans" charset="0"/>
            </a:endParaRPr>
          </a:p>
          <a:p>
            <a:pPr marL="523875">
              <a:lnSpc>
                <a:spcPct val="90000"/>
              </a:lnSpc>
              <a:spcBef>
                <a:spcPts val="975"/>
              </a:spcBef>
              <a:buSzPct val="125000"/>
              <a:defRPr/>
            </a:pPr>
            <a:r>
              <a:rPr lang="en-US" sz="1600" dirty="0">
                <a:ea typeface="+mn-ea"/>
                <a:sym typeface="Gill Sans" charset="0"/>
              </a:rPr>
              <a:t>Requirements are captured as items in a list of </a:t>
            </a:r>
            <a:r>
              <a:rPr lang="ja-JP" altLang="en-US" sz="1600" dirty="0">
                <a:ea typeface="+mn-ea"/>
                <a:sym typeface="Gill Sans" charset="0"/>
              </a:rPr>
              <a:t>“</a:t>
            </a:r>
            <a:r>
              <a:rPr lang="en-US" altLang="ja-JP" sz="1600" dirty="0">
                <a:ea typeface="+mn-ea"/>
                <a:sym typeface="Gill Sans" charset="0"/>
              </a:rPr>
              <a:t>product backlog</a:t>
            </a:r>
            <a:r>
              <a:rPr lang="ja-JP" altLang="en-US" sz="1600" dirty="0">
                <a:ea typeface="+mn-ea"/>
                <a:sym typeface="Gill Sans" charset="0"/>
              </a:rPr>
              <a:t>”</a:t>
            </a:r>
            <a:endParaRPr lang="en-US" altLang="ja-JP" sz="1600" dirty="0">
              <a:ea typeface="+mn-ea"/>
              <a:sym typeface="Gill Sans" charset="0"/>
            </a:endParaRPr>
          </a:p>
          <a:p>
            <a:pPr marL="523875">
              <a:lnSpc>
                <a:spcPct val="90000"/>
              </a:lnSpc>
              <a:spcBef>
                <a:spcPts val="975"/>
              </a:spcBef>
              <a:buSzPct val="125000"/>
              <a:defRPr/>
            </a:pPr>
            <a:r>
              <a:rPr lang="en-US" sz="1600" dirty="0">
                <a:ea typeface="+mn-ea"/>
                <a:sym typeface="Gill Sans" charset="0"/>
              </a:rPr>
              <a:t>No specific engineering practices prescribed</a:t>
            </a:r>
          </a:p>
          <a:p>
            <a:pPr marL="523875">
              <a:lnSpc>
                <a:spcPct val="90000"/>
              </a:lnSpc>
              <a:spcBef>
                <a:spcPts val="975"/>
              </a:spcBef>
              <a:buSzPct val="125000"/>
              <a:defRPr/>
            </a:pPr>
            <a:r>
              <a:rPr lang="en-US" sz="1600" dirty="0">
                <a:ea typeface="+mn-ea"/>
                <a:sym typeface="Gill Sans" charset="0"/>
              </a:rPr>
              <a:t>Uses generative rules to create an agile environment for delivering projects</a:t>
            </a:r>
          </a:p>
          <a:p>
            <a:pPr marL="523875">
              <a:lnSpc>
                <a:spcPct val="90000"/>
              </a:lnSpc>
              <a:spcBef>
                <a:spcPts val="975"/>
              </a:spcBef>
              <a:buSzPct val="125000"/>
              <a:defRPr/>
            </a:pPr>
            <a:r>
              <a:rPr lang="en-US" sz="1600" dirty="0">
                <a:ea typeface="+mn-ea"/>
                <a:sym typeface="Gill Sans" charset="0"/>
              </a:rPr>
              <a:t>One among the </a:t>
            </a:r>
            <a:r>
              <a:rPr lang="ja-JP" altLang="en-US" sz="1600" dirty="0">
                <a:ea typeface="+mn-ea"/>
                <a:sym typeface="Gill Sans" charset="0"/>
              </a:rPr>
              <a:t>“</a:t>
            </a:r>
            <a:r>
              <a:rPr lang="en-US" altLang="ja-JP" sz="1600" dirty="0">
                <a:ea typeface="+mn-ea"/>
                <a:sym typeface="Gill Sans" charset="0"/>
              </a:rPr>
              <a:t>agile</a:t>
            </a:r>
            <a:r>
              <a:rPr lang="ja-JP" altLang="en-US" sz="1600" dirty="0">
                <a:ea typeface="+mn-ea"/>
                <a:sym typeface="Gill Sans" charset="0"/>
              </a:rPr>
              <a:t>“</a:t>
            </a:r>
            <a:r>
              <a:rPr lang="en-US" altLang="ja-JP" sz="1600" dirty="0">
                <a:ea typeface="+mn-ea"/>
                <a:sym typeface="Gill Sans" charset="0"/>
              </a:rPr>
              <a:t> process.</a:t>
            </a:r>
          </a:p>
          <a:p>
            <a:pPr marL="523875">
              <a:lnSpc>
                <a:spcPct val="90000"/>
              </a:lnSpc>
              <a:spcBef>
                <a:spcPts val="975"/>
              </a:spcBef>
              <a:defRPr/>
            </a:pPr>
            <a:endParaRPr lang="en-US" dirty="0"/>
          </a:p>
        </p:txBody>
      </p:sp>
      <p:sp>
        <p:nvSpPr>
          <p:cNvPr id="6" name="Title 5"/>
          <p:cNvSpPr>
            <a:spLocks noGrp="1"/>
          </p:cNvSpPr>
          <p:nvPr>
            <p:ph type="title"/>
          </p:nvPr>
        </p:nvSpPr>
        <p:spPr>
          <a:xfrm>
            <a:off x="2711624" y="260648"/>
            <a:ext cx="10944225" cy="249008"/>
          </a:xfrm>
        </p:spPr>
        <p:txBody>
          <a:bodyPr/>
          <a:lstStyle/>
          <a:p>
            <a:r>
              <a:rPr lang="en-US" b="0" dirty="0"/>
              <a:t>Key characteristics..</a:t>
            </a:r>
          </a:p>
        </p:txBody>
      </p:sp>
      <p:pic>
        <p:nvPicPr>
          <p:cNvPr id="26626" name="Picture 2" descr="Related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64352" y="1700808"/>
            <a:ext cx="2270348" cy="2270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2640926"/>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2</a:t>
            </a:fld>
            <a:endParaRPr lang="en-US" dirty="0"/>
          </a:p>
        </p:txBody>
      </p:sp>
      <p:sp>
        <p:nvSpPr>
          <p:cNvPr id="3" name="Footer Placeholder 2"/>
          <p:cNvSpPr>
            <a:spLocks noGrp="1"/>
          </p:cNvSpPr>
          <p:nvPr>
            <p:ph type="ftr" sz="quarter" idx="15"/>
          </p:nvPr>
        </p:nvSpPr>
        <p:spPr/>
        <p:txBody>
          <a:bodyPr/>
          <a:lstStyle/>
          <a:p>
            <a:r>
              <a:rPr lang="en-US" noProof="0" dirty="0"/>
              <a:t>Copyright</a:t>
            </a:r>
            <a:r>
              <a:rPr lang="en-US" dirty="0"/>
              <a:t>t Dilbert</a:t>
            </a:r>
            <a:endParaRPr lang="en-US" noProof="0" dirty="0"/>
          </a:p>
        </p:txBody>
      </p:sp>
      <p:pic>
        <p:nvPicPr>
          <p:cNvPr id="39940" name="Picture 4" descr="Image result for agile dilber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91544" y="2132856"/>
            <a:ext cx="8379113" cy="25922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31105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20</a:t>
            </a:fld>
            <a:endParaRPr lang="en-US" dirty="0"/>
          </a:p>
        </p:txBody>
      </p:sp>
      <p:pic>
        <p:nvPicPr>
          <p:cNvPr id="7" name="Content Placeholder 6" descr="http://www.scrumhint.com/wp-content/uploads/2015/06/agile-model.png"/>
          <p:cNvPicPr>
            <a:picLocks noGrp="1" noChangeAspect="1" noChangeArrowheads="1"/>
          </p:cNvPicPr>
          <p:nvPr>
            <p:ph sz="quarter" idx="14"/>
          </p:nvPr>
        </p:nvPicPr>
        <p:blipFill>
          <a:blip r:embed="rId2">
            <a:extLst>
              <a:ext uri="{28A0092B-C50C-407E-A947-70E740481C1C}">
                <a14:useLocalDpi xmlns:a14="http://schemas.microsoft.com/office/drawing/2010/main" val="0"/>
              </a:ext>
            </a:extLst>
          </a:blip>
          <a:srcRect/>
          <a:stretch>
            <a:fillRect/>
          </a:stretch>
        </p:blipFill>
        <p:spPr bwMode="auto">
          <a:xfrm>
            <a:off x="2725572" y="1412776"/>
            <a:ext cx="5098620" cy="4737824"/>
          </a:xfrm>
          <a:prstGeom prst="rect">
            <a:avLst/>
          </a:prstGeom>
          <a:noFill/>
          <a:extLst>
            <a:ext uri="{909E8E84-426E-40DD-AFC4-6F175D3DCCD1}">
              <a14:hiddenFill xmlns:a14="http://schemas.microsoft.com/office/drawing/2010/main">
                <a:solidFill>
                  <a:srgbClr val="FFFFFF"/>
                </a:solidFill>
              </a14:hiddenFill>
            </a:ext>
          </a:extLst>
        </p:spPr>
      </p:pic>
      <p:sp>
        <p:nvSpPr>
          <p:cNvPr id="8" name="Title 5"/>
          <p:cNvSpPr>
            <a:spLocks noGrp="1"/>
          </p:cNvSpPr>
          <p:nvPr>
            <p:ph type="title"/>
          </p:nvPr>
        </p:nvSpPr>
        <p:spPr>
          <a:xfrm>
            <a:off x="3287688" y="332656"/>
            <a:ext cx="8208169" cy="249008"/>
          </a:xfrm>
        </p:spPr>
        <p:txBody>
          <a:bodyPr/>
          <a:lstStyle/>
          <a:p>
            <a:r>
              <a:rPr lang="en-US" b="0" dirty="0"/>
              <a:t>What is Agile? - Infographic</a:t>
            </a:r>
          </a:p>
        </p:txBody>
      </p:sp>
    </p:spTree>
    <p:extLst>
      <p:ext uri="{BB962C8B-B14F-4D97-AF65-F5344CB8AC3E}">
        <p14:creationId xmlns:p14="http://schemas.microsoft.com/office/powerpoint/2010/main" val="10447125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Content Placeholder 2"/>
          <p:cNvSpPr>
            <a:spLocks noGrp="1"/>
          </p:cNvSpPr>
          <p:nvPr>
            <p:ph idx="1"/>
          </p:nvPr>
        </p:nvSpPr>
        <p:spPr>
          <a:xfrm>
            <a:off x="2711624" y="1484784"/>
            <a:ext cx="7581528" cy="4752528"/>
          </a:xfrm>
        </p:spPr>
        <p:txBody>
          <a:bodyPr>
            <a:normAutofit/>
          </a:bodyPr>
          <a:lstStyle/>
          <a:p>
            <a:r>
              <a:rPr lang="en-US" sz="1800" b="1" dirty="0">
                <a:ea typeface="+mn-ea"/>
              </a:rPr>
              <a:t>Scrum</a:t>
            </a:r>
          </a:p>
          <a:p>
            <a:r>
              <a:rPr lang="en-US" sz="1400" dirty="0">
                <a:ea typeface="+mn-ea"/>
              </a:rPr>
              <a:t>Extreme Programming(XP)</a:t>
            </a:r>
          </a:p>
          <a:p>
            <a:r>
              <a:rPr lang="en-US" sz="1400" b="1" dirty="0">
                <a:ea typeface="+mn-ea"/>
              </a:rPr>
              <a:t>Lean</a:t>
            </a:r>
          </a:p>
          <a:p>
            <a:r>
              <a:rPr lang="en-US" sz="1400" b="1" dirty="0">
                <a:ea typeface="+mn-ea"/>
              </a:rPr>
              <a:t>KANBAN</a:t>
            </a:r>
          </a:p>
          <a:p>
            <a:r>
              <a:rPr lang="en-US" sz="1400" dirty="0">
                <a:ea typeface="+mn-ea"/>
              </a:rPr>
              <a:t>Crystal</a:t>
            </a:r>
          </a:p>
          <a:p>
            <a:r>
              <a:rPr lang="en-US" sz="1400" dirty="0">
                <a:ea typeface="+mn-ea"/>
              </a:rPr>
              <a:t>Feature Driven Development(FDD)</a:t>
            </a:r>
          </a:p>
          <a:p>
            <a:r>
              <a:rPr lang="en-US" sz="1400" dirty="0">
                <a:ea typeface="+mn-ea"/>
              </a:rPr>
              <a:t>Rational Unified Process(RUP)</a:t>
            </a:r>
          </a:p>
          <a:p>
            <a:r>
              <a:rPr lang="en-US" sz="1400" dirty="0">
                <a:ea typeface="+mn-ea"/>
              </a:rPr>
              <a:t>Dynamic Systems Development Model(DSDM)</a:t>
            </a:r>
          </a:p>
          <a:p>
            <a:r>
              <a:rPr lang="en-US" sz="1400" b="1" dirty="0">
                <a:ea typeface="+mn-ea"/>
              </a:rPr>
              <a:t>Scaled Agile Framework (</a:t>
            </a:r>
            <a:r>
              <a:rPr lang="en-US" sz="1400" b="1" dirty="0" err="1">
                <a:ea typeface="+mn-ea"/>
              </a:rPr>
              <a:t>SAFe</a:t>
            </a:r>
            <a:r>
              <a:rPr lang="en-US" sz="1400" b="1" dirty="0">
                <a:ea typeface="+mn-ea"/>
              </a:rPr>
              <a:t>)</a:t>
            </a:r>
          </a:p>
          <a:p>
            <a:r>
              <a:rPr lang="en-US" sz="1400" dirty="0">
                <a:ea typeface="+mn-ea"/>
              </a:rPr>
              <a:t>Disciplined Agile Delivery(DAD)</a:t>
            </a:r>
          </a:p>
          <a:p>
            <a:r>
              <a:rPr lang="en-US" sz="1400" dirty="0">
                <a:ea typeface="+mn-ea"/>
              </a:rPr>
              <a:t>Large Scale Scrum(</a:t>
            </a:r>
            <a:r>
              <a:rPr lang="en-US" sz="1400" dirty="0" err="1">
                <a:ea typeface="+mn-ea"/>
              </a:rPr>
              <a:t>LeSS</a:t>
            </a:r>
            <a:r>
              <a:rPr lang="en-US" sz="1400" dirty="0">
                <a:ea typeface="+mn-ea"/>
              </a:rPr>
              <a:t>)</a:t>
            </a:r>
          </a:p>
        </p:txBody>
      </p:sp>
      <p:sp>
        <p:nvSpPr>
          <p:cNvPr id="2" name="Title 1"/>
          <p:cNvSpPr>
            <a:spLocks noGrp="1"/>
          </p:cNvSpPr>
          <p:nvPr>
            <p:ph type="title"/>
          </p:nvPr>
        </p:nvSpPr>
        <p:spPr>
          <a:xfrm>
            <a:off x="2710880" y="255737"/>
            <a:ext cx="10972800" cy="249008"/>
          </a:xfrm>
        </p:spPr>
        <p:txBody>
          <a:bodyPr/>
          <a:lstStyle/>
          <a:p>
            <a:r>
              <a:rPr lang="en-US" b="0" dirty="0"/>
              <a:t>Agile Methodologies </a:t>
            </a:r>
          </a:p>
        </p:txBody>
      </p:sp>
      <p:pic>
        <p:nvPicPr>
          <p:cNvPr id="35842" name="Picture 2" descr="Image result for various agile methodologi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56104" y="1988840"/>
            <a:ext cx="3810000" cy="3019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78141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22</a:t>
            </a:fld>
            <a:endParaRPr lang="en-US" dirty="0"/>
          </a:p>
        </p:txBody>
      </p:sp>
      <p:sp>
        <p:nvSpPr>
          <p:cNvPr id="5" name="Text Placeholder 4"/>
          <p:cNvSpPr>
            <a:spLocks noGrp="1"/>
          </p:cNvSpPr>
          <p:nvPr>
            <p:ph type="body" sz="quarter" idx="13"/>
          </p:nvPr>
        </p:nvSpPr>
        <p:spPr>
          <a:xfrm>
            <a:off x="1919923" y="404664"/>
            <a:ext cx="8568565" cy="398144"/>
          </a:xfrm>
        </p:spPr>
        <p:txBody>
          <a:bodyPr/>
          <a:lstStyle/>
          <a:p>
            <a:r>
              <a:rPr lang="en-US" dirty="0"/>
              <a:t>Scrum flow of activity</a:t>
            </a:r>
          </a:p>
        </p:txBody>
      </p:sp>
      <p:pic>
        <p:nvPicPr>
          <p:cNvPr id="18434" name="Picture 2" descr="Image result for scrum"/>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19923" y="1340768"/>
            <a:ext cx="7969413" cy="45365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63317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23</a:t>
            </a:fld>
            <a:endParaRPr lang="en-US" dirty="0"/>
          </a:p>
        </p:txBody>
      </p:sp>
      <p:sp>
        <p:nvSpPr>
          <p:cNvPr id="3" name="Footer Placeholder 2"/>
          <p:cNvSpPr>
            <a:spLocks noGrp="1"/>
          </p:cNvSpPr>
          <p:nvPr>
            <p:ph type="ftr" sz="quarter" idx="15"/>
          </p:nvPr>
        </p:nvSpPr>
        <p:spPr/>
        <p:txBody>
          <a:bodyPr/>
          <a:lstStyle/>
          <a:p>
            <a:r>
              <a:rPr lang="en-US" noProof="0"/>
              <a:t>Title of Presentation | DD.MM.YYYY</a:t>
            </a:r>
            <a:endParaRPr lang="en-US" noProof="0" dirty="0"/>
          </a:p>
        </p:txBody>
      </p:sp>
      <p:sp>
        <p:nvSpPr>
          <p:cNvPr id="6" name="Title 5"/>
          <p:cNvSpPr>
            <a:spLocks noGrp="1"/>
          </p:cNvSpPr>
          <p:nvPr>
            <p:ph type="title"/>
          </p:nvPr>
        </p:nvSpPr>
        <p:spPr>
          <a:xfrm>
            <a:off x="767408" y="161466"/>
            <a:ext cx="10944225" cy="459387"/>
          </a:xfrm>
        </p:spPr>
        <p:txBody>
          <a:bodyPr/>
          <a:lstStyle/>
          <a:p>
            <a:r>
              <a:rPr lang="en-US" b="0" dirty="0"/>
              <a:t>KANBAN System</a:t>
            </a:r>
            <a:br>
              <a:rPr lang="en-US" b="0" dirty="0"/>
            </a:br>
            <a:r>
              <a:rPr lang="en-US" sz="1400" b="0" dirty="0" err="1"/>
              <a:t>Taichii</a:t>
            </a:r>
            <a:r>
              <a:rPr lang="en-US" sz="1400" b="0" dirty="0"/>
              <a:t> </a:t>
            </a:r>
            <a:r>
              <a:rPr lang="en-US" sz="1400" b="0" dirty="0" err="1"/>
              <a:t>Ohno</a:t>
            </a:r>
            <a:endParaRPr lang="en-US" b="0" dirty="0"/>
          </a:p>
        </p:txBody>
      </p:sp>
      <p:pic>
        <p:nvPicPr>
          <p:cNvPr id="37890" name="Picture 2" descr="Image result for Kanban"/>
          <p:cNvPicPr>
            <a:picLocks noGrp="1" noChangeAspect="1" noChangeArrowheads="1"/>
          </p:cNvPicPr>
          <p:nvPr>
            <p:ph sz="quarter" idx="14"/>
          </p:nvPr>
        </p:nvPicPr>
        <p:blipFill>
          <a:blip r:embed="rId2">
            <a:extLst>
              <a:ext uri="{28A0092B-C50C-407E-A947-70E740481C1C}">
                <a14:useLocalDpi xmlns:a14="http://schemas.microsoft.com/office/drawing/2010/main" val="0"/>
              </a:ext>
            </a:extLst>
          </a:blip>
          <a:srcRect/>
          <a:stretch>
            <a:fillRect/>
          </a:stretch>
        </p:blipFill>
        <p:spPr bwMode="auto">
          <a:xfrm>
            <a:off x="617875" y="1772816"/>
            <a:ext cx="8862502" cy="3816424"/>
          </a:xfrm>
          <a:prstGeom prst="rect">
            <a:avLst/>
          </a:prstGeom>
          <a:noFill/>
          <a:extLst>
            <a:ext uri="{909E8E84-426E-40DD-AFC4-6F175D3DCCD1}">
              <a14:hiddenFill xmlns:a14="http://schemas.microsoft.com/office/drawing/2010/main">
                <a:solidFill>
                  <a:srgbClr val="FFFFFF"/>
                </a:solidFill>
              </a14:hiddenFill>
            </a:ext>
          </a:extLst>
        </p:spPr>
      </p:pic>
      <p:pic>
        <p:nvPicPr>
          <p:cNvPr id="37892" name="Picture 4" descr="Taiichi Ohno.jpe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07301" y="116632"/>
            <a:ext cx="1590675" cy="179070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bwMode="gray">
          <a:xfrm>
            <a:off x="9693720" y="2714347"/>
            <a:ext cx="1874888" cy="1985159"/>
          </a:xfrm>
          <a:prstGeom prst="rect">
            <a:avLst/>
          </a:prstGeom>
          <a:noFill/>
        </p:spPr>
        <p:txBody>
          <a:bodyPr wrap="square" lIns="0" tIns="0" rIns="0" bIns="0" rtlCol="0">
            <a:spAutoFit/>
          </a:bodyPr>
          <a:lstStyle/>
          <a:p>
            <a:pPr marL="171450" marR="0" indent="-171450" algn="l" defTabSz="914400" rtl="0" eaLnBrk="1" fontAlgn="auto" latinLnBrk="0" hangingPunct="1">
              <a:lnSpc>
                <a:spcPct val="100000"/>
              </a:lnSpc>
              <a:spcBef>
                <a:spcPts val="300"/>
              </a:spcBef>
              <a:spcAft>
                <a:spcPts val="300"/>
              </a:spcAft>
              <a:buClr>
                <a:schemeClr val="accent1"/>
              </a:buClr>
              <a:buSzTx/>
              <a:buFont typeface="Arial" panose="020B0604020202020204" pitchFamily="34" charset="0"/>
              <a:buChar char="•"/>
              <a:tabLst/>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ll Work is visualized</a:t>
            </a:r>
          </a:p>
          <a:p>
            <a:pPr marL="171450" marR="0" indent="-171450" algn="l" defTabSz="914400" rtl="0" eaLnBrk="1" fontAlgn="auto" latinLnBrk="0" hangingPunct="1">
              <a:lnSpc>
                <a:spcPct val="100000"/>
              </a:lnSpc>
              <a:spcBef>
                <a:spcPts val="300"/>
              </a:spcBef>
              <a:spcAft>
                <a:spcPts val="300"/>
              </a:spcAft>
              <a:buClr>
                <a:schemeClr val="accent1"/>
              </a:buClr>
              <a:buSzTx/>
              <a:buFont typeface="Arial" panose="020B0604020202020204" pitchFamily="34" charset="0"/>
              <a:buChar char="•"/>
              <a:tabLst/>
            </a:pPr>
            <a:endParaRPr lang="en-US" sz="1100" b="1"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171450" marR="0" indent="-171450" algn="l" defTabSz="914400" rtl="0" eaLnBrk="1" fontAlgn="auto" latinLnBrk="0" hangingPunct="1">
              <a:lnSpc>
                <a:spcPct val="100000"/>
              </a:lnSpc>
              <a:spcBef>
                <a:spcPts val="300"/>
              </a:spcBef>
              <a:spcAft>
                <a:spcPts val="300"/>
              </a:spcAft>
              <a:buClr>
                <a:schemeClr val="accent1"/>
              </a:buClr>
              <a:buSzTx/>
              <a:buFont typeface="Arial" panose="020B0604020202020204" pitchFamily="34" charset="0"/>
              <a:buChar char="•"/>
              <a:tabLst/>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asks Move from</a:t>
            </a:r>
            <a:r>
              <a:rPr kumimoji="0" lang="en-US" sz="1100" b="1" i="0" u="none" strike="noStrike" kern="1200" cap="none" spc="0" normalizeH="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Left&gt;Right = Pull</a:t>
            </a:r>
          </a:p>
          <a:p>
            <a:pPr marL="171450" marR="0" indent="-171450" algn="l" defTabSz="914400" rtl="0" eaLnBrk="1" fontAlgn="auto" latinLnBrk="0" hangingPunct="1">
              <a:lnSpc>
                <a:spcPct val="100000"/>
              </a:lnSpc>
              <a:spcBef>
                <a:spcPts val="300"/>
              </a:spcBef>
              <a:spcAft>
                <a:spcPts val="300"/>
              </a:spcAft>
              <a:buClr>
                <a:schemeClr val="accent1"/>
              </a:buClr>
              <a:buSzTx/>
              <a:buFont typeface="Arial" panose="020B0604020202020204" pitchFamily="34" charset="0"/>
              <a:buChar char="•"/>
              <a:tabLst/>
            </a:pPr>
            <a:endParaRPr lang="en-US" sz="1100" b="1" baseline="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171450" marR="0" indent="-171450" algn="l" defTabSz="914400" rtl="0" eaLnBrk="1" fontAlgn="auto" latinLnBrk="0" hangingPunct="1">
              <a:lnSpc>
                <a:spcPct val="100000"/>
              </a:lnSpc>
              <a:spcBef>
                <a:spcPts val="300"/>
              </a:spcBef>
              <a:spcAft>
                <a:spcPts val="300"/>
              </a:spcAft>
              <a:buClr>
                <a:schemeClr val="accent1"/>
              </a:buClr>
              <a:buSzTx/>
              <a:buFont typeface="Arial" panose="020B0604020202020204" pitchFamily="34" charset="0"/>
              <a:buChar char="•"/>
              <a:tabLst/>
            </a:pPr>
            <a:r>
              <a:rPr kumimoji="0" lang="en-US" sz="1100" b="1" i="0" u="none" strike="noStrike" kern="1200" cap="none" spc="0" normalizeH="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am Self Organizes</a:t>
            </a:r>
          </a:p>
          <a:p>
            <a:pPr marL="171450" marR="0" indent="-171450" algn="l" defTabSz="914400" rtl="0" eaLnBrk="1" fontAlgn="auto" latinLnBrk="0" hangingPunct="1">
              <a:lnSpc>
                <a:spcPct val="100000"/>
              </a:lnSpc>
              <a:spcBef>
                <a:spcPts val="300"/>
              </a:spcBef>
              <a:spcAft>
                <a:spcPts val="300"/>
              </a:spcAft>
              <a:buClr>
                <a:schemeClr val="accent1"/>
              </a:buClr>
              <a:buSzTx/>
              <a:buFont typeface="Arial" panose="020B0604020202020204" pitchFamily="34" charset="0"/>
              <a:buChar char="•"/>
              <a:tabLst/>
            </a:pPr>
            <a:endParaRPr lang="en-US" sz="1100" b="1" baseline="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171450" marR="0" indent="-171450" algn="l" defTabSz="914400" rtl="0" eaLnBrk="1" fontAlgn="auto" latinLnBrk="0" hangingPunct="1">
              <a:lnSpc>
                <a:spcPct val="100000"/>
              </a:lnSpc>
              <a:spcBef>
                <a:spcPts val="300"/>
              </a:spcBef>
              <a:spcAft>
                <a:spcPts val="300"/>
              </a:spcAft>
              <a:buClr>
                <a:schemeClr val="accent1"/>
              </a:buClr>
              <a:buSzTx/>
              <a:buFont typeface="Arial" panose="020B0604020202020204" pitchFamily="34" charset="0"/>
              <a:buChar char="•"/>
              <a:tabLst/>
            </a:pPr>
            <a:r>
              <a:rPr kumimoji="0" lang="en-US" sz="1100" b="1" i="0" u="none" strike="noStrike" kern="1200" cap="none" spc="0" normalizeH="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am Redesigns the board regularly</a:t>
            </a:r>
            <a:endPar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73322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24</a:t>
            </a:fld>
            <a:endParaRPr lang="en-US" dirty="0"/>
          </a:p>
        </p:txBody>
      </p:sp>
      <p:sp>
        <p:nvSpPr>
          <p:cNvPr id="6" name="Title 5"/>
          <p:cNvSpPr>
            <a:spLocks noGrp="1"/>
          </p:cNvSpPr>
          <p:nvPr>
            <p:ph type="title"/>
          </p:nvPr>
        </p:nvSpPr>
        <p:spPr>
          <a:xfrm>
            <a:off x="1559496" y="298028"/>
            <a:ext cx="10944225" cy="249008"/>
          </a:xfrm>
        </p:spPr>
        <p:txBody>
          <a:bodyPr/>
          <a:lstStyle/>
          <a:p>
            <a:r>
              <a:rPr lang="en-US" b="0" dirty="0"/>
              <a:t>XP Core Practices</a:t>
            </a:r>
          </a:p>
        </p:txBody>
      </p:sp>
      <p:pic>
        <p:nvPicPr>
          <p:cNvPr id="38914" name="Picture 2" descr="Image result for XP practis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43472" y="1069063"/>
            <a:ext cx="6480721" cy="4068565"/>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7" name="TextBox 6"/>
          <p:cNvSpPr txBox="1"/>
          <p:nvPr/>
        </p:nvSpPr>
        <p:spPr bwMode="gray">
          <a:xfrm>
            <a:off x="8388119" y="1340768"/>
            <a:ext cx="3205708" cy="4231928"/>
          </a:xfrm>
          <a:prstGeom prst="rect">
            <a:avLst/>
          </a:prstGeom>
          <a:noFill/>
        </p:spPr>
        <p:txBody>
          <a:bodyPr wrap="square" lIns="0" tIns="0" rIns="0" bIns="0" rtlCol="0">
            <a:spAutoFit/>
          </a:bodyPr>
          <a:lstStyle/>
          <a:p>
            <a:pPr marL="171450" indent="-171450">
              <a:spcBef>
                <a:spcPts val="300"/>
              </a:spcBef>
              <a:spcAft>
                <a:spcPts val="300"/>
              </a:spcAft>
              <a:buClr>
                <a:schemeClr val="accent1"/>
              </a:buClr>
              <a:buFont typeface="Arial" panose="020B0604020202020204" pitchFamily="34" charset="0"/>
              <a:buChar char="•"/>
            </a:pPr>
            <a:r>
              <a:rPr lang="en-US" sz="1000" dirty="0">
                <a:solidFill>
                  <a:srgbClr val="000000"/>
                </a:solidFill>
                <a:latin typeface="Verdana" panose="020B0604030504040204" pitchFamily="34" charset="0"/>
                <a:ea typeface="Verdana" panose="020B0604030504040204" pitchFamily="34" charset="0"/>
                <a:cs typeface="Verdana" panose="020B0604030504040204" pitchFamily="34" charset="0"/>
              </a:rPr>
              <a:t>Pair programming</a:t>
            </a:r>
          </a:p>
          <a:p>
            <a:pPr marL="171450" indent="-171450">
              <a:spcBef>
                <a:spcPts val="300"/>
              </a:spcBef>
              <a:spcAft>
                <a:spcPts val="300"/>
              </a:spcAft>
              <a:buClr>
                <a:schemeClr val="accent1"/>
              </a:buClr>
              <a:buFont typeface="Arial" panose="020B0604020202020204" pitchFamily="34" charset="0"/>
              <a:buChar char="•"/>
            </a:pPr>
            <a:r>
              <a:rPr lang="en-US" sz="1000" dirty="0">
                <a:solidFill>
                  <a:srgbClr val="000000"/>
                </a:solidFill>
                <a:latin typeface="Verdana" panose="020B0604030504040204" pitchFamily="34" charset="0"/>
                <a:ea typeface="Verdana" panose="020B0604030504040204" pitchFamily="34" charset="0"/>
                <a:cs typeface="Verdana" panose="020B0604030504040204" pitchFamily="34" charset="0"/>
              </a:rPr>
              <a:t>Planning game</a:t>
            </a:r>
          </a:p>
          <a:p>
            <a:pPr marL="171450" indent="-171450">
              <a:spcBef>
                <a:spcPts val="300"/>
              </a:spcBef>
              <a:spcAft>
                <a:spcPts val="300"/>
              </a:spcAft>
              <a:buClr>
                <a:schemeClr val="accent1"/>
              </a:buClr>
              <a:buFont typeface="Arial" panose="020B0604020202020204" pitchFamily="34" charset="0"/>
              <a:buChar char="•"/>
            </a:pPr>
            <a:r>
              <a:rPr lang="en-US" sz="1000" dirty="0">
                <a:solidFill>
                  <a:srgbClr val="000000"/>
                </a:solidFill>
                <a:latin typeface="Verdana" panose="020B0604030504040204" pitchFamily="34" charset="0"/>
                <a:ea typeface="Verdana" panose="020B0604030504040204" pitchFamily="34" charset="0"/>
                <a:cs typeface="Verdana" panose="020B0604030504040204" pitchFamily="34" charset="0"/>
              </a:rPr>
              <a:t>Test-driven development</a:t>
            </a:r>
          </a:p>
          <a:p>
            <a:pPr marL="171450" indent="-171450">
              <a:spcBef>
                <a:spcPts val="300"/>
              </a:spcBef>
              <a:spcAft>
                <a:spcPts val="300"/>
              </a:spcAft>
              <a:buClr>
                <a:schemeClr val="accent1"/>
              </a:buClr>
              <a:buFont typeface="Arial" panose="020B0604020202020204" pitchFamily="34" charset="0"/>
              <a:buChar char="•"/>
            </a:pPr>
            <a:r>
              <a:rPr lang="en-US" sz="1000" dirty="0">
                <a:solidFill>
                  <a:srgbClr val="000000"/>
                </a:solidFill>
                <a:latin typeface="Verdana" panose="020B0604030504040204" pitchFamily="34" charset="0"/>
                <a:ea typeface="Verdana" panose="020B0604030504040204" pitchFamily="34" charset="0"/>
                <a:cs typeface="Verdana" panose="020B0604030504040204" pitchFamily="34" charset="0"/>
              </a:rPr>
              <a:t>Continuous process / Continuous integration</a:t>
            </a:r>
          </a:p>
          <a:p>
            <a:pPr marL="171450" indent="-171450">
              <a:spcBef>
                <a:spcPts val="300"/>
              </a:spcBef>
              <a:spcAft>
                <a:spcPts val="300"/>
              </a:spcAft>
              <a:buClr>
                <a:schemeClr val="accent1"/>
              </a:buClr>
              <a:buFont typeface="Arial" panose="020B0604020202020204" pitchFamily="34" charset="0"/>
              <a:buChar char="•"/>
            </a:pPr>
            <a:r>
              <a:rPr lang="en-US" sz="1000" dirty="0">
                <a:solidFill>
                  <a:srgbClr val="000000"/>
                </a:solidFill>
                <a:latin typeface="Verdana" panose="020B0604030504040204" pitchFamily="34" charset="0"/>
                <a:ea typeface="Verdana" panose="020B0604030504040204" pitchFamily="34" charset="0"/>
                <a:cs typeface="Verdana" panose="020B0604030504040204" pitchFamily="34" charset="0"/>
              </a:rPr>
              <a:t>Refactoring or design improvement</a:t>
            </a:r>
          </a:p>
          <a:p>
            <a:pPr marL="171450" indent="-171450">
              <a:spcBef>
                <a:spcPts val="300"/>
              </a:spcBef>
              <a:spcAft>
                <a:spcPts val="300"/>
              </a:spcAft>
              <a:buClr>
                <a:schemeClr val="accent1"/>
              </a:buClr>
              <a:buFont typeface="Arial" panose="020B0604020202020204" pitchFamily="34" charset="0"/>
              <a:buChar char="•"/>
            </a:pPr>
            <a:r>
              <a:rPr lang="en-US" sz="1000" dirty="0">
                <a:solidFill>
                  <a:srgbClr val="000000"/>
                </a:solidFill>
                <a:latin typeface="Verdana" panose="020B0604030504040204" pitchFamily="34" charset="0"/>
                <a:ea typeface="Verdana" panose="020B0604030504040204" pitchFamily="34" charset="0"/>
                <a:cs typeface="Verdana" panose="020B0604030504040204" pitchFamily="34" charset="0"/>
              </a:rPr>
              <a:t>Shared understanding</a:t>
            </a:r>
          </a:p>
          <a:p>
            <a:pPr marL="171450" indent="-171450">
              <a:spcBef>
                <a:spcPts val="300"/>
              </a:spcBef>
              <a:spcAft>
                <a:spcPts val="300"/>
              </a:spcAft>
              <a:buClr>
                <a:schemeClr val="accent1"/>
              </a:buClr>
              <a:buFont typeface="Arial" panose="020B0604020202020204" pitchFamily="34" charset="0"/>
              <a:buChar char="•"/>
            </a:pPr>
            <a:r>
              <a:rPr lang="en-US" sz="1000" dirty="0">
                <a:solidFill>
                  <a:srgbClr val="000000"/>
                </a:solidFill>
                <a:latin typeface="Verdana" panose="020B0604030504040204" pitchFamily="34" charset="0"/>
                <a:ea typeface="Verdana" panose="020B0604030504040204" pitchFamily="34" charset="0"/>
                <a:cs typeface="Verdana" panose="020B0604030504040204" pitchFamily="34" charset="0"/>
              </a:rPr>
              <a:t>Coding standards</a:t>
            </a:r>
          </a:p>
          <a:p>
            <a:pPr marL="171450" indent="-171450">
              <a:spcBef>
                <a:spcPts val="300"/>
              </a:spcBef>
              <a:spcAft>
                <a:spcPts val="300"/>
              </a:spcAft>
              <a:buClr>
                <a:schemeClr val="accent1"/>
              </a:buClr>
              <a:buFont typeface="Arial" panose="020B0604020202020204" pitchFamily="34" charset="0"/>
              <a:buChar char="•"/>
            </a:pPr>
            <a:r>
              <a:rPr lang="en-US" sz="1000" dirty="0">
                <a:solidFill>
                  <a:srgbClr val="000000"/>
                </a:solidFill>
                <a:latin typeface="Verdana" panose="020B0604030504040204" pitchFamily="34" charset="0"/>
                <a:ea typeface="Verdana" panose="020B0604030504040204" pitchFamily="34" charset="0"/>
                <a:cs typeface="Verdana" panose="020B0604030504040204" pitchFamily="34" charset="0"/>
              </a:rPr>
              <a:t>Collective code ownership</a:t>
            </a:r>
          </a:p>
          <a:p>
            <a:pPr marL="171450" indent="-171450">
              <a:spcBef>
                <a:spcPts val="300"/>
              </a:spcBef>
              <a:spcAft>
                <a:spcPts val="300"/>
              </a:spcAft>
              <a:buClr>
                <a:schemeClr val="accent1"/>
              </a:buClr>
              <a:buFont typeface="Arial" panose="020B0604020202020204" pitchFamily="34" charset="0"/>
              <a:buChar char="•"/>
            </a:pPr>
            <a:r>
              <a:rPr lang="en-US" sz="1000" dirty="0">
                <a:solidFill>
                  <a:srgbClr val="000000"/>
                </a:solidFill>
                <a:latin typeface="Verdana" panose="020B0604030504040204" pitchFamily="34" charset="0"/>
                <a:ea typeface="Verdana" panose="020B0604030504040204" pitchFamily="34" charset="0"/>
                <a:cs typeface="Verdana" panose="020B0604030504040204" pitchFamily="34" charset="0"/>
              </a:rPr>
              <a:t>Simple design</a:t>
            </a:r>
          </a:p>
          <a:p>
            <a:pPr marL="171450" indent="-171450">
              <a:spcBef>
                <a:spcPts val="300"/>
              </a:spcBef>
              <a:spcAft>
                <a:spcPts val="300"/>
              </a:spcAft>
              <a:buClr>
                <a:schemeClr val="accent1"/>
              </a:buClr>
              <a:buFont typeface="Arial" panose="020B0604020202020204" pitchFamily="34" charset="0"/>
              <a:buChar char="•"/>
            </a:pPr>
            <a:r>
              <a:rPr lang="en-US" sz="1000" dirty="0">
                <a:solidFill>
                  <a:srgbClr val="000000"/>
                </a:solidFill>
                <a:latin typeface="Verdana" panose="020B0604030504040204" pitchFamily="34" charset="0"/>
                <a:ea typeface="Verdana" panose="020B0604030504040204" pitchFamily="34" charset="0"/>
                <a:cs typeface="Verdana" panose="020B0604030504040204" pitchFamily="34" charset="0"/>
              </a:rPr>
              <a:t>System metaphor</a:t>
            </a:r>
          </a:p>
          <a:p>
            <a:pPr marL="171450" indent="-171450">
              <a:spcBef>
                <a:spcPts val="300"/>
              </a:spcBef>
              <a:spcAft>
                <a:spcPts val="300"/>
              </a:spcAft>
              <a:buClr>
                <a:schemeClr val="accent1"/>
              </a:buClr>
              <a:buFont typeface="Arial" panose="020B0604020202020204" pitchFamily="34" charset="0"/>
              <a:buChar char="•"/>
            </a:pPr>
            <a:r>
              <a:rPr lang="en-US" sz="1000" dirty="0">
                <a:solidFill>
                  <a:srgbClr val="000000"/>
                </a:solidFill>
                <a:latin typeface="Verdana" panose="020B0604030504040204" pitchFamily="34" charset="0"/>
                <a:ea typeface="Verdana" panose="020B0604030504040204" pitchFamily="34" charset="0"/>
                <a:cs typeface="Verdana" panose="020B0604030504040204" pitchFamily="34" charset="0"/>
              </a:rPr>
              <a:t>Programmer welfare</a:t>
            </a:r>
          </a:p>
          <a:p>
            <a:pPr marL="171450" indent="-171450">
              <a:spcBef>
                <a:spcPts val="300"/>
              </a:spcBef>
              <a:spcAft>
                <a:spcPts val="300"/>
              </a:spcAft>
              <a:buClr>
                <a:schemeClr val="accent1"/>
              </a:buClr>
              <a:buFont typeface="Arial" panose="020B0604020202020204" pitchFamily="34" charset="0"/>
              <a:buChar char="•"/>
            </a:pPr>
            <a:r>
              <a:rPr lang="en-US" sz="1000" dirty="0">
                <a:solidFill>
                  <a:srgbClr val="000000"/>
                </a:solidFill>
                <a:latin typeface="Verdana" panose="020B0604030504040204" pitchFamily="34" charset="0"/>
                <a:ea typeface="Verdana" panose="020B0604030504040204" pitchFamily="34" charset="0"/>
                <a:cs typeface="Verdana" panose="020B0604030504040204" pitchFamily="34" charset="0"/>
              </a:rPr>
              <a:t>Sustainable pace</a:t>
            </a:r>
          </a:p>
          <a:p>
            <a:pPr marL="171450" indent="-171450">
              <a:spcBef>
                <a:spcPts val="300"/>
              </a:spcBef>
              <a:spcAft>
                <a:spcPts val="300"/>
              </a:spcAft>
              <a:buClr>
                <a:schemeClr val="accent1"/>
              </a:buClr>
              <a:buFont typeface="Arial" panose="020B0604020202020204" pitchFamily="34" charset="0"/>
              <a:buChar char="•"/>
            </a:pPr>
            <a:r>
              <a:rPr lang="en-US" sz="1000" dirty="0">
                <a:solidFill>
                  <a:srgbClr val="000000"/>
                </a:solidFill>
                <a:latin typeface="Verdana" panose="020B0604030504040204" pitchFamily="34" charset="0"/>
                <a:ea typeface="Verdana" panose="020B0604030504040204" pitchFamily="34" charset="0"/>
                <a:cs typeface="Verdana" panose="020B0604030504040204" pitchFamily="34" charset="0"/>
              </a:rPr>
              <a:t>The customer is always available</a:t>
            </a:r>
          </a:p>
          <a:p>
            <a:pPr marL="171450" indent="-171450">
              <a:spcBef>
                <a:spcPts val="300"/>
              </a:spcBef>
              <a:spcAft>
                <a:spcPts val="300"/>
              </a:spcAft>
              <a:buClr>
                <a:schemeClr val="accent1"/>
              </a:buClr>
              <a:buFont typeface="Arial" panose="020B0604020202020204" pitchFamily="34" charset="0"/>
              <a:buChar char="•"/>
            </a:pPr>
            <a:r>
              <a:rPr lang="en-US" sz="1000" dirty="0">
                <a:solidFill>
                  <a:srgbClr val="000000"/>
                </a:solidFill>
                <a:latin typeface="Verdana" panose="020B0604030504040204" pitchFamily="34" charset="0"/>
                <a:ea typeface="Verdana" panose="020B0604030504040204" pitchFamily="34" charset="0"/>
                <a:cs typeface="Verdana" panose="020B0604030504040204" pitchFamily="34" charset="0"/>
              </a:rPr>
              <a:t>Code the unit test first</a:t>
            </a:r>
          </a:p>
          <a:p>
            <a:pPr marL="171450" indent="-171450">
              <a:spcBef>
                <a:spcPts val="300"/>
              </a:spcBef>
              <a:spcAft>
                <a:spcPts val="300"/>
              </a:spcAft>
              <a:buClr>
                <a:schemeClr val="accent1"/>
              </a:buClr>
              <a:buFont typeface="Arial" panose="020B0604020202020204" pitchFamily="34" charset="0"/>
              <a:buChar char="•"/>
            </a:pPr>
            <a:r>
              <a:rPr lang="en-US" sz="1000" dirty="0">
                <a:solidFill>
                  <a:srgbClr val="000000"/>
                </a:solidFill>
                <a:latin typeface="Verdana" panose="020B0604030504040204" pitchFamily="34" charset="0"/>
                <a:ea typeface="Verdana" panose="020B0604030504040204" pitchFamily="34" charset="0"/>
                <a:cs typeface="Verdana" panose="020B0604030504040204" pitchFamily="34" charset="0"/>
              </a:rPr>
              <a:t>Leave optimization until last</a:t>
            </a:r>
          </a:p>
          <a:p>
            <a:pPr marL="171450" indent="-171450">
              <a:spcBef>
                <a:spcPts val="300"/>
              </a:spcBef>
              <a:spcAft>
                <a:spcPts val="300"/>
              </a:spcAft>
              <a:buClr>
                <a:schemeClr val="accent1"/>
              </a:buClr>
              <a:buFont typeface="Arial" panose="020B0604020202020204" pitchFamily="34" charset="0"/>
              <a:buChar char="•"/>
            </a:pPr>
            <a:r>
              <a:rPr lang="en-US" sz="1000" dirty="0">
                <a:solidFill>
                  <a:srgbClr val="000000"/>
                </a:solidFill>
                <a:latin typeface="Verdana" panose="020B0604030504040204" pitchFamily="34" charset="0"/>
                <a:ea typeface="Verdana" panose="020B0604030504040204" pitchFamily="34" charset="0"/>
                <a:cs typeface="Verdana" panose="020B0604030504040204" pitchFamily="34" charset="0"/>
              </a:rPr>
              <a:t>No overtime</a:t>
            </a:r>
          </a:p>
          <a:p>
            <a:pPr marL="171450" indent="-171450">
              <a:spcBef>
                <a:spcPts val="300"/>
              </a:spcBef>
              <a:spcAft>
                <a:spcPts val="300"/>
              </a:spcAft>
              <a:buClr>
                <a:schemeClr val="accent1"/>
              </a:buClr>
              <a:buFont typeface="Arial" panose="020B0604020202020204" pitchFamily="34" charset="0"/>
              <a:buChar char="•"/>
            </a:pPr>
            <a:r>
              <a:rPr lang="en-US" sz="1000" dirty="0">
                <a:solidFill>
                  <a:srgbClr val="000000"/>
                </a:solidFill>
                <a:latin typeface="Verdana" panose="020B0604030504040204" pitchFamily="34" charset="0"/>
                <a:ea typeface="Verdana" panose="020B0604030504040204" pitchFamily="34" charset="0"/>
                <a:cs typeface="Verdana" panose="020B0604030504040204" pitchFamily="34" charset="0"/>
              </a:rPr>
              <a:t>All code must have unit tests</a:t>
            </a:r>
          </a:p>
          <a:p>
            <a:pPr marL="171450" indent="-171450">
              <a:spcBef>
                <a:spcPts val="300"/>
              </a:spcBef>
              <a:spcAft>
                <a:spcPts val="300"/>
              </a:spcAft>
              <a:buClr>
                <a:schemeClr val="accent1"/>
              </a:buClr>
              <a:buFont typeface="Arial" panose="020B0604020202020204" pitchFamily="34" charset="0"/>
              <a:buChar char="•"/>
            </a:pPr>
            <a:r>
              <a:rPr lang="en-US" sz="1000" dirty="0">
                <a:solidFill>
                  <a:srgbClr val="000000"/>
                </a:solidFill>
                <a:latin typeface="Verdana" panose="020B0604030504040204" pitchFamily="34" charset="0"/>
                <a:ea typeface="Verdana" panose="020B0604030504040204" pitchFamily="34" charset="0"/>
                <a:cs typeface="Verdana" panose="020B0604030504040204" pitchFamily="34" charset="0"/>
              </a:rPr>
              <a:t>Acceptance tests are run often and the results are published</a:t>
            </a:r>
            <a:endParaRPr kumimoji="0" lang="en-US" sz="1000" b="0" i="0" u="none" strike="noStrike" kern="1200" cap="none" spc="0" normalizeH="0" baseline="0" noProof="0" dirty="0" err="1">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636318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a:xfrm>
            <a:off x="2208396" y="5128368"/>
            <a:ext cx="486000" cy="162129"/>
          </a:xfrm>
        </p:spPr>
        <p:txBody>
          <a:bodyPr/>
          <a:lstStyle/>
          <a:p>
            <a:fld id="{FD5E7EB4-4CDF-47BB-AF16-07782904B863}" type="slidenum">
              <a:rPr lang="en-US" smtClean="0"/>
              <a:pPr/>
              <a:t>25</a:t>
            </a:fld>
            <a:endParaRPr lang="en-US" dirty="0"/>
          </a:p>
        </p:txBody>
      </p:sp>
      <p:sp>
        <p:nvSpPr>
          <p:cNvPr id="6" name="Title 5"/>
          <p:cNvSpPr>
            <a:spLocks noGrp="1"/>
          </p:cNvSpPr>
          <p:nvPr>
            <p:ph type="title"/>
          </p:nvPr>
        </p:nvSpPr>
        <p:spPr>
          <a:xfrm>
            <a:off x="1549890" y="1176274"/>
            <a:ext cx="8208169" cy="249008"/>
          </a:xfrm>
        </p:spPr>
        <p:txBody>
          <a:bodyPr/>
          <a:lstStyle/>
          <a:p>
            <a:r>
              <a:rPr lang="en-US" b="0" dirty="0"/>
              <a:t>	Sequential VS Overlapping development </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73921" y="4466944"/>
            <a:ext cx="4691063"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Line 3"/>
          <p:cNvSpPr>
            <a:spLocks noChangeShapeType="1"/>
          </p:cNvSpPr>
          <p:nvPr/>
        </p:nvSpPr>
        <p:spPr bwMode="auto">
          <a:xfrm>
            <a:off x="2883395" y="2485743"/>
            <a:ext cx="5486400" cy="0"/>
          </a:xfrm>
          <a:prstGeom prst="line">
            <a:avLst/>
          </a:prstGeom>
          <a:noFill/>
          <a:ln w="635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9" name="Line 4"/>
          <p:cNvSpPr>
            <a:spLocks noChangeShapeType="1"/>
          </p:cNvSpPr>
          <p:nvPr/>
        </p:nvSpPr>
        <p:spPr bwMode="auto">
          <a:xfrm>
            <a:off x="2902445" y="5171793"/>
            <a:ext cx="5486400" cy="0"/>
          </a:xfrm>
          <a:prstGeom prst="line">
            <a:avLst/>
          </a:prstGeom>
          <a:noFill/>
          <a:ln w="6350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10" name="Rectangle 5"/>
          <p:cNvSpPr>
            <a:spLocks/>
          </p:cNvSpPr>
          <p:nvPr/>
        </p:nvSpPr>
        <p:spPr bwMode="auto">
          <a:xfrm>
            <a:off x="2451396" y="5492567"/>
            <a:ext cx="3781425"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spcBef>
                <a:spcPts val="1800"/>
              </a:spcBef>
              <a:buClr>
                <a:srgbClr val="5F7BAE"/>
              </a:buClr>
              <a:buSzPct val="150000"/>
              <a:buFont typeface="Lucida Grande" charset="0"/>
              <a:buChar char="•"/>
              <a:defRPr sz="3600">
                <a:solidFill>
                  <a:schemeClr val="tx1"/>
                </a:solidFill>
                <a:latin typeface="Gill Sans" charset="0"/>
                <a:ea typeface="ヒラギノ角ゴ Pro W3" charset="-128"/>
                <a:sym typeface="Gill Sans" charset="0"/>
              </a:defRPr>
            </a:lvl1pPr>
            <a:lvl2pPr marL="742950" indent="-285750">
              <a:spcBef>
                <a:spcPts val="1800"/>
              </a:spcBef>
              <a:buSzPct val="150000"/>
              <a:buFont typeface="Lucida Grande" charset="0"/>
              <a:buChar char="•"/>
              <a:defRPr sz="3200">
                <a:solidFill>
                  <a:schemeClr val="tx1"/>
                </a:solidFill>
                <a:latin typeface="Gill Sans" charset="0"/>
                <a:ea typeface="ヒラギノ角ゴ Pro W3" charset="-128"/>
                <a:sym typeface="Gill Sans" charset="0"/>
              </a:defRPr>
            </a:lvl2pPr>
            <a:lvl3pPr marL="1143000" indent="-228600">
              <a:spcBef>
                <a:spcPts val="1800"/>
              </a:spcBef>
              <a:buSzPct val="150000"/>
              <a:buFont typeface="Lucida Grande" charset="0"/>
              <a:buChar char="•"/>
              <a:defRPr sz="2800">
                <a:solidFill>
                  <a:schemeClr val="tx1"/>
                </a:solidFill>
                <a:latin typeface="Gill Sans" charset="0"/>
                <a:ea typeface="ヒラギノ角ゴ Pro W3" charset="-128"/>
                <a:sym typeface="Gill Sans" charset="0"/>
              </a:defRPr>
            </a:lvl3pPr>
            <a:lvl4pPr marL="1600200" indent="-228600">
              <a:spcBef>
                <a:spcPts val="1800"/>
              </a:spcBef>
              <a:buSzPct val="150000"/>
              <a:buFont typeface="Lucida Grande" charset="0"/>
              <a:buChar char="•"/>
              <a:defRPr sz="2400">
                <a:solidFill>
                  <a:schemeClr val="tx1"/>
                </a:solidFill>
                <a:latin typeface="Gill Sans" charset="0"/>
                <a:ea typeface="ヒラギノ角ゴ Pro W3" charset="-128"/>
                <a:sym typeface="Gill Sans" charset="0"/>
              </a:defRPr>
            </a:lvl4pPr>
            <a:lvl5pPr marL="2057400" indent="-228600">
              <a:spcBef>
                <a:spcPts val="1800"/>
              </a:spcBef>
              <a:buSzPct val="150000"/>
              <a:buFont typeface="Lucida Grande" charset="0"/>
              <a:buChar char="•"/>
              <a:defRPr sz="2400">
                <a:solidFill>
                  <a:schemeClr val="tx1"/>
                </a:solidFill>
                <a:latin typeface="Gill Sans" charset="0"/>
                <a:ea typeface="ヒラギノ角ゴ Pro W3" charset="-128"/>
                <a:sym typeface="Gill Sans" charset="0"/>
              </a:defRPr>
            </a:lvl5pPr>
            <a:lvl6pPr marL="25146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6pPr>
            <a:lvl7pPr marL="29718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7pPr>
            <a:lvl8pPr marL="34290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8pPr>
            <a:lvl9pPr marL="38862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9pPr>
          </a:lstStyle>
          <a:p>
            <a:pPr eaLnBrk="1" hangingPunct="1">
              <a:spcBef>
                <a:spcPct val="0"/>
              </a:spcBef>
              <a:buClrTx/>
              <a:buSzTx/>
              <a:buFontTx/>
              <a:buNone/>
            </a:pPr>
            <a:r>
              <a:rPr lang="en-US" altLang="en-US" sz="1050" dirty="0"/>
              <a:t>Source: </a:t>
            </a:r>
            <a:r>
              <a:rPr lang="ja-JP" altLang="en-US" sz="1050" dirty="0"/>
              <a:t>“</a:t>
            </a:r>
            <a:r>
              <a:rPr lang="en-US" altLang="ja-JP" sz="1050" dirty="0"/>
              <a:t>The New </a:t>
            </a:r>
            <a:r>
              <a:rPr lang="en-US" altLang="ja-JP" sz="1050" dirty="0" err="1"/>
              <a:t>New</a:t>
            </a:r>
            <a:r>
              <a:rPr lang="en-US" altLang="ja-JP" sz="1050" dirty="0"/>
              <a:t> Product Development Game</a:t>
            </a:r>
            <a:r>
              <a:rPr lang="ja-JP" altLang="en-US" sz="1050" dirty="0"/>
              <a:t>”</a:t>
            </a:r>
            <a:r>
              <a:rPr lang="en-US" altLang="ja-JP" sz="1050" dirty="0"/>
              <a:t> by Takeuchi and Nonaka. </a:t>
            </a:r>
            <a:r>
              <a:rPr lang="en-US" altLang="ja-JP" sz="1050" i="1" dirty="0"/>
              <a:t>Harvard Business Review,</a:t>
            </a:r>
            <a:r>
              <a:rPr lang="en-US" altLang="ja-JP" sz="1050" dirty="0"/>
              <a:t> January 1986.</a:t>
            </a:r>
            <a:endParaRPr lang="en-US" altLang="en-US" sz="1050" dirty="0"/>
          </a:p>
        </p:txBody>
      </p:sp>
      <p:sp>
        <p:nvSpPr>
          <p:cNvPr id="11" name="AutoShape 6"/>
          <p:cNvSpPr>
            <a:spLocks/>
          </p:cNvSpPr>
          <p:nvPr/>
        </p:nvSpPr>
        <p:spPr bwMode="auto">
          <a:xfrm>
            <a:off x="2711945" y="2714344"/>
            <a:ext cx="3105150" cy="923925"/>
          </a:xfrm>
          <a:prstGeom prst="roundRect">
            <a:avLst>
              <a:gd name="adj" fmla="val 24741"/>
            </a:avLst>
          </a:prstGeom>
          <a:blipFill dpi="0" rotWithShape="0">
            <a:blip r:embed="rId3"/>
            <a:srcRect/>
            <a:tile tx="0" ty="0" sx="100000" sy="100000" flip="none" algn="tl"/>
          </a:blipFill>
          <a:ln w="25400">
            <a:solidFill>
              <a:srgbClr val="003C83"/>
            </a:solidFill>
            <a:round/>
            <a:headEnd/>
            <a:tailEnd/>
          </a:ln>
          <a:effectLst>
            <a:outerShdw blurRad="114300" dist="63500" dir="2700000" algn="ctr" rotWithShape="0">
              <a:schemeClr val="bg2">
                <a:alpha val="29999"/>
              </a:schemeClr>
            </a:outerShdw>
          </a:effectLst>
        </p:spPr>
        <p:txBody>
          <a:bodyPr/>
          <a:lstStyle/>
          <a:p>
            <a:pPr algn="ctr" eaLnBrk="1" hangingPunct="1">
              <a:defRPr/>
            </a:pPr>
            <a:endParaRPr lang="en-US" sz="1350">
              <a:latin typeface="Gill Sans" pitchFamily="80" charset="0"/>
              <a:ea typeface="ヒラギノ角ゴ Pro W3" pitchFamily="80" charset="-128"/>
              <a:sym typeface="Gill Sans" pitchFamily="80" charset="0"/>
            </a:endParaRPr>
          </a:p>
        </p:txBody>
      </p:sp>
      <p:sp>
        <p:nvSpPr>
          <p:cNvPr id="12" name="AutoShape 7"/>
          <p:cNvSpPr>
            <a:spLocks/>
          </p:cNvSpPr>
          <p:nvPr/>
        </p:nvSpPr>
        <p:spPr bwMode="auto">
          <a:xfrm>
            <a:off x="5493245" y="3400144"/>
            <a:ext cx="3105150" cy="923925"/>
          </a:xfrm>
          <a:prstGeom prst="roundRect">
            <a:avLst>
              <a:gd name="adj" fmla="val 24741"/>
            </a:avLst>
          </a:prstGeom>
          <a:blipFill dpi="0" rotWithShape="0">
            <a:blip r:embed="rId4"/>
            <a:srcRect/>
            <a:tile tx="0" ty="0" sx="100000" sy="100000" flip="none" algn="tl"/>
          </a:blipFill>
          <a:ln w="25400">
            <a:solidFill>
              <a:srgbClr val="00531C"/>
            </a:solidFill>
            <a:round/>
            <a:headEnd/>
            <a:tailEnd/>
          </a:ln>
          <a:effectLst>
            <a:outerShdw blurRad="114300" dist="63500" dir="2700000" algn="ctr" rotWithShape="0">
              <a:schemeClr val="bg2">
                <a:alpha val="29999"/>
              </a:schemeClr>
            </a:outerShdw>
          </a:effectLst>
        </p:spPr>
        <p:txBody>
          <a:bodyPr/>
          <a:lstStyle/>
          <a:p>
            <a:pPr algn="ctr" eaLnBrk="1" hangingPunct="1">
              <a:defRPr/>
            </a:pPr>
            <a:endParaRPr lang="en-US" sz="1350">
              <a:latin typeface="Gill Sans" pitchFamily="80" charset="0"/>
              <a:ea typeface="ヒラギノ角ゴ Pro W3" pitchFamily="80" charset="-128"/>
              <a:sym typeface="Gill Sans" pitchFamily="80" charset="0"/>
            </a:endParaRPr>
          </a:p>
        </p:txBody>
      </p:sp>
      <p:sp>
        <p:nvSpPr>
          <p:cNvPr id="13" name="Rectangle 8"/>
          <p:cNvSpPr>
            <a:spLocks/>
          </p:cNvSpPr>
          <p:nvPr/>
        </p:nvSpPr>
        <p:spPr bwMode="auto">
          <a:xfrm>
            <a:off x="2807196" y="2809593"/>
            <a:ext cx="2905125"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spcBef>
                <a:spcPts val="1800"/>
              </a:spcBef>
              <a:buClr>
                <a:srgbClr val="5F7BAE"/>
              </a:buClr>
              <a:buSzPct val="150000"/>
              <a:buFont typeface="Lucida Grande" charset="0"/>
              <a:buChar char="•"/>
              <a:tabLst>
                <a:tab pos="1066800" algn="l"/>
              </a:tabLst>
              <a:defRPr sz="3600">
                <a:solidFill>
                  <a:schemeClr val="tx1"/>
                </a:solidFill>
                <a:latin typeface="Gill Sans" charset="0"/>
                <a:ea typeface="ヒラギノ角ゴ Pro W3" charset="-128"/>
                <a:sym typeface="Gill Sans" charset="0"/>
              </a:defRPr>
            </a:lvl1pPr>
            <a:lvl2pPr marL="742950" indent="-285750">
              <a:spcBef>
                <a:spcPts val="1800"/>
              </a:spcBef>
              <a:buSzPct val="150000"/>
              <a:buFont typeface="Lucida Grande" charset="0"/>
              <a:buChar char="•"/>
              <a:tabLst>
                <a:tab pos="1066800" algn="l"/>
              </a:tabLst>
              <a:defRPr sz="3200">
                <a:solidFill>
                  <a:schemeClr val="tx1"/>
                </a:solidFill>
                <a:latin typeface="Gill Sans" charset="0"/>
                <a:ea typeface="ヒラギノ角ゴ Pro W3" charset="-128"/>
                <a:sym typeface="Gill Sans" charset="0"/>
              </a:defRPr>
            </a:lvl2pPr>
            <a:lvl3pPr marL="1143000" indent="-228600">
              <a:spcBef>
                <a:spcPts val="1800"/>
              </a:spcBef>
              <a:buSzPct val="150000"/>
              <a:buFont typeface="Lucida Grande" charset="0"/>
              <a:buChar char="•"/>
              <a:tabLst>
                <a:tab pos="1066800" algn="l"/>
              </a:tabLst>
              <a:defRPr sz="2800">
                <a:solidFill>
                  <a:schemeClr val="tx1"/>
                </a:solidFill>
                <a:latin typeface="Gill Sans" charset="0"/>
                <a:ea typeface="ヒラギノ角ゴ Pro W3" charset="-128"/>
                <a:sym typeface="Gill Sans" charset="0"/>
              </a:defRPr>
            </a:lvl3pPr>
            <a:lvl4pPr marL="1600200" indent="-228600">
              <a:spcBef>
                <a:spcPts val="1800"/>
              </a:spcBef>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4pPr>
            <a:lvl5pPr marL="2057400" indent="-228600">
              <a:spcBef>
                <a:spcPts val="1800"/>
              </a:spcBef>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5pPr>
            <a:lvl6pPr marL="25146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6pPr>
            <a:lvl7pPr marL="29718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7pPr>
            <a:lvl8pPr marL="34290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8pPr>
            <a:lvl9pPr marL="38862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9pPr>
          </a:lstStyle>
          <a:p>
            <a:pPr eaLnBrk="1" hangingPunct="1">
              <a:spcBef>
                <a:spcPct val="0"/>
              </a:spcBef>
              <a:buClrTx/>
              <a:buSzTx/>
              <a:buFontTx/>
              <a:buNone/>
            </a:pPr>
            <a:r>
              <a:rPr lang="en-US" altLang="en-US" sz="2250" dirty="0">
                <a:solidFill>
                  <a:srgbClr val="FFFFFF"/>
                </a:solidFill>
              </a:rPr>
              <a:t>Rather than doing all of one thing at a time...</a:t>
            </a:r>
          </a:p>
        </p:txBody>
      </p:sp>
      <p:sp>
        <p:nvSpPr>
          <p:cNvPr id="14" name="Rectangle 9"/>
          <p:cNvSpPr>
            <a:spLocks/>
          </p:cNvSpPr>
          <p:nvPr/>
        </p:nvSpPr>
        <p:spPr bwMode="auto">
          <a:xfrm>
            <a:off x="5531346" y="3495393"/>
            <a:ext cx="3019425"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spcBef>
                <a:spcPts val="1800"/>
              </a:spcBef>
              <a:buClr>
                <a:srgbClr val="5F7BAE"/>
              </a:buClr>
              <a:buSzPct val="150000"/>
              <a:buFont typeface="Lucida Grande" charset="0"/>
              <a:buChar char="•"/>
              <a:tabLst>
                <a:tab pos="1066800" algn="l"/>
              </a:tabLst>
              <a:defRPr sz="3600">
                <a:solidFill>
                  <a:schemeClr val="tx1"/>
                </a:solidFill>
                <a:latin typeface="Gill Sans" charset="0"/>
                <a:ea typeface="ヒラギノ角ゴ Pro W3" charset="-128"/>
                <a:sym typeface="Gill Sans" charset="0"/>
              </a:defRPr>
            </a:lvl1pPr>
            <a:lvl2pPr marL="742950" indent="-285750">
              <a:spcBef>
                <a:spcPts val="1800"/>
              </a:spcBef>
              <a:buSzPct val="150000"/>
              <a:buFont typeface="Lucida Grande" charset="0"/>
              <a:buChar char="•"/>
              <a:tabLst>
                <a:tab pos="1066800" algn="l"/>
              </a:tabLst>
              <a:defRPr sz="3200">
                <a:solidFill>
                  <a:schemeClr val="tx1"/>
                </a:solidFill>
                <a:latin typeface="Gill Sans" charset="0"/>
                <a:ea typeface="ヒラギノ角ゴ Pro W3" charset="-128"/>
                <a:sym typeface="Gill Sans" charset="0"/>
              </a:defRPr>
            </a:lvl2pPr>
            <a:lvl3pPr marL="1143000" indent="-228600">
              <a:spcBef>
                <a:spcPts val="1800"/>
              </a:spcBef>
              <a:buSzPct val="150000"/>
              <a:buFont typeface="Lucida Grande" charset="0"/>
              <a:buChar char="•"/>
              <a:tabLst>
                <a:tab pos="1066800" algn="l"/>
              </a:tabLst>
              <a:defRPr sz="2800">
                <a:solidFill>
                  <a:schemeClr val="tx1"/>
                </a:solidFill>
                <a:latin typeface="Gill Sans" charset="0"/>
                <a:ea typeface="ヒラギノ角ゴ Pro W3" charset="-128"/>
                <a:sym typeface="Gill Sans" charset="0"/>
              </a:defRPr>
            </a:lvl3pPr>
            <a:lvl4pPr marL="1600200" indent="-228600">
              <a:spcBef>
                <a:spcPts val="1800"/>
              </a:spcBef>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4pPr>
            <a:lvl5pPr marL="2057400" indent="-228600">
              <a:spcBef>
                <a:spcPts val="1800"/>
              </a:spcBef>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5pPr>
            <a:lvl6pPr marL="25146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6pPr>
            <a:lvl7pPr marL="29718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7pPr>
            <a:lvl8pPr marL="34290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8pPr>
            <a:lvl9pPr marL="38862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9pPr>
          </a:lstStyle>
          <a:p>
            <a:pPr eaLnBrk="1" hangingPunct="1">
              <a:spcBef>
                <a:spcPct val="0"/>
              </a:spcBef>
              <a:buClrTx/>
              <a:buSzTx/>
              <a:buFontTx/>
              <a:buNone/>
            </a:pPr>
            <a:r>
              <a:rPr lang="en-US" altLang="en-US" sz="2250">
                <a:solidFill>
                  <a:srgbClr val="FFFFFF"/>
                </a:solidFill>
              </a:rPr>
              <a:t>...Scrum teams do a little of everything all the time</a:t>
            </a:r>
          </a:p>
        </p:txBody>
      </p:sp>
      <p:sp>
        <p:nvSpPr>
          <p:cNvPr id="15" name="Rectangle 10"/>
          <p:cNvSpPr>
            <a:spLocks/>
          </p:cNvSpPr>
          <p:nvPr/>
        </p:nvSpPr>
        <p:spPr bwMode="auto">
          <a:xfrm>
            <a:off x="2292845" y="1809469"/>
            <a:ext cx="1535274" cy="447675"/>
          </a:xfrm>
          <a:prstGeom prst="rect">
            <a:avLst/>
          </a:prstGeom>
          <a:solidFill>
            <a:schemeClr val="accent1"/>
          </a:solidFill>
          <a:ln w="25400">
            <a:solidFill>
              <a:schemeClr val="tx1"/>
            </a:solidFill>
            <a:miter lim="800000"/>
            <a:headEnd/>
            <a:tailEnd/>
          </a:ln>
        </p:spPr>
        <p:txBody>
          <a:bodyPr lIns="0" tIns="0" rIns="0" bIns="0" anchor="ctr"/>
          <a:lstStyle>
            <a:lvl1pPr>
              <a:spcBef>
                <a:spcPts val="1800"/>
              </a:spcBef>
              <a:buClr>
                <a:srgbClr val="5F7BAE"/>
              </a:buClr>
              <a:buSzPct val="150000"/>
              <a:buFont typeface="Lucida Grande" charset="0"/>
              <a:buChar char="•"/>
              <a:defRPr sz="3600">
                <a:solidFill>
                  <a:schemeClr val="tx1"/>
                </a:solidFill>
                <a:latin typeface="Gill Sans" charset="0"/>
                <a:ea typeface="ヒラギノ角ゴ Pro W3" charset="-128"/>
                <a:sym typeface="Gill Sans" charset="0"/>
              </a:defRPr>
            </a:lvl1pPr>
            <a:lvl2pPr marL="742950" indent="-285750">
              <a:spcBef>
                <a:spcPts val="1800"/>
              </a:spcBef>
              <a:buSzPct val="150000"/>
              <a:buFont typeface="Lucida Grande" charset="0"/>
              <a:buChar char="•"/>
              <a:defRPr sz="3200">
                <a:solidFill>
                  <a:schemeClr val="tx1"/>
                </a:solidFill>
                <a:latin typeface="Gill Sans" charset="0"/>
                <a:ea typeface="ヒラギノ角ゴ Pro W3" charset="-128"/>
                <a:sym typeface="Gill Sans" charset="0"/>
              </a:defRPr>
            </a:lvl2pPr>
            <a:lvl3pPr marL="1143000" indent="-228600">
              <a:spcBef>
                <a:spcPts val="1800"/>
              </a:spcBef>
              <a:buSzPct val="150000"/>
              <a:buFont typeface="Lucida Grande" charset="0"/>
              <a:buChar char="•"/>
              <a:defRPr sz="2800">
                <a:solidFill>
                  <a:schemeClr val="tx1"/>
                </a:solidFill>
                <a:latin typeface="Gill Sans" charset="0"/>
                <a:ea typeface="ヒラギノ角ゴ Pro W3" charset="-128"/>
                <a:sym typeface="Gill Sans" charset="0"/>
              </a:defRPr>
            </a:lvl3pPr>
            <a:lvl4pPr marL="1600200" indent="-228600">
              <a:spcBef>
                <a:spcPts val="1800"/>
              </a:spcBef>
              <a:buSzPct val="150000"/>
              <a:buFont typeface="Lucida Grande" charset="0"/>
              <a:buChar char="•"/>
              <a:defRPr sz="2400">
                <a:solidFill>
                  <a:schemeClr val="tx1"/>
                </a:solidFill>
                <a:latin typeface="Gill Sans" charset="0"/>
                <a:ea typeface="ヒラギノ角ゴ Pro W3" charset="-128"/>
                <a:sym typeface="Gill Sans" charset="0"/>
              </a:defRPr>
            </a:lvl4pPr>
            <a:lvl5pPr marL="2057400" indent="-228600">
              <a:spcBef>
                <a:spcPts val="1800"/>
              </a:spcBef>
              <a:buSzPct val="150000"/>
              <a:buFont typeface="Lucida Grande" charset="0"/>
              <a:buChar char="•"/>
              <a:defRPr sz="2400">
                <a:solidFill>
                  <a:schemeClr val="tx1"/>
                </a:solidFill>
                <a:latin typeface="Gill Sans" charset="0"/>
                <a:ea typeface="ヒラギノ角ゴ Pro W3" charset="-128"/>
                <a:sym typeface="Gill Sans" charset="0"/>
              </a:defRPr>
            </a:lvl5pPr>
            <a:lvl6pPr marL="25146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6pPr>
            <a:lvl7pPr marL="29718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7pPr>
            <a:lvl8pPr marL="34290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8pPr>
            <a:lvl9pPr marL="38862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9pPr>
          </a:lstStyle>
          <a:p>
            <a:pPr algn="ctr" eaLnBrk="1" hangingPunct="1">
              <a:spcBef>
                <a:spcPct val="0"/>
              </a:spcBef>
              <a:buClrTx/>
              <a:buSzTx/>
              <a:buFontTx/>
              <a:buNone/>
            </a:pPr>
            <a:r>
              <a:rPr lang="en-US" altLang="en-US" sz="1875" dirty="0">
                <a:solidFill>
                  <a:srgbClr val="FFFFFF"/>
                </a:solidFill>
              </a:rPr>
              <a:t>Requirements</a:t>
            </a:r>
          </a:p>
        </p:txBody>
      </p:sp>
      <p:sp>
        <p:nvSpPr>
          <p:cNvPr id="16" name="Rectangle 11"/>
          <p:cNvSpPr>
            <a:spLocks/>
          </p:cNvSpPr>
          <p:nvPr/>
        </p:nvSpPr>
        <p:spPr bwMode="auto">
          <a:xfrm>
            <a:off x="3912096" y="1809469"/>
            <a:ext cx="1476375" cy="447675"/>
          </a:xfrm>
          <a:prstGeom prst="rect">
            <a:avLst/>
          </a:prstGeom>
          <a:solidFill>
            <a:srgbClr val="01FF01"/>
          </a:solidFill>
          <a:ln w="25400">
            <a:solidFill>
              <a:schemeClr val="tx1"/>
            </a:solidFill>
            <a:miter lim="800000"/>
            <a:headEnd/>
            <a:tailEnd/>
          </a:ln>
        </p:spPr>
        <p:txBody>
          <a:bodyPr lIns="0" tIns="0" rIns="0" bIns="0" anchor="ctr"/>
          <a:lstStyle>
            <a:lvl1pPr>
              <a:spcBef>
                <a:spcPts val="1800"/>
              </a:spcBef>
              <a:buClr>
                <a:srgbClr val="5F7BAE"/>
              </a:buClr>
              <a:buSzPct val="150000"/>
              <a:buFont typeface="Lucida Grande" charset="0"/>
              <a:buChar char="•"/>
              <a:defRPr sz="3600">
                <a:solidFill>
                  <a:schemeClr val="tx1"/>
                </a:solidFill>
                <a:latin typeface="Gill Sans" charset="0"/>
                <a:ea typeface="ヒラギノ角ゴ Pro W3" charset="-128"/>
                <a:sym typeface="Gill Sans" charset="0"/>
              </a:defRPr>
            </a:lvl1pPr>
            <a:lvl2pPr marL="742950" indent="-285750">
              <a:spcBef>
                <a:spcPts val="1800"/>
              </a:spcBef>
              <a:buSzPct val="150000"/>
              <a:buFont typeface="Lucida Grande" charset="0"/>
              <a:buChar char="•"/>
              <a:defRPr sz="3200">
                <a:solidFill>
                  <a:schemeClr val="tx1"/>
                </a:solidFill>
                <a:latin typeface="Gill Sans" charset="0"/>
                <a:ea typeface="ヒラギノ角ゴ Pro W3" charset="-128"/>
                <a:sym typeface="Gill Sans" charset="0"/>
              </a:defRPr>
            </a:lvl2pPr>
            <a:lvl3pPr marL="1143000" indent="-228600">
              <a:spcBef>
                <a:spcPts val="1800"/>
              </a:spcBef>
              <a:buSzPct val="150000"/>
              <a:buFont typeface="Lucida Grande" charset="0"/>
              <a:buChar char="•"/>
              <a:defRPr sz="2800">
                <a:solidFill>
                  <a:schemeClr val="tx1"/>
                </a:solidFill>
                <a:latin typeface="Gill Sans" charset="0"/>
                <a:ea typeface="ヒラギノ角ゴ Pro W3" charset="-128"/>
                <a:sym typeface="Gill Sans" charset="0"/>
              </a:defRPr>
            </a:lvl3pPr>
            <a:lvl4pPr marL="1600200" indent="-228600">
              <a:spcBef>
                <a:spcPts val="1800"/>
              </a:spcBef>
              <a:buSzPct val="150000"/>
              <a:buFont typeface="Lucida Grande" charset="0"/>
              <a:buChar char="•"/>
              <a:defRPr sz="2400">
                <a:solidFill>
                  <a:schemeClr val="tx1"/>
                </a:solidFill>
                <a:latin typeface="Gill Sans" charset="0"/>
                <a:ea typeface="ヒラギノ角ゴ Pro W3" charset="-128"/>
                <a:sym typeface="Gill Sans" charset="0"/>
              </a:defRPr>
            </a:lvl4pPr>
            <a:lvl5pPr marL="2057400" indent="-228600">
              <a:spcBef>
                <a:spcPts val="1800"/>
              </a:spcBef>
              <a:buSzPct val="150000"/>
              <a:buFont typeface="Lucida Grande" charset="0"/>
              <a:buChar char="•"/>
              <a:defRPr sz="2400">
                <a:solidFill>
                  <a:schemeClr val="tx1"/>
                </a:solidFill>
                <a:latin typeface="Gill Sans" charset="0"/>
                <a:ea typeface="ヒラギノ角ゴ Pro W3" charset="-128"/>
                <a:sym typeface="Gill Sans" charset="0"/>
              </a:defRPr>
            </a:lvl5pPr>
            <a:lvl6pPr marL="25146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6pPr>
            <a:lvl7pPr marL="29718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7pPr>
            <a:lvl8pPr marL="34290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8pPr>
            <a:lvl9pPr marL="38862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9pPr>
          </a:lstStyle>
          <a:p>
            <a:pPr algn="ctr" eaLnBrk="1" hangingPunct="1">
              <a:spcBef>
                <a:spcPct val="0"/>
              </a:spcBef>
              <a:buClrTx/>
              <a:buSzTx/>
              <a:buFontTx/>
              <a:buNone/>
            </a:pPr>
            <a:r>
              <a:rPr lang="en-US" altLang="en-US" sz="1950" dirty="0">
                <a:solidFill>
                  <a:srgbClr val="FFFFFF"/>
                </a:solidFill>
              </a:rPr>
              <a:t>Design</a:t>
            </a:r>
          </a:p>
        </p:txBody>
      </p:sp>
      <p:sp>
        <p:nvSpPr>
          <p:cNvPr id="17" name="Rectangle 12"/>
          <p:cNvSpPr>
            <a:spLocks/>
          </p:cNvSpPr>
          <p:nvPr/>
        </p:nvSpPr>
        <p:spPr bwMode="auto">
          <a:xfrm>
            <a:off x="5531346" y="1809469"/>
            <a:ext cx="1476375" cy="447675"/>
          </a:xfrm>
          <a:prstGeom prst="rect">
            <a:avLst/>
          </a:prstGeom>
          <a:solidFill>
            <a:srgbClr val="00CCFF"/>
          </a:solidFill>
          <a:ln w="25400">
            <a:solidFill>
              <a:schemeClr val="tx1"/>
            </a:solidFill>
            <a:miter lim="800000"/>
            <a:headEnd/>
            <a:tailEnd/>
          </a:ln>
        </p:spPr>
        <p:txBody>
          <a:bodyPr lIns="0" tIns="0" rIns="0" bIns="0" anchor="ctr"/>
          <a:lstStyle>
            <a:lvl1pPr>
              <a:spcBef>
                <a:spcPts val="1800"/>
              </a:spcBef>
              <a:buClr>
                <a:srgbClr val="5F7BAE"/>
              </a:buClr>
              <a:buSzPct val="150000"/>
              <a:buFont typeface="Lucida Grande" charset="0"/>
              <a:buChar char="•"/>
              <a:defRPr sz="3600">
                <a:solidFill>
                  <a:schemeClr val="tx1"/>
                </a:solidFill>
                <a:latin typeface="Gill Sans" charset="0"/>
                <a:ea typeface="ヒラギノ角ゴ Pro W3" charset="-128"/>
                <a:sym typeface="Gill Sans" charset="0"/>
              </a:defRPr>
            </a:lvl1pPr>
            <a:lvl2pPr marL="742950" indent="-285750">
              <a:spcBef>
                <a:spcPts val="1800"/>
              </a:spcBef>
              <a:buSzPct val="150000"/>
              <a:buFont typeface="Lucida Grande" charset="0"/>
              <a:buChar char="•"/>
              <a:defRPr sz="3200">
                <a:solidFill>
                  <a:schemeClr val="tx1"/>
                </a:solidFill>
                <a:latin typeface="Gill Sans" charset="0"/>
                <a:ea typeface="ヒラギノ角ゴ Pro W3" charset="-128"/>
                <a:sym typeface="Gill Sans" charset="0"/>
              </a:defRPr>
            </a:lvl2pPr>
            <a:lvl3pPr marL="1143000" indent="-228600">
              <a:spcBef>
                <a:spcPts val="1800"/>
              </a:spcBef>
              <a:buSzPct val="150000"/>
              <a:buFont typeface="Lucida Grande" charset="0"/>
              <a:buChar char="•"/>
              <a:defRPr sz="2800">
                <a:solidFill>
                  <a:schemeClr val="tx1"/>
                </a:solidFill>
                <a:latin typeface="Gill Sans" charset="0"/>
                <a:ea typeface="ヒラギノ角ゴ Pro W3" charset="-128"/>
                <a:sym typeface="Gill Sans" charset="0"/>
              </a:defRPr>
            </a:lvl3pPr>
            <a:lvl4pPr marL="1600200" indent="-228600">
              <a:spcBef>
                <a:spcPts val="1800"/>
              </a:spcBef>
              <a:buSzPct val="150000"/>
              <a:buFont typeface="Lucida Grande" charset="0"/>
              <a:buChar char="•"/>
              <a:defRPr sz="2400">
                <a:solidFill>
                  <a:schemeClr val="tx1"/>
                </a:solidFill>
                <a:latin typeface="Gill Sans" charset="0"/>
                <a:ea typeface="ヒラギノ角ゴ Pro W3" charset="-128"/>
                <a:sym typeface="Gill Sans" charset="0"/>
              </a:defRPr>
            </a:lvl4pPr>
            <a:lvl5pPr marL="2057400" indent="-228600">
              <a:spcBef>
                <a:spcPts val="1800"/>
              </a:spcBef>
              <a:buSzPct val="150000"/>
              <a:buFont typeface="Lucida Grande" charset="0"/>
              <a:buChar char="•"/>
              <a:defRPr sz="2400">
                <a:solidFill>
                  <a:schemeClr val="tx1"/>
                </a:solidFill>
                <a:latin typeface="Gill Sans" charset="0"/>
                <a:ea typeface="ヒラギノ角ゴ Pro W3" charset="-128"/>
                <a:sym typeface="Gill Sans" charset="0"/>
              </a:defRPr>
            </a:lvl5pPr>
            <a:lvl6pPr marL="25146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6pPr>
            <a:lvl7pPr marL="29718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7pPr>
            <a:lvl8pPr marL="34290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8pPr>
            <a:lvl9pPr marL="38862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9pPr>
          </a:lstStyle>
          <a:p>
            <a:pPr algn="ctr" eaLnBrk="1" hangingPunct="1">
              <a:spcBef>
                <a:spcPct val="0"/>
              </a:spcBef>
              <a:buClrTx/>
              <a:buSzTx/>
              <a:buFontTx/>
              <a:buNone/>
            </a:pPr>
            <a:r>
              <a:rPr lang="en-US" altLang="en-US" sz="1950" dirty="0">
                <a:solidFill>
                  <a:srgbClr val="FFFFFF"/>
                </a:solidFill>
              </a:rPr>
              <a:t>Code</a:t>
            </a:r>
          </a:p>
        </p:txBody>
      </p:sp>
      <p:sp>
        <p:nvSpPr>
          <p:cNvPr id="18" name="Rectangle 13"/>
          <p:cNvSpPr>
            <a:spLocks/>
          </p:cNvSpPr>
          <p:nvPr/>
        </p:nvSpPr>
        <p:spPr bwMode="auto">
          <a:xfrm>
            <a:off x="7150596" y="1809469"/>
            <a:ext cx="1476375" cy="447675"/>
          </a:xfrm>
          <a:prstGeom prst="rect">
            <a:avLst/>
          </a:prstGeom>
          <a:solidFill>
            <a:srgbClr val="3366FF"/>
          </a:solidFill>
          <a:ln w="25400">
            <a:solidFill>
              <a:schemeClr val="tx1"/>
            </a:solidFill>
            <a:miter lim="800000"/>
            <a:headEnd/>
            <a:tailEnd/>
          </a:ln>
        </p:spPr>
        <p:txBody>
          <a:bodyPr lIns="0" tIns="0" rIns="0" bIns="0" anchor="ctr"/>
          <a:lstStyle>
            <a:lvl1pPr>
              <a:spcBef>
                <a:spcPts val="1800"/>
              </a:spcBef>
              <a:buClr>
                <a:srgbClr val="5F7BAE"/>
              </a:buClr>
              <a:buSzPct val="150000"/>
              <a:buFont typeface="Lucida Grande" charset="0"/>
              <a:buChar char="•"/>
              <a:defRPr sz="3600">
                <a:solidFill>
                  <a:schemeClr val="tx1"/>
                </a:solidFill>
                <a:latin typeface="Gill Sans" charset="0"/>
                <a:ea typeface="ヒラギノ角ゴ Pro W3" charset="-128"/>
                <a:sym typeface="Gill Sans" charset="0"/>
              </a:defRPr>
            </a:lvl1pPr>
            <a:lvl2pPr marL="742950" indent="-285750">
              <a:spcBef>
                <a:spcPts val="1800"/>
              </a:spcBef>
              <a:buSzPct val="150000"/>
              <a:buFont typeface="Lucida Grande" charset="0"/>
              <a:buChar char="•"/>
              <a:defRPr sz="3200">
                <a:solidFill>
                  <a:schemeClr val="tx1"/>
                </a:solidFill>
                <a:latin typeface="Gill Sans" charset="0"/>
                <a:ea typeface="ヒラギノ角ゴ Pro W3" charset="-128"/>
                <a:sym typeface="Gill Sans" charset="0"/>
              </a:defRPr>
            </a:lvl2pPr>
            <a:lvl3pPr marL="1143000" indent="-228600">
              <a:spcBef>
                <a:spcPts val="1800"/>
              </a:spcBef>
              <a:buSzPct val="150000"/>
              <a:buFont typeface="Lucida Grande" charset="0"/>
              <a:buChar char="•"/>
              <a:defRPr sz="2800">
                <a:solidFill>
                  <a:schemeClr val="tx1"/>
                </a:solidFill>
                <a:latin typeface="Gill Sans" charset="0"/>
                <a:ea typeface="ヒラギノ角ゴ Pro W3" charset="-128"/>
                <a:sym typeface="Gill Sans" charset="0"/>
              </a:defRPr>
            </a:lvl3pPr>
            <a:lvl4pPr marL="1600200" indent="-228600">
              <a:spcBef>
                <a:spcPts val="1800"/>
              </a:spcBef>
              <a:buSzPct val="150000"/>
              <a:buFont typeface="Lucida Grande" charset="0"/>
              <a:buChar char="•"/>
              <a:defRPr sz="2400">
                <a:solidFill>
                  <a:schemeClr val="tx1"/>
                </a:solidFill>
                <a:latin typeface="Gill Sans" charset="0"/>
                <a:ea typeface="ヒラギノ角ゴ Pro W3" charset="-128"/>
                <a:sym typeface="Gill Sans" charset="0"/>
              </a:defRPr>
            </a:lvl4pPr>
            <a:lvl5pPr marL="2057400" indent="-228600">
              <a:spcBef>
                <a:spcPts val="1800"/>
              </a:spcBef>
              <a:buSzPct val="150000"/>
              <a:buFont typeface="Lucida Grande" charset="0"/>
              <a:buChar char="•"/>
              <a:defRPr sz="2400">
                <a:solidFill>
                  <a:schemeClr val="tx1"/>
                </a:solidFill>
                <a:latin typeface="Gill Sans" charset="0"/>
                <a:ea typeface="ヒラギノ角ゴ Pro W3" charset="-128"/>
                <a:sym typeface="Gill Sans" charset="0"/>
              </a:defRPr>
            </a:lvl5pPr>
            <a:lvl6pPr marL="25146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6pPr>
            <a:lvl7pPr marL="29718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7pPr>
            <a:lvl8pPr marL="34290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8pPr>
            <a:lvl9pPr marL="38862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9pPr>
          </a:lstStyle>
          <a:p>
            <a:pPr algn="ctr" eaLnBrk="1" hangingPunct="1">
              <a:spcBef>
                <a:spcPct val="0"/>
              </a:spcBef>
              <a:buClrTx/>
              <a:buSzTx/>
              <a:buFontTx/>
              <a:buNone/>
            </a:pPr>
            <a:r>
              <a:rPr lang="en-US" altLang="en-US" sz="1950">
                <a:solidFill>
                  <a:srgbClr val="FFFFFF"/>
                </a:solidFill>
              </a:rPr>
              <a:t>Test</a:t>
            </a:r>
          </a:p>
        </p:txBody>
      </p:sp>
    </p:spTree>
    <p:extLst>
      <p:ext uri="{BB962C8B-B14F-4D97-AF65-F5344CB8AC3E}">
        <p14:creationId xmlns:p14="http://schemas.microsoft.com/office/powerpoint/2010/main" val="14451797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847528" y="371560"/>
            <a:ext cx="9374832" cy="249008"/>
          </a:xfrm>
        </p:spPr>
        <p:txBody>
          <a:bodyPr/>
          <a:lstStyle/>
          <a:p>
            <a:r>
              <a:rPr lang="en-US" sz="2000" b="0" dirty="0"/>
              <a:t>GAMP</a:t>
            </a:r>
            <a:r>
              <a:rPr lang="en-US" b="0" dirty="0"/>
              <a:t>®5 V Model</a:t>
            </a:r>
          </a:p>
        </p:txBody>
      </p:sp>
      <p:sp>
        <p:nvSpPr>
          <p:cNvPr id="4" name="Slide Number Placeholder 3"/>
          <p:cNvSpPr>
            <a:spLocks noGrp="1"/>
          </p:cNvSpPr>
          <p:nvPr>
            <p:ph type="sldNum" sz="quarter" idx="12"/>
          </p:nvPr>
        </p:nvSpPr>
        <p:spPr/>
        <p:txBody>
          <a:bodyPr/>
          <a:lstStyle/>
          <a:p>
            <a:fld id="{86941F2A-596F-4B21-9441-5490ADE17F9F}" type="slidenum">
              <a:rPr lang="en-US" smtClean="0"/>
              <a:t>26</a:t>
            </a:fld>
            <a:endParaRPr lang="en-US"/>
          </a:p>
        </p:txBody>
      </p:sp>
      <p:pic>
        <p:nvPicPr>
          <p:cNvPr id="28674" name="Picture 2" descr="Image result for GAMP 5 with scrum"/>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847528" y="940666"/>
            <a:ext cx="7259388" cy="54561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bwMode="gray">
          <a:xfrm>
            <a:off x="9135044" y="1372496"/>
            <a:ext cx="2777977" cy="4231928"/>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050" b="1" dirty="0"/>
              <a:t>Architectural Diagram </a:t>
            </a:r>
            <a:r>
              <a:rPr lang="en-US" sz="1050" dirty="0"/>
              <a:t>(AD) - ACS architecture diagram</a:t>
            </a:r>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r>
              <a:rPr lang="en-US" sz="1050" b="1" dirty="0"/>
              <a:t>Control System Strategy </a:t>
            </a:r>
            <a:r>
              <a:rPr lang="en-US" sz="1050" dirty="0"/>
              <a:t>(CSS) - the system strategy. This strategy is mandatory to control the User Requirement Specification (URS) - customer requirements.</a:t>
            </a:r>
          </a:p>
          <a:p>
            <a:endParaRPr lang="en-US" sz="1050" dirty="0"/>
          </a:p>
          <a:p>
            <a:pPr marL="171450" indent="-171450">
              <a:buFont typeface="Arial" panose="020B0604020202020204" pitchFamily="34" charset="0"/>
              <a:buChar char="•"/>
            </a:pPr>
            <a:r>
              <a:rPr lang="en-US" sz="1050" b="1" dirty="0"/>
              <a:t>Functional Requirement Specification </a:t>
            </a:r>
            <a:r>
              <a:rPr lang="en-US" sz="1050" dirty="0"/>
              <a:t>(FRS) - functional system requirements. She describes how the supplier will meet the requirements set out in the URS.</a:t>
            </a:r>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r>
              <a:rPr lang="en-US" sz="1050" b="1" dirty="0"/>
              <a:t>Logic Description </a:t>
            </a:r>
            <a:r>
              <a:rPr lang="en-US" sz="1050" dirty="0"/>
              <a:t>(LD) - logical and other diagrams, function blocks, describing the process (it is important to mention that GAMP is designed for group (the batch processes)</a:t>
            </a:r>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r>
              <a:rPr lang="en-US" sz="1050" b="1" dirty="0"/>
              <a:t>Software Standards Document </a:t>
            </a:r>
            <a:r>
              <a:rPr lang="en-US" sz="1050" dirty="0"/>
              <a:t>(SSD) - specifies requirements for the design and implementation of software.</a:t>
            </a:r>
          </a:p>
          <a:p>
            <a:pPr marL="171450" marR="0" indent="-171450" algn="l" defTabSz="914400" rtl="0" eaLnBrk="1" fontAlgn="auto" latinLnBrk="0" hangingPunct="1">
              <a:lnSpc>
                <a:spcPct val="100000"/>
              </a:lnSpc>
              <a:spcBef>
                <a:spcPts val="300"/>
              </a:spcBef>
              <a:spcAft>
                <a:spcPts val="300"/>
              </a:spcAft>
              <a:buClr>
                <a:schemeClr val="accent1"/>
              </a:buClr>
              <a:buSzTx/>
              <a:buFont typeface="Arial" panose="020B0604020202020204" pitchFamily="34" charset="0"/>
              <a:buChar char="•"/>
              <a:tabLst/>
            </a:pPr>
            <a:endParaRPr kumimoji="0" lang="en-US" sz="1000" b="0" i="0" u="none" strike="noStrike" kern="1200" cap="none" spc="0" normalizeH="0" baseline="0" noProof="0" dirty="0" err="1">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 name="TextBox 5"/>
          <p:cNvSpPr txBox="1"/>
          <p:nvPr/>
        </p:nvSpPr>
        <p:spPr bwMode="gray">
          <a:xfrm>
            <a:off x="2135560" y="1341217"/>
            <a:ext cx="6242000" cy="276999"/>
          </a:xfrm>
          <a:prstGeom prst="rect">
            <a:avLst/>
          </a:prstGeom>
          <a:noFill/>
        </p:spPr>
        <p:txBody>
          <a:bodyPr wrap="square" lIns="0" tIns="0" rIns="0" bIns="0" rtlCol="0">
            <a:spAutoFit/>
          </a:bodyPr>
          <a:lstStyle/>
          <a:p>
            <a:pPr algn="ctr">
              <a:spcBef>
                <a:spcPts val="300"/>
              </a:spcBef>
              <a:spcAft>
                <a:spcPts val="300"/>
              </a:spcAft>
              <a:buClr>
                <a:schemeClr val="accent1"/>
              </a:buClr>
            </a:pPr>
            <a:r>
              <a:rPr lang="en-US" dirty="0">
                <a:latin typeface="Arial Rounded MT Bold" panose="020F0704030504030204" pitchFamily="34" charset="0"/>
              </a:rPr>
              <a:t>Good Automation Manufacturing Practice</a:t>
            </a:r>
            <a:endParaRPr kumimoji="0" lang="en-US" sz="1600" b="0" i="0" u="none" strike="noStrike" kern="1200" cap="none" spc="0" normalizeH="0" baseline="0" noProof="0" dirty="0" err="1">
              <a:ln>
                <a:noFill/>
              </a:ln>
              <a:solidFill>
                <a:srgbClr val="000000"/>
              </a:solidFill>
              <a:effectLst/>
              <a:uLnTx/>
              <a:uFillTx/>
              <a:latin typeface="Arial Rounded MT Bold" panose="020F070403050403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6718970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9900" y="857250"/>
            <a:ext cx="6172200" cy="857250"/>
          </a:xfrm>
        </p:spPr>
        <p:txBody>
          <a:bodyPr>
            <a:noAutofit/>
          </a:bodyPr>
          <a:lstStyle/>
          <a:p>
            <a:r>
              <a:rPr lang="en-US" sz="1800" b="0" dirty="0"/>
              <a:t>Highest Priority – Early And Continuous Delivery Of Software</a:t>
            </a:r>
          </a:p>
        </p:txBody>
      </p:sp>
      <p:graphicFrame>
        <p:nvGraphicFramePr>
          <p:cNvPr id="4" name="Diagram 3"/>
          <p:cNvGraphicFramePr/>
          <p:nvPr>
            <p:extLst/>
          </p:nvPr>
        </p:nvGraphicFramePr>
        <p:xfrm>
          <a:off x="3810000" y="1905000"/>
          <a:ext cx="4572000" cy="304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Left Brace 4"/>
          <p:cNvSpPr/>
          <p:nvPr/>
        </p:nvSpPr>
        <p:spPr>
          <a:xfrm rot="16200000">
            <a:off x="4367214" y="3814763"/>
            <a:ext cx="314325" cy="142875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6" name="Left Brace 5"/>
          <p:cNvSpPr/>
          <p:nvPr/>
        </p:nvSpPr>
        <p:spPr>
          <a:xfrm rot="16200000">
            <a:off x="5904549" y="3386138"/>
            <a:ext cx="314325" cy="142875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7" name="Left Brace 6"/>
          <p:cNvSpPr/>
          <p:nvPr/>
        </p:nvSpPr>
        <p:spPr>
          <a:xfrm rot="16200000">
            <a:off x="7527609" y="2928938"/>
            <a:ext cx="314325" cy="142875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8" name="TextBox 7"/>
          <p:cNvSpPr txBox="1"/>
          <p:nvPr/>
        </p:nvSpPr>
        <p:spPr>
          <a:xfrm>
            <a:off x="3810001" y="4800602"/>
            <a:ext cx="1428751" cy="276999"/>
          </a:xfrm>
          <a:prstGeom prst="rect">
            <a:avLst/>
          </a:prstGeom>
          <a:noFill/>
        </p:spPr>
        <p:txBody>
          <a:bodyPr wrap="square" rtlCol="0">
            <a:spAutoFit/>
          </a:bodyPr>
          <a:lstStyle/>
          <a:p>
            <a:pPr algn="ctr"/>
            <a:r>
              <a:rPr lang="en-US" sz="1200" dirty="0"/>
              <a:t>First increment</a:t>
            </a:r>
          </a:p>
        </p:txBody>
      </p:sp>
      <p:sp>
        <p:nvSpPr>
          <p:cNvPr id="9" name="TextBox 8"/>
          <p:cNvSpPr txBox="1"/>
          <p:nvPr/>
        </p:nvSpPr>
        <p:spPr>
          <a:xfrm>
            <a:off x="5353051" y="4343402"/>
            <a:ext cx="1428751" cy="461665"/>
          </a:xfrm>
          <a:prstGeom prst="rect">
            <a:avLst/>
          </a:prstGeom>
          <a:noFill/>
        </p:spPr>
        <p:txBody>
          <a:bodyPr wrap="square" rtlCol="0">
            <a:spAutoFit/>
          </a:bodyPr>
          <a:lstStyle/>
          <a:p>
            <a:pPr algn="ctr"/>
            <a:r>
              <a:rPr lang="en-US" sz="1200" dirty="0"/>
              <a:t>Second  increment</a:t>
            </a:r>
          </a:p>
        </p:txBody>
      </p:sp>
      <p:sp>
        <p:nvSpPr>
          <p:cNvPr id="10" name="TextBox 9"/>
          <p:cNvSpPr txBox="1"/>
          <p:nvPr/>
        </p:nvSpPr>
        <p:spPr>
          <a:xfrm>
            <a:off x="6978970" y="3829052"/>
            <a:ext cx="1428751" cy="461665"/>
          </a:xfrm>
          <a:prstGeom prst="rect">
            <a:avLst/>
          </a:prstGeom>
          <a:noFill/>
        </p:spPr>
        <p:txBody>
          <a:bodyPr wrap="square" rtlCol="0">
            <a:spAutoFit/>
          </a:bodyPr>
          <a:lstStyle/>
          <a:p>
            <a:pPr algn="ctr"/>
            <a:r>
              <a:rPr lang="en-US" sz="1200" dirty="0"/>
              <a:t>Third  increment</a:t>
            </a:r>
          </a:p>
        </p:txBody>
      </p:sp>
      <p:sp>
        <p:nvSpPr>
          <p:cNvPr id="11" name="Up Arrow 10"/>
          <p:cNvSpPr/>
          <p:nvPr/>
        </p:nvSpPr>
        <p:spPr>
          <a:xfrm rot="2974435">
            <a:off x="8773693" y="1709791"/>
            <a:ext cx="221184" cy="83092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TextBox 11"/>
          <p:cNvSpPr txBox="1"/>
          <p:nvPr/>
        </p:nvSpPr>
        <p:spPr>
          <a:xfrm>
            <a:off x="3295652" y="5257801"/>
            <a:ext cx="5588635" cy="323165"/>
          </a:xfrm>
          <a:prstGeom prst="rect">
            <a:avLst/>
          </a:prstGeom>
          <a:noFill/>
        </p:spPr>
        <p:txBody>
          <a:bodyPr wrap="square" rtlCol="0">
            <a:spAutoFit/>
          </a:bodyPr>
          <a:lstStyle/>
          <a:p>
            <a:pPr algn="ctr"/>
            <a:r>
              <a:rPr lang="en-US" sz="1500" dirty="0"/>
              <a:t>Each increment is a piece of working software</a:t>
            </a:r>
          </a:p>
        </p:txBody>
      </p:sp>
    </p:spTree>
    <p:extLst>
      <p:ext uri="{BB962C8B-B14F-4D97-AF65-F5344CB8AC3E}">
        <p14:creationId xmlns:p14="http://schemas.microsoft.com/office/powerpoint/2010/main" val="12652494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9900" y="857250"/>
            <a:ext cx="6172200" cy="857250"/>
          </a:xfrm>
        </p:spPr>
        <p:txBody>
          <a:bodyPr>
            <a:noAutofit/>
          </a:bodyPr>
          <a:lstStyle/>
          <a:p>
            <a:r>
              <a:rPr lang="en-US" sz="1800" b="0" dirty="0"/>
              <a:t>Welcome Changing Requirements Even Late In Development</a:t>
            </a:r>
          </a:p>
        </p:txBody>
      </p:sp>
      <p:graphicFrame>
        <p:nvGraphicFramePr>
          <p:cNvPr id="4" name="Diagram 3"/>
          <p:cNvGraphicFramePr/>
          <p:nvPr>
            <p:extLst/>
          </p:nvPr>
        </p:nvGraphicFramePr>
        <p:xfrm>
          <a:off x="3810000" y="1905000"/>
          <a:ext cx="4572000" cy="304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Left Brace 4"/>
          <p:cNvSpPr/>
          <p:nvPr/>
        </p:nvSpPr>
        <p:spPr>
          <a:xfrm rot="16200000">
            <a:off x="4367214" y="3814763"/>
            <a:ext cx="314325" cy="142875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6" name="Left Brace 5"/>
          <p:cNvSpPr/>
          <p:nvPr/>
        </p:nvSpPr>
        <p:spPr>
          <a:xfrm rot="16200000">
            <a:off x="5904549" y="3386138"/>
            <a:ext cx="314325" cy="142875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7" name="Left Brace 6"/>
          <p:cNvSpPr/>
          <p:nvPr/>
        </p:nvSpPr>
        <p:spPr>
          <a:xfrm rot="16200000">
            <a:off x="7527609" y="2928938"/>
            <a:ext cx="314325" cy="142875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8" name="TextBox 7"/>
          <p:cNvSpPr txBox="1"/>
          <p:nvPr/>
        </p:nvSpPr>
        <p:spPr>
          <a:xfrm>
            <a:off x="3810001" y="4800602"/>
            <a:ext cx="1428751" cy="276999"/>
          </a:xfrm>
          <a:prstGeom prst="rect">
            <a:avLst/>
          </a:prstGeom>
          <a:noFill/>
        </p:spPr>
        <p:txBody>
          <a:bodyPr wrap="square" rtlCol="0">
            <a:spAutoFit/>
          </a:bodyPr>
          <a:lstStyle/>
          <a:p>
            <a:pPr algn="ctr"/>
            <a:r>
              <a:rPr lang="en-US" sz="1200" dirty="0"/>
              <a:t>First increment</a:t>
            </a:r>
          </a:p>
        </p:txBody>
      </p:sp>
      <p:sp>
        <p:nvSpPr>
          <p:cNvPr id="9" name="TextBox 8"/>
          <p:cNvSpPr txBox="1"/>
          <p:nvPr/>
        </p:nvSpPr>
        <p:spPr>
          <a:xfrm>
            <a:off x="5353051" y="4343402"/>
            <a:ext cx="1428751" cy="461665"/>
          </a:xfrm>
          <a:prstGeom prst="rect">
            <a:avLst/>
          </a:prstGeom>
          <a:noFill/>
        </p:spPr>
        <p:txBody>
          <a:bodyPr wrap="square" rtlCol="0">
            <a:spAutoFit/>
          </a:bodyPr>
          <a:lstStyle/>
          <a:p>
            <a:pPr algn="ctr"/>
            <a:r>
              <a:rPr lang="en-US" sz="1200" dirty="0"/>
              <a:t>Second  increment</a:t>
            </a:r>
          </a:p>
        </p:txBody>
      </p:sp>
      <p:sp>
        <p:nvSpPr>
          <p:cNvPr id="10" name="TextBox 9"/>
          <p:cNvSpPr txBox="1"/>
          <p:nvPr/>
        </p:nvSpPr>
        <p:spPr>
          <a:xfrm>
            <a:off x="6978970" y="3829052"/>
            <a:ext cx="1428751" cy="461665"/>
          </a:xfrm>
          <a:prstGeom prst="rect">
            <a:avLst/>
          </a:prstGeom>
          <a:noFill/>
        </p:spPr>
        <p:txBody>
          <a:bodyPr wrap="square" rtlCol="0">
            <a:spAutoFit/>
          </a:bodyPr>
          <a:lstStyle/>
          <a:p>
            <a:pPr algn="ctr"/>
            <a:r>
              <a:rPr lang="en-US" sz="1200" dirty="0"/>
              <a:t>Third  increment</a:t>
            </a:r>
          </a:p>
        </p:txBody>
      </p:sp>
      <p:sp>
        <p:nvSpPr>
          <p:cNvPr id="11" name="Up Arrow 10"/>
          <p:cNvSpPr/>
          <p:nvPr/>
        </p:nvSpPr>
        <p:spPr>
          <a:xfrm rot="2974435">
            <a:off x="8773693" y="1709791"/>
            <a:ext cx="221184" cy="83092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Down Arrow 11"/>
          <p:cNvSpPr/>
          <p:nvPr/>
        </p:nvSpPr>
        <p:spPr>
          <a:xfrm>
            <a:off x="5924550" y="2000250"/>
            <a:ext cx="114300" cy="685800"/>
          </a:xfrm>
          <a:prstGeom prst="downArrow">
            <a:avLst/>
          </a:prstGeom>
        </p:spPr>
        <p:style>
          <a:lnRef idx="1">
            <a:schemeClr val="accent6"/>
          </a:lnRef>
          <a:fillRef idx="3">
            <a:schemeClr val="accent6"/>
          </a:fillRef>
          <a:effectRef idx="2">
            <a:schemeClr val="accent6"/>
          </a:effectRef>
          <a:fontRef idx="minor">
            <a:schemeClr val="lt1"/>
          </a:fontRef>
        </p:style>
        <p:txBody>
          <a:bodyPr rtlCol="0" anchor="ctr">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endParaRPr lang="en-US" sz="1350" b="1" spc="38">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sp>
        <p:nvSpPr>
          <p:cNvPr id="13" name="TextBox 12"/>
          <p:cNvSpPr txBox="1"/>
          <p:nvPr/>
        </p:nvSpPr>
        <p:spPr>
          <a:xfrm>
            <a:off x="5067301" y="1771652"/>
            <a:ext cx="1903095" cy="507831"/>
          </a:xfrm>
          <a:prstGeom prst="rect">
            <a:avLst/>
          </a:prstGeom>
          <a:noFill/>
        </p:spPr>
        <p:txBody>
          <a:bodyPr wrap="square" rtlCol="0">
            <a:spAutoFit/>
          </a:bodyPr>
          <a:lstStyle/>
          <a:p>
            <a:r>
              <a:rPr lang="en-US" sz="1350" dirty="0"/>
              <a:t>change in requirements</a:t>
            </a:r>
          </a:p>
        </p:txBody>
      </p:sp>
      <p:sp>
        <p:nvSpPr>
          <p:cNvPr id="14" name="Down Arrow 13"/>
          <p:cNvSpPr/>
          <p:nvPr/>
        </p:nvSpPr>
        <p:spPr>
          <a:xfrm rot="18587282">
            <a:off x="7041767" y="1827917"/>
            <a:ext cx="123384" cy="585695"/>
          </a:xfrm>
          <a:prstGeom prst="downArrow">
            <a:avLst/>
          </a:prstGeom>
        </p:spPr>
        <p:style>
          <a:lnRef idx="1">
            <a:schemeClr val="accent6"/>
          </a:lnRef>
          <a:fillRef idx="3">
            <a:schemeClr val="accent6"/>
          </a:fillRef>
          <a:effectRef idx="2">
            <a:schemeClr val="accent6"/>
          </a:effectRef>
          <a:fontRef idx="minor">
            <a:schemeClr val="lt1"/>
          </a:fontRef>
        </p:style>
        <p:txBody>
          <a:bodyPr rtlCol="0" anchor="ctr">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endParaRPr lang="en-US" sz="1350" b="1" spc="38">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spTree>
    <p:extLst>
      <p:ext uri="{BB962C8B-B14F-4D97-AF65-F5344CB8AC3E}">
        <p14:creationId xmlns:p14="http://schemas.microsoft.com/office/powerpoint/2010/main" val="26700138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9900" y="857250"/>
            <a:ext cx="6172200" cy="857250"/>
          </a:xfrm>
        </p:spPr>
        <p:txBody>
          <a:bodyPr>
            <a:noAutofit/>
          </a:bodyPr>
          <a:lstStyle/>
          <a:p>
            <a:r>
              <a:rPr lang="en-US" sz="1800" b="0" dirty="0"/>
              <a:t>Deliver Working Software Frequently</a:t>
            </a:r>
          </a:p>
        </p:txBody>
      </p:sp>
      <p:graphicFrame>
        <p:nvGraphicFramePr>
          <p:cNvPr id="4" name="Diagram 3"/>
          <p:cNvGraphicFramePr/>
          <p:nvPr>
            <p:extLst/>
          </p:nvPr>
        </p:nvGraphicFramePr>
        <p:xfrm>
          <a:off x="3810000" y="1905000"/>
          <a:ext cx="4572000" cy="304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Left Brace 4"/>
          <p:cNvSpPr/>
          <p:nvPr/>
        </p:nvSpPr>
        <p:spPr>
          <a:xfrm rot="16200000">
            <a:off x="4367214" y="3814763"/>
            <a:ext cx="314325" cy="142875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6" name="Left Brace 5"/>
          <p:cNvSpPr/>
          <p:nvPr/>
        </p:nvSpPr>
        <p:spPr>
          <a:xfrm rot="16200000">
            <a:off x="5904549" y="3386138"/>
            <a:ext cx="314325" cy="142875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7" name="Left Brace 6"/>
          <p:cNvSpPr/>
          <p:nvPr/>
        </p:nvSpPr>
        <p:spPr>
          <a:xfrm rot="16200000">
            <a:off x="7527609" y="2928938"/>
            <a:ext cx="314325" cy="142875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8" name="TextBox 7"/>
          <p:cNvSpPr txBox="1"/>
          <p:nvPr/>
        </p:nvSpPr>
        <p:spPr>
          <a:xfrm>
            <a:off x="3810001" y="4800602"/>
            <a:ext cx="1428751" cy="276999"/>
          </a:xfrm>
          <a:prstGeom prst="rect">
            <a:avLst/>
          </a:prstGeom>
          <a:noFill/>
        </p:spPr>
        <p:txBody>
          <a:bodyPr wrap="square" rtlCol="0">
            <a:spAutoFit/>
          </a:bodyPr>
          <a:lstStyle/>
          <a:p>
            <a:pPr algn="ctr"/>
            <a:r>
              <a:rPr lang="en-US" sz="1200" dirty="0"/>
              <a:t>First increment</a:t>
            </a:r>
          </a:p>
        </p:txBody>
      </p:sp>
      <p:sp>
        <p:nvSpPr>
          <p:cNvPr id="9" name="TextBox 8"/>
          <p:cNvSpPr txBox="1"/>
          <p:nvPr/>
        </p:nvSpPr>
        <p:spPr>
          <a:xfrm>
            <a:off x="5353051" y="4343402"/>
            <a:ext cx="1428751" cy="461665"/>
          </a:xfrm>
          <a:prstGeom prst="rect">
            <a:avLst/>
          </a:prstGeom>
          <a:noFill/>
        </p:spPr>
        <p:txBody>
          <a:bodyPr wrap="square" rtlCol="0">
            <a:spAutoFit/>
          </a:bodyPr>
          <a:lstStyle/>
          <a:p>
            <a:pPr algn="ctr"/>
            <a:r>
              <a:rPr lang="en-US" sz="1200" dirty="0"/>
              <a:t>Second  increment</a:t>
            </a:r>
          </a:p>
        </p:txBody>
      </p:sp>
      <p:sp>
        <p:nvSpPr>
          <p:cNvPr id="10" name="TextBox 9"/>
          <p:cNvSpPr txBox="1"/>
          <p:nvPr/>
        </p:nvSpPr>
        <p:spPr>
          <a:xfrm>
            <a:off x="6978970" y="3829052"/>
            <a:ext cx="1428751" cy="461665"/>
          </a:xfrm>
          <a:prstGeom prst="rect">
            <a:avLst/>
          </a:prstGeom>
          <a:noFill/>
        </p:spPr>
        <p:txBody>
          <a:bodyPr wrap="square" rtlCol="0">
            <a:spAutoFit/>
          </a:bodyPr>
          <a:lstStyle/>
          <a:p>
            <a:pPr algn="ctr"/>
            <a:r>
              <a:rPr lang="en-US" sz="1200" dirty="0"/>
              <a:t>Third  increment</a:t>
            </a:r>
          </a:p>
        </p:txBody>
      </p:sp>
      <p:sp>
        <p:nvSpPr>
          <p:cNvPr id="11" name="Up Arrow 10"/>
          <p:cNvSpPr/>
          <p:nvPr/>
        </p:nvSpPr>
        <p:spPr>
          <a:xfrm rot="2974435">
            <a:off x="8773693" y="1709791"/>
            <a:ext cx="221184" cy="83092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Down Arrow 11"/>
          <p:cNvSpPr/>
          <p:nvPr/>
        </p:nvSpPr>
        <p:spPr>
          <a:xfrm rot="20438478">
            <a:off x="5315251" y="4690823"/>
            <a:ext cx="101709" cy="685800"/>
          </a:xfrm>
          <a:prstGeom prst="downArrow">
            <a:avLst/>
          </a:prstGeom>
        </p:spPr>
        <p:style>
          <a:lnRef idx="1">
            <a:schemeClr val="accent6"/>
          </a:lnRef>
          <a:fillRef idx="3">
            <a:schemeClr val="accent6"/>
          </a:fillRef>
          <a:effectRef idx="2">
            <a:schemeClr val="accent6"/>
          </a:effectRef>
          <a:fontRef idx="minor">
            <a:schemeClr val="lt1"/>
          </a:fontRef>
        </p:style>
        <p:txBody>
          <a:bodyPr rtlCol="0" anchor="ctr">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endParaRPr lang="en-US" sz="1350" b="1" spc="38">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sp>
        <p:nvSpPr>
          <p:cNvPr id="13" name="TextBox 12"/>
          <p:cNvSpPr txBox="1"/>
          <p:nvPr/>
        </p:nvSpPr>
        <p:spPr>
          <a:xfrm>
            <a:off x="4547235" y="5438003"/>
            <a:ext cx="3000376" cy="507831"/>
          </a:xfrm>
          <a:prstGeom prst="rect">
            <a:avLst/>
          </a:prstGeom>
          <a:noFill/>
        </p:spPr>
        <p:txBody>
          <a:bodyPr wrap="square" rtlCol="0">
            <a:spAutoFit/>
          </a:bodyPr>
          <a:lstStyle/>
          <a:p>
            <a:pPr algn="ctr"/>
            <a:r>
              <a:rPr lang="en-US" sz="1350" dirty="0"/>
              <a:t>delivery of working software regularly</a:t>
            </a:r>
          </a:p>
        </p:txBody>
      </p:sp>
      <p:sp>
        <p:nvSpPr>
          <p:cNvPr id="14" name="Down Arrow 13"/>
          <p:cNvSpPr/>
          <p:nvPr/>
        </p:nvSpPr>
        <p:spPr>
          <a:xfrm rot="1459093">
            <a:off x="6635173" y="4498418"/>
            <a:ext cx="151232" cy="1033941"/>
          </a:xfrm>
          <a:prstGeom prst="downArrow">
            <a:avLst/>
          </a:prstGeom>
        </p:spPr>
        <p:style>
          <a:lnRef idx="1">
            <a:schemeClr val="accent6"/>
          </a:lnRef>
          <a:fillRef idx="3">
            <a:schemeClr val="accent6"/>
          </a:fillRef>
          <a:effectRef idx="2">
            <a:schemeClr val="accent6"/>
          </a:effectRef>
          <a:fontRef idx="minor">
            <a:schemeClr val="lt1"/>
          </a:fontRef>
        </p:style>
        <p:txBody>
          <a:bodyPr rtlCol="0" anchor="ctr">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endParaRPr lang="en-US" sz="1350" b="1" spc="38">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spTree>
    <p:extLst>
      <p:ext uri="{BB962C8B-B14F-4D97-AF65-F5344CB8AC3E}">
        <p14:creationId xmlns:p14="http://schemas.microsoft.com/office/powerpoint/2010/main" val="38767814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8"/>
          </p:nvPr>
        </p:nvSpPr>
        <p:spPr/>
        <p:txBody>
          <a:bodyPr/>
          <a:lstStyle/>
          <a:p>
            <a:fld id="{FD5E7EB4-4CDF-47BB-AF16-07782904B863}" type="slidenum">
              <a:rPr lang="en-US" smtClean="0"/>
              <a:pPr/>
              <a:t>3</a:t>
            </a:fld>
            <a:endParaRPr lang="en-US" dirty="0"/>
          </a:p>
        </p:txBody>
      </p:sp>
      <p:sp>
        <p:nvSpPr>
          <p:cNvPr id="4" name="Content Placeholder 3"/>
          <p:cNvSpPr>
            <a:spLocks noGrp="1"/>
          </p:cNvSpPr>
          <p:nvPr>
            <p:ph sz="quarter" idx="15"/>
          </p:nvPr>
        </p:nvSpPr>
        <p:spPr>
          <a:xfrm>
            <a:off x="3503712" y="1124508"/>
            <a:ext cx="4680520" cy="5328120"/>
          </a:xfrm>
        </p:spPr>
        <p:txBody>
          <a:bodyPr>
            <a:normAutofit/>
          </a:bodyPr>
          <a:lstStyle/>
          <a:p>
            <a:pPr marL="214313" indent="-214313">
              <a:buFont typeface="Arial" panose="020B0604020202020204" pitchFamily="34" charset="0"/>
              <a:buChar char="•"/>
            </a:pPr>
            <a:r>
              <a:rPr lang="en-US" b="1" dirty="0">
                <a:latin typeface="Ebrima" panose="02000000000000000000" pitchFamily="2" charset="0"/>
                <a:ea typeface="Ebrima" panose="02000000000000000000" pitchFamily="2" charset="0"/>
                <a:cs typeface="Ebrima" panose="02000000000000000000" pitchFamily="2" charset="0"/>
              </a:rPr>
              <a:t>What is Agile – Scrum</a:t>
            </a:r>
          </a:p>
          <a:p>
            <a:pPr marL="484313" lvl="2" indent="-214313">
              <a:buFont typeface="Arial" panose="020B0604020202020204" pitchFamily="34" charset="0"/>
              <a:buChar char="•"/>
            </a:pPr>
            <a:r>
              <a:rPr lang="en-US" dirty="0">
                <a:solidFill>
                  <a:srgbClr val="0070C0"/>
                </a:solidFill>
                <a:latin typeface="Ebrima" panose="02000000000000000000" pitchFamily="2" charset="0"/>
                <a:ea typeface="Ebrima" panose="02000000000000000000" pitchFamily="2" charset="0"/>
                <a:cs typeface="Ebrima" panose="02000000000000000000" pitchFamily="2" charset="0"/>
              </a:rPr>
              <a:t>Agile Manifesto</a:t>
            </a:r>
          </a:p>
          <a:p>
            <a:pPr marL="484313" lvl="2" indent="-214313">
              <a:buFont typeface="Arial" panose="020B0604020202020204" pitchFamily="34" charset="0"/>
              <a:buChar char="•"/>
            </a:pPr>
            <a:r>
              <a:rPr lang="en-US" dirty="0">
                <a:solidFill>
                  <a:srgbClr val="0070C0"/>
                </a:solidFill>
                <a:latin typeface="Ebrima" panose="02000000000000000000" pitchFamily="2" charset="0"/>
                <a:ea typeface="Ebrima" panose="02000000000000000000" pitchFamily="2" charset="0"/>
                <a:cs typeface="Ebrima" panose="02000000000000000000" pitchFamily="2" charset="0"/>
              </a:rPr>
              <a:t>Agile Values</a:t>
            </a:r>
          </a:p>
          <a:p>
            <a:pPr marL="484313" lvl="2" indent="-214313">
              <a:buFont typeface="Arial" panose="020B0604020202020204" pitchFamily="34" charset="0"/>
              <a:buChar char="•"/>
            </a:pPr>
            <a:r>
              <a:rPr lang="en-US" dirty="0">
                <a:solidFill>
                  <a:srgbClr val="0070C0"/>
                </a:solidFill>
                <a:latin typeface="Ebrima" panose="02000000000000000000" pitchFamily="2" charset="0"/>
                <a:ea typeface="Ebrima" panose="02000000000000000000" pitchFamily="2" charset="0"/>
                <a:cs typeface="Ebrima" panose="02000000000000000000" pitchFamily="2" charset="0"/>
              </a:rPr>
              <a:t>Key Characteristics</a:t>
            </a:r>
          </a:p>
          <a:p>
            <a:pPr marL="214313" indent="-214313">
              <a:buFont typeface="Arial" panose="020B0604020202020204" pitchFamily="34" charset="0"/>
              <a:buChar char="•"/>
            </a:pPr>
            <a:r>
              <a:rPr lang="en-US" b="1" dirty="0">
                <a:latin typeface="Ebrima" panose="02000000000000000000" pitchFamily="2" charset="0"/>
                <a:ea typeface="Ebrima" panose="02000000000000000000" pitchFamily="2" charset="0"/>
                <a:cs typeface="Ebrima" panose="02000000000000000000" pitchFamily="2" charset="0"/>
              </a:rPr>
              <a:t>Agile Manifesto</a:t>
            </a:r>
          </a:p>
          <a:p>
            <a:pPr marL="214313" indent="-214313">
              <a:buFont typeface="Arial" panose="020B0604020202020204" pitchFamily="34" charset="0"/>
              <a:buChar char="•"/>
            </a:pPr>
            <a:r>
              <a:rPr lang="en-US" b="1" dirty="0">
                <a:latin typeface="Ebrima" panose="02000000000000000000" pitchFamily="2" charset="0"/>
                <a:ea typeface="Ebrima" panose="02000000000000000000" pitchFamily="2" charset="0"/>
                <a:cs typeface="Ebrima" panose="02000000000000000000" pitchFamily="2" charset="0"/>
              </a:rPr>
              <a:t>Sprint Flow</a:t>
            </a:r>
          </a:p>
          <a:p>
            <a:pPr marL="349313" lvl="1" indent="-214313"/>
            <a:r>
              <a:rPr lang="en-US" b="1" dirty="0">
                <a:latin typeface="Ebrima" panose="02000000000000000000" pitchFamily="2" charset="0"/>
                <a:ea typeface="Ebrima" panose="02000000000000000000" pitchFamily="2" charset="0"/>
                <a:cs typeface="Ebrima" panose="02000000000000000000" pitchFamily="2" charset="0"/>
              </a:rPr>
              <a:t>The Backlog</a:t>
            </a:r>
          </a:p>
          <a:p>
            <a:pPr marL="484313" lvl="2" indent="-214313">
              <a:buFont typeface="Arial" panose="020B0604020202020204" pitchFamily="34" charset="0"/>
              <a:buChar char="•"/>
            </a:pPr>
            <a:r>
              <a:rPr lang="en-US" dirty="0">
                <a:solidFill>
                  <a:srgbClr val="0070C0"/>
                </a:solidFill>
                <a:latin typeface="Ebrima" panose="02000000000000000000" pitchFamily="2" charset="0"/>
                <a:ea typeface="Ebrima" panose="02000000000000000000" pitchFamily="2" charset="0"/>
                <a:cs typeface="Ebrima" panose="02000000000000000000" pitchFamily="2" charset="0"/>
              </a:rPr>
              <a:t>The Iceberg</a:t>
            </a:r>
          </a:p>
          <a:p>
            <a:pPr marL="484313" lvl="2" indent="-214313">
              <a:buFont typeface="Arial" panose="020B0604020202020204" pitchFamily="34" charset="0"/>
              <a:buChar char="•"/>
            </a:pPr>
            <a:r>
              <a:rPr lang="en-US" dirty="0">
                <a:solidFill>
                  <a:srgbClr val="0070C0"/>
                </a:solidFill>
                <a:latin typeface="Ebrima" panose="02000000000000000000" pitchFamily="2" charset="0"/>
                <a:ea typeface="Ebrima" panose="02000000000000000000" pitchFamily="2" charset="0"/>
                <a:cs typeface="Ebrima" panose="02000000000000000000" pitchFamily="2" charset="0"/>
              </a:rPr>
              <a:t>User Story </a:t>
            </a:r>
          </a:p>
          <a:p>
            <a:pPr marL="484313" lvl="2" indent="-214313">
              <a:buFont typeface="Arial" panose="020B0604020202020204" pitchFamily="34" charset="0"/>
              <a:buChar char="•"/>
            </a:pPr>
            <a:r>
              <a:rPr lang="en-US" dirty="0">
                <a:solidFill>
                  <a:srgbClr val="0070C0"/>
                </a:solidFill>
                <a:latin typeface="Ebrima" panose="02000000000000000000" pitchFamily="2" charset="0"/>
                <a:ea typeface="Ebrima" panose="02000000000000000000" pitchFamily="2" charset="0"/>
                <a:cs typeface="Ebrima" panose="02000000000000000000" pitchFamily="2" charset="0"/>
              </a:rPr>
              <a:t>INVEST Principle</a:t>
            </a:r>
          </a:p>
          <a:p>
            <a:pPr marL="484313" lvl="2" indent="-214313">
              <a:buFont typeface="Arial" panose="020B0604020202020204" pitchFamily="34" charset="0"/>
              <a:buChar char="•"/>
            </a:pPr>
            <a:r>
              <a:rPr lang="en-US" dirty="0">
                <a:solidFill>
                  <a:srgbClr val="0070C0"/>
                </a:solidFill>
                <a:latin typeface="Ebrima" panose="02000000000000000000" pitchFamily="2" charset="0"/>
                <a:ea typeface="Ebrima" panose="02000000000000000000" pitchFamily="2" charset="0"/>
                <a:cs typeface="Ebrima" panose="02000000000000000000" pitchFamily="2" charset="0"/>
              </a:rPr>
              <a:t>Sample User Story</a:t>
            </a:r>
            <a:endParaRPr lang="en-US" b="1" dirty="0">
              <a:latin typeface="Ebrima" panose="02000000000000000000" pitchFamily="2" charset="0"/>
              <a:ea typeface="Ebrima" panose="02000000000000000000" pitchFamily="2" charset="0"/>
              <a:cs typeface="Ebrima" panose="02000000000000000000" pitchFamily="2" charset="0"/>
            </a:endParaRPr>
          </a:p>
          <a:p>
            <a:pPr marL="214313" indent="-214313">
              <a:buFont typeface="Arial" panose="020B0604020202020204" pitchFamily="34" charset="0"/>
              <a:buChar char="•"/>
            </a:pPr>
            <a:r>
              <a:rPr lang="en-US" b="1" dirty="0">
                <a:latin typeface="Ebrima" panose="02000000000000000000" pitchFamily="2" charset="0"/>
                <a:ea typeface="Ebrima" panose="02000000000000000000" pitchFamily="2" charset="0"/>
                <a:cs typeface="Ebrima" panose="02000000000000000000" pitchFamily="2" charset="0"/>
              </a:rPr>
              <a:t>Scrum Framework</a:t>
            </a:r>
          </a:p>
          <a:p>
            <a:pPr marL="484313" lvl="2" indent="-214313">
              <a:buFont typeface="Arial" panose="020B0604020202020204" pitchFamily="34" charset="0"/>
              <a:buChar char="•"/>
            </a:pPr>
            <a:r>
              <a:rPr lang="en-US" dirty="0">
                <a:solidFill>
                  <a:srgbClr val="0070C0"/>
                </a:solidFill>
                <a:latin typeface="Ebrima" panose="02000000000000000000" pitchFamily="2" charset="0"/>
                <a:ea typeface="Ebrima" panose="02000000000000000000" pitchFamily="2" charset="0"/>
                <a:cs typeface="Ebrima" panose="02000000000000000000" pitchFamily="2" charset="0"/>
              </a:rPr>
              <a:t>Roles </a:t>
            </a:r>
          </a:p>
          <a:p>
            <a:pPr marL="484313" lvl="2" indent="-214313">
              <a:buFont typeface="Arial" panose="020B0604020202020204" pitchFamily="34" charset="0"/>
              <a:buChar char="•"/>
            </a:pPr>
            <a:r>
              <a:rPr lang="en-US" dirty="0">
                <a:solidFill>
                  <a:srgbClr val="0070C0"/>
                </a:solidFill>
                <a:latin typeface="Ebrima" panose="02000000000000000000" pitchFamily="2" charset="0"/>
                <a:ea typeface="Ebrima" panose="02000000000000000000" pitchFamily="2" charset="0"/>
                <a:cs typeface="Ebrima" panose="02000000000000000000" pitchFamily="2" charset="0"/>
              </a:rPr>
              <a:t>Ceremonies</a:t>
            </a:r>
          </a:p>
          <a:p>
            <a:pPr marL="484313" lvl="2" indent="-214313">
              <a:buFont typeface="Arial" panose="020B0604020202020204" pitchFamily="34" charset="0"/>
              <a:buChar char="•"/>
            </a:pPr>
            <a:r>
              <a:rPr lang="en-US" dirty="0">
                <a:solidFill>
                  <a:srgbClr val="0070C0"/>
                </a:solidFill>
                <a:latin typeface="Ebrima" panose="02000000000000000000" pitchFamily="2" charset="0"/>
                <a:ea typeface="Ebrima" panose="02000000000000000000" pitchFamily="2" charset="0"/>
                <a:cs typeface="Ebrima" panose="02000000000000000000" pitchFamily="2" charset="0"/>
              </a:rPr>
              <a:t>Artifacts</a:t>
            </a:r>
          </a:p>
          <a:p>
            <a:pPr marL="484313" lvl="2" indent="-214313">
              <a:buFont typeface="Arial" panose="020B0604020202020204" pitchFamily="34" charset="0"/>
              <a:buChar char="•"/>
            </a:pPr>
            <a:r>
              <a:rPr lang="en-US" dirty="0">
                <a:solidFill>
                  <a:srgbClr val="0070C0"/>
                </a:solidFill>
                <a:latin typeface="Ebrima" panose="02000000000000000000" pitchFamily="2" charset="0"/>
                <a:ea typeface="Ebrima" panose="02000000000000000000" pitchFamily="2" charset="0"/>
                <a:cs typeface="Ebrima" panose="02000000000000000000" pitchFamily="2" charset="0"/>
              </a:rPr>
              <a:t>Definition of Done</a:t>
            </a:r>
          </a:p>
          <a:p>
            <a:pPr marL="214313" indent="-214313">
              <a:buFont typeface="Arial" panose="020B0604020202020204" pitchFamily="34" charset="0"/>
              <a:buChar char="•"/>
            </a:pPr>
            <a:r>
              <a:rPr lang="en-US" b="1" dirty="0">
                <a:latin typeface="Ebrima" panose="02000000000000000000" pitchFamily="2" charset="0"/>
                <a:ea typeface="Ebrima" panose="02000000000000000000" pitchFamily="2" charset="0"/>
                <a:cs typeface="Ebrima" panose="02000000000000000000" pitchFamily="2" charset="0"/>
              </a:rPr>
              <a:t>Estimation</a:t>
            </a:r>
          </a:p>
          <a:p>
            <a:pPr marL="214313" indent="-214313">
              <a:buFont typeface="Arial" panose="020B0604020202020204" pitchFamily="34" charset="0"/>
              <a:buChar char="•"/>
            </a:pPr>
            <a:r>
              <a:rPr lang="en-US" b="1" dirty="0">
                <a:latin typeface="Ebrima" panose="02000000000000000000" pitchFamily="2" charset="0"/>
                <a:ea typeface="Ebrima" panose="02000000000000000000" pitchFamily="2" charset="0"/>
                <a:cs typeface="Ebrima" panose="02000000000000000000" pitchFamily="2" charset="0"/>
              </a:rPr>
              <a:t>Testing in Agile</a:t>
            </a:r>
          </a:p>
          <a:p>
            <a:pPr marL="214313" indent="-214313">
              <a:buFont typeface="Arial" panose="020B0604020202020204" pitchFamily="34" charset="0"/>
              <a:buChar char="•"/>
            </a:pPr>
            <a:r>
              <a:rPr lang="en-US" b="1" dirty="0">
                <a:latin typeface="Ebrima" panose="02000000000000000000" pitchFamily="2" charset="0"/>
                <a:ea typeface="Ebrima" panose="02000000000000000000" pitchFamily="2" charset="0"/>
                <a:cs typeface="Ebrima" panose="02000000000000000000" pitchFamily="2" charset="0"/>
              </a:rPr>
              <a:t>Glossary of Terms</a:t>
            </a:r>
          </a:p>
          <a:p>
            <a:pPr marL="484313" lvl="2" indent="-214313"/>
            <a:endParaRPr lang="en-US" dirty="0"/>
          </a:p>
          <a:p>
            <a:pPr marL="484313" lvl="2" indent="-214313"/>
            <a:endParaRPr lang="en-US" dirty="0"/>
          </a:p>
          <a:p>
            <a:endParaRPr lang="en-US" dirty="0"/>
          </a:p>
          <a:p>
            <a:pPr marL="349313" lvl="1" indent="-214313">
              <a:buFont typeface="Arial" panose="020B0604020202020204" pitchFamily="34" charset="0"/>
              <a:buChar char="•"/>
            </a:pPr>
            <a:endParaRPr lang="en-US" dirty="0"/>
          </a:p>
          <a:p>
            <a:pPr marL="349313" lvl="1" indent="-214313">
              <a:buFont typeface="Arial" panose="020B0604020202020204" pitchFamily="34" charset="0"/>
              <a:buChar char="•"/>
            </a:pPr>
            <a:endParaRPr lang="en-US" dirty="0"/>
          </a:p>
          <a:p>
            <a:pPr marL="349313" lvl="1" indent="-214313">
              <a:buFont typeface="Arial" panose="020B0604020202020204" pitchFamily="34" charset="0"/>
              <a:buChar char="•"/>
            </a:pPr>
            <a:endParaRPr lang="en-US" dirty="0"/>
          </a:p>
          <a:p>
            <a:pPr marL="214313" indent="-214313">
              <a:buFont typeface="Arial" panose="020B0604020202020204" pitchFamily="34" charset="0"/>
              <a:buChar char="•"/>
            </a:pPr>
            <a:endParaRPr lang="en-US" dirty="0"/>
          </a:p>
          <a:p>
            <a:pPr marL="214313" indent="-214313">
              <a:buFont typeface="Arial" panose="020B0604020202020204" pitchFamily="34" charset="0"/>
              <a:buChar char="•"/>
            </a:pPr>
            <a:endParaRPr lang="en-US" dirty="0"/>
          </a:p>
          <a:p>
            <a:pPr marL="214313" indent="-214313">
              <a:buFont typeface="Arial" panose="020B0604020202020204" pitchFamily="34" charset="0"/>
              <a:buChar char="•"/>
            </a:pPr>
            <a:endParaRPr lang="en-US" dirty="0"/>
          </a:p>
        </p:txBody>
      </p:sp>
      <p:sp>
        <p:nvSpPr>
          <p:cNvPr id="6" name="Title 5"/>
          <p:cNvSpPr>
            <a:spLocks noGrp="1"/>
          </p:cNvSpPr>
          <p:nvPr>
            <p:ph type="title"/>
          </p:nvPr>
        </p:nvSpPr>
        <p:spPr>
          <a:xfrm>
            <a:off x="4223792" y="251411"/>
            <a:ext cx="10944225" cy="249008"/>
          </a:xfrm>
        </p:spPr>
        <p:txBody>
          <a:bodyPr/>
          <a:lstStyle/>
          <a:p>
            <a:r>
              <a:rPr lang="en-US" sz="1800" dirty="0"/>
              <a:t>Agenda</a:t>
            </a:r>
          </a:p>
        </p:txBody>
      </p:sp>
      <p:pic>
        <p:nvPicPr>
          <p:cNvPr id="26628" name="Picture 4" descr="Image result for agile picture"/>
          <p:cNvPicPr>
            <a:picLocks noGrp="1" noChangeAspect="1" noChangeArrowheads="1"/>
          </p:cNvPicPr>
          <p:nvPr>
            <p:ph sz="quarter" idx="16"/>
          </p:nvPr>
        </p:nvPicPr>
        <p:blipFill>
          <a:blip r:embed="rId2">
            <a:extLst>
              <a:ext uri="{28A0092B-C50C-407E-A947-70E740481C1C}">
                <a14:useLocalDpi xmlns:a14="http://schemas.microsoft.com/office/drawing/2010/main" val="0"/>
              </a:ext>
            </a:extLst>
          </a:blip>
          <a:srcRect/>
          <a:stretch>
            <a:fillRect/>
          </a:stretch>
        </p:blipFill>
        <p:spPr bwMode="auto">
          <a:xfrm>
            <a:off x="6240463" y="2123678"/>
            <a:ext cx="5327650" cy="33297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48295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07568" y="404664"/>
            <a:ext cx="10972800" cy="249008"/>
          </a:xfrm>
        </p:spPr>
        <p:txBody>
          <a:bodyPr/>
          <a:lstStyle/>
          <a:p>
            <a:r>
              <a:rPr lang="en-US" b="0" dirty="0"/>
              <a:t>Be Iterative &amp; Incremental</a:t>
            </a:r>
          </a:p>
        </p:txBody>
      </p:sp>
      <p:sp>
        <p:nvSpPr>
          <p:cNvPr id="4" name="Slide Number Placeholder 3"/>
          <p:cNvSpPr>
            <a:spLocks noGrp="1"/>
          </p:cNvSpPr>
          <p:nvPr>
            <p:ph type="sldNum" sz="quarter" idx="12"/>
          </p:nvPr>
        </p:nvSpPr>
        <p:spPr/>
        <p:txBody>
          <a:bodyPr/>
          <a:lstStyle/>
          <a:p>
            <a:fld id="{86941F2A-596F-4B21-9441-5490ADE17F9F}" type="slidenum">
              <a:rPr lang="en-US" smtClean="0"/>
              <a:t>30</a:t>
            </a:fld>
            <a:endParaRPr lang="en-US"/>
          </a:p>
        </p:txBody>
      </p:sp>
      <p:pic>
        <p:nvPicPr>
          <p:cNvPr id="32770" name="Picture 2" descr="Image result for iterative and incremental developmen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7568" y="1052736"/>
            <a:ext cx="6788820" cy="511256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bwMode="gray">
          <a:xfrm>
            <a:off x="9120336" y="1052736"/>
            <a:ext cx="2592288" cy="5647700"/>
          </a:xfrm>
          <a:prstGeom prst="rect">
            <a:avLst/>
          </a:prstGeom>
          <a:noFill/>
        </p:spPr>
        <p:txBody>
          <a:bodyPr wrap="square" lIns="0" tIns="0" rIns="0" bIns="0" rtlCol="0">
            <a:spAutoFit/>
          </a:bodyPr>
          <a:lstStyle/>
          <a:p>
            <a:pPr>
              <a:spcBef>
                <a:spcPts val="300"/>
              </a:spcBef>
              <a:spcAft>
                <a:spcPts val="300"/>
              </a:spcAft>
              <a:buClr>
                <a:schemeClr val="accent1"/>
              </a:buClr>
            </a:pPr>
            <a:endParaRPr lang="en-US" sz="1400" dirty="0"/>
          </a:p>
          <a:p>
            <a:pPr>
              <a:spcBef>
                <a:spcPts val="300"/>
              </a:spcBef>
              <a:spcAft>
                <a:spcPts val="300"/>
              </a:spcAft>
              <a:buClr>
                <a:schemeClr val="accent1"/>
              </a:buClr>
            </a:pPr>
            <a:r>
              <a:rPr lang="en-US" sz="1400" dirty="0"/>
              <a:t>In the incremental plan, you don’t learn by the previous work, and the final product is not based on knowledge acquired during the journey</a:t>
            </a:r>
          </a:p>
          <a:p>
            <a:pPr>
              <a:spcBef>
                <a:spcPts val="300"/>
              </a:spcBef>
              <a:spcAft>
                <a:spcPts val="300"/>
              </a:spcAft>
              <a:buClr>
                <a:schemeClr val="accent1"/>
              </a:buClr>
            </a:pPr>
            <a:endParaRPr lang="en-US" sz="1400" dirty="0"/>
          </a:p>
          <a:p>
            <a:pPr>
              <a:spcBef>
                <a:spcPts val="300"/>
              </a:spcBef>
              <a:spcAft>
                <a:spcPts val="300"/>
              </a:spcAft>
              <a:buClr>
                <a:schemeClr val="accent1"/>
              </a:buClr>
            </a:pPr>
            <a:endParaRPr lang="en-US" sz="1400" dirty="0"/>
          </a:p>
          <a:p>
            <a:pPr>
              <a:spcBef>
                <a:spcPts val="300"/>
              </a:spcBef>
              <a:spcAft>
                <a:spcPts val="300"/>
              </a:spcAft>
              <a:buClr>
                <a:schemeClr val="accent1"/>
              </a:buClr>
            </a:pPr>
            <a:endParaRPr lang="en-US" sz="1400" dirty="0"/>
          </a:p>
          <a:p>
            <a:pPr>
              <a:spcBef>
                <a:spcPts val="300"/>
              </a:spcBef>
              <a:spcAft>
                <a:spcPts val="300"/>
              </a:spcAft>
              <a:buClr>
                <a:schemeClr val="accent1"/>
              </a:buClr>
            </a:pPr>
            <a:r>
              <a:rPr lang="en-US" sz="1400" dirty="0"/>
              <a:t>The difference between an incremental approach and an iterative approach is that the incremental approach does not require going back and changing things that are already delivered; the focus is only the requirements that have not yet been implemented. </a:t>
            </a:r>
          </a:p>
          <a:p>
            <a:pPr>
              <a:spcBef>
                <a:spcPts val="300"/>
              </a:spcBef>
              <a:spcAft>
                <a:spcPts val="300"/>
              </a:spcAft>
              <a:buClr>
                <a:schemeClr val="accent1"/>
              </a:buClr>
            </a:pPr>
            <a:endParaRPr lang="en-US" sz="1400" dirty="0"/>
          </a:p>
          <a:p>
            <a:pPr>
              <a:spcBef>
                <a:spcPts val="300"/>
              </a:spcBef>
              <a:spcAft>
                <a:spcPts val="300"/>
              </a:spcAft>
              <a:buClr>
                <a:schemeClr val="accent1"/>
              </a:buClr>
            </a:pPr>
            <a:endParaRPr lang="en-US" sz="1400" dirty="0"/>
          </a:p>
          <a:p>
            <a:pPr>
              <a:spcBef>
                <a:spcPts val="300"/>
              </a:spcBef>
              <a:spcAft>
                <a:spcPts val="300"/>
              </a:spcAft>
              <a:buClr>
                <a:schemeClr val="accent1"/>
              </a:buClr>
            </a:pPr>
            <a:endParaRPr lang="en-US" sz="1400" dirty="0"/>
          </a:p>
          <a:p>
            <a:pPr>
              <a:spcBef>
                <a:spcPts val="300"/>
              </a:spcBef>
              <a:spcAft>
                <a:spcPts val="300"/>
              </a:spcAft>
              <a:buClr>
                <a:schemeClr val="accent1"/>
              </a:buClr>
            </a:pPr>
            <a:r>
              <a:rPr lang="en-US" sz="1400" dirty="0"/>
              <a:t>.</a:t>
            </a:r>
            <a:endParaRPr kumimoji="0" lang="en-US" sz="1200" b="0" i="0" u="none" strike="noStrike" kern="1200" cap="none" spc="0" normalizeH="0" baseline="0" noProof="0" dirty="0" err="1">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6651776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a:xfrm>
            <a:off x="7248128" y="1772816"/>
            <a:ext cx="4272112" cy="1319198"/>
          </a:xfrm>
        </p:spPr>
        <p:txBody>
          <a:bodyPr/>
          <a:lstStyle/>
          <a:p>
            <a:r>
              <a:rPr lang="fr-FR" dirty="0" err="1"/>
              <a:t>SAFe</a:t>
            </a:r>
            <a:r>
              <a:rPr lang="fr-FR" dirty="0"/>
              <a:t> Framework </a:t>
            </a:r>
            <a:br>
              <a:rPr lang="fr-FR" dirty="0"/>
            </a:br>
            <a:br>
              <a:rPr lang="fr-FR" dirty="0"/>
            </a:br>
            <a:r>
              <a:rPr lang="fr-FR" sz="2000" dirty="0"/>
              <a:t>The</a:t>
            </a:r>
            <a:r>
              <a:rPr lang="fr-FR" dirty="0"/>
              <a:t> </a:t>
            </a:r>
            <a:r>
              <a:rPr lang="fr-FR" sz="2000" dirty="0" err="1"/>
              <a:t>Big</a:t>
            </a:r>
            <a:r>
              <a:rPr lang="fr-FR" sz="2000" dirty="0"/>
              <a:t> Picture</a:t>
            </a:r>
            <a:endParaRPr lang="fr-FR" dirty="0"/>
          </a:p>
        </p:txBody>
      </p:sp>
    </p:spTree>
    <p:extLst>
      <p:ext uri="{BB962C8B-B14F-4D97-AF65-F5344CB8AC3E}">
        <p14:creationId xmlns:p14="http://schemas.microsoft.com/office/powerpoint/2010/main" val="3025934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4-level-safe-for-PP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26896" y="70072"/>
            <a:ext cx="8382000" cy="6717030"/>
          </a:xfrm>
          <a:prstGeom prst="rect">
            <a:avLst/>
          </a:prstGeom>
        </p:spPr>
      </p:pic>
    </p:spTree>
    <p:extLst>
      <p:ext uri="{BB962C8B-B14F-4D97-AF65-F5344CB8AC3E}">
        <p14:creationId xmlns:p14="http://schemas.microsoft.com/office/powerpoint/2010/main" val="10715157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FD5E7EB4-4CDF-47BB-AF16-07782904B863}" type="slidenum">
              <a:rPr lang="en-US" smtClean="0"/>
              <a:pPr/>
              <a:t>33</a:t>
            </a:fld>
            <a:endParaRPr lang="en-US" dirty="0"/>
          </a:p>
        </p:txBody>
      </p:sp>
      <p:pic>
        <p:nvPicPr>
          <p:cNvPr id="4" name="Picture 3"/>
          <p:cNvPicPr>
            <a:picLocks noChangeAspect="1"/>
          </p:cNvPicPr>
          <p:nvPr/>
        </p:nvPicPr>
        <p:blipFill>
          <a:blip r:embed="rId2"/>
          <a:stretch>
            <a:fillRect/>
          </a:stretch>
        </p:blipFill>
        <p:spPr>
          <a:xfrm>
            <a:off x="1775520" y="1268760"/>
            <a:ext cx="5913256" cy="4264450"/>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5" name="TextBox 4"/>
          <p:cNvSpPr txBox="1"/>
          <p:nvPr/>
        </p:nvSpPr>
        <p:spPr bwMode="gray">
          <a:xfrm>
            <a:off x="8688288" y="1340768"/>
            <a:ext cx="2736304" cy="4778231"/>
          </a:xfrm>
          <a:prstGeom prst="rect">
            <a:avLst/>
          </a:prstGeom>
          <a:noFill/>
        </p:spPr>
        <p:txBody>
          <a:bodyPr wrap="square" lIns="0" tIns="0" rIns="0" bIns="0" rtlCol="0">
            <a:spAutoFit/>
          </a:bodyPr>
          <a:lstStyle/>
          <a:p>
            <a:endParaRPr lang="en-US" dirty="0"/>
          </a:p>
          <a:p>
            <a:r>
              <a:rPr lang="en-US" sz="1400" u="sng" dirty="0"/>
              <a:t>A fundamental Lean highlights</a:t>
            </a:r>
          </a:p>
          <a:p>
            <a:endParaRPr lang="en-US" dirty="0"/>
          </a:p>
          <a:p>
            <a:endParaRPr lang="en-US" dirty="0"/>
          </a:p>
          <a:p>
            <a:pPr marL="285750" indent="-285750">
              <a:buFont typeface="Arial" panose="020B0604020202020204" pitchFamily="34" charset="0"/>
              <a:buChar char="•"/>
            </a:pPr>
            <a:r>
              <a:rPr lang="en-US" sz="1400" dirty="0">
                <a:solidFill>
                  <a:srgbClr val="0070C0"/>
                </a:solidFill>
              </a:rPr>
              <a:t>People DO all the work / don’t overload the system.</a:t>
            </a:r>
          </a:p>
          <a:p>
            <a:pPr marL="285750" indent="-285750">
              <a:buFont typeface="Arial" panose="020B0604020202020204" pitchFamily="34" charset="0"/>
              <a:buChar char="•"/>
            </a:pPr>
            <a:r>
              <a:rPr lang="en-US" sz="1400" dirty="0">
                <a:solidFill>
                  <a:srgbClr val="0070C0"/>
                </a:solidFill>
              </a:rPr>
              <a:t>Don’t Make them Wait.</a:t>
            </a:r>
          </a:p>
          <a:p>
            <a:pPr marL="285750" indent="-285750">
              <a:buFont typeface="Arial" panose="020B0604020202020204" pitchFamily="34" charset="0"/>
              <a:buChar char="•"/>
            </a:pPr>
            <a:endParaRPr lang="en-US" sz="1400" dirty="0">
              <a:solidFill>
                <a:srgbClr val="0070C0"/>
              </a:solidFill>
            </a:endParaRPr>
          </a:p>
          <a:p>
            <a:pPr marL="285750" indent="-285750">
              <a:buFont typeface="Arial" panose="020B0604020202020204" pitchFamily="34" charset="0"/>
              <a:buChar char="•"/>
            </a:pPr>
            <a:endParaRPr lang="en-US" sz="1400" dirty="0">
              <a:solidFill>
                <a:srgbClr val="0070C0"/>
              </a:solidFill>
            </a:endParaRPr>
          </a:p>
          <a:p>
            <a:pPr marL="285750" indent="-285750">
              <a:buFont typeface="Arial" panose="020B0604020202020204" pitchFamily="34" charset="0"/>
              <a:buChar char="•"/>
            </a:pPr>
            <a:r>
              <a:rPr lang="en-US" sz="1400" dirty="0">
                <a:solidFill>
                  <a:srgbClr val="0070C0"/>
                </a:solidFill>
              </a:rPr>
              <a:t>Build-in Quality </a:t>
            </a:r>
          </a:p>
          <a:p>
            <a:pPr marL="285750" indent="-285750">
              <a:buFont typeface="Arial" panose="020B0604020202020204" pitchFamily="34" charset="0"/>
              <a:buChar char="•"/>
            </a:pPr>
            <a:r>
              <a:rPr lang="en-US" sz="1400" dirty="0">
                <a:solidFill>
                  <a:srgbClr val="0070C0"/>
                </a:solidFill>
              </a:rPr>
              <a:t>Exploit &amp; manage Variability</a:t>
            </a:r>
          </a:p>
          <a:p>
            <a:pPr marL="285750" indent="-285750">
              <a:buFont typeface="Arial" panose="020B0604020202020204" pitchFamily="34" charset="0"/>
              <a:buChar char="•"/>
            </a:pPr>
            <a:endParaRPr lang="en-US" sz="1400" dirty="0">
              <a:solidFill>
                <a:srgbClr val="0070C0"/>
              </a:solidFill>
            </a:endParaRPr>
          </a:p>
          <a:p>
            <a:pPr marL="285750" indent="-285750">
              <a:buFont typeface="Arial" panose="020B0604020202020204" pitchFamily="34" charset="0"/>
              <a:buChar char="•"/>
            </a:pPr>
            <a:r>
              <a:rPr lang="en-US" sz="1400" dirty="0">
                <a:solidFill>
                  <a:srgbClr val="0070C0"/>
                </a:solidFill>
              </a:rPr>
              <a:t>Producers innovate / Consumers Validate</a:t>
            </a:r>
          </a:p>
          <a:p>
            <a:pPr marL="285750" indent="-285750">
              <a:buFont typeface="Arial" panose="020B0604020202020204" pitchFamily="34" charset="0"/>
              <a:buChar char="•"/>
            </a:pPr>
            <a:endParaRPr lang="en-US" sz="1400" dirty="0">
              <a:solidFill>
                <a:srgbClr val="0070C0"/>
              </a:solidFill>
            </a:endParaRPr>
          </a:p>
          <a:p>
            <a:pPr marL="285750" indent="-285750">
              <a:buFont typeface="Arial" panose="020B0604020202020204" pitchFamily="34" charset="0"/>
              <a:buChar char="•"/>
            </a:pPr>
            <a:r>
              <a:rPr lang="en-US" sz="1400" dirty="0">
                <a:solidFill>
                  <a:srgbClr val="0070C0"/>
                </a:solidFill>
              </a:rPr>
              <a:t>Reflect @ key milestones , sense of danger.</a:t>
            </a:r>
          </a:p>
          <a:p>
            <a:endParaRPr lang="en-US" sz="1400" dirty="0"/>
          </a:p>
          <a:p>
            <a:pPr marL="285750" indent="-285750">
              <a:buFont typeface="Arial" panose="020B0604020202020204" pitchFamily="34" charset="0"/>
              <a:buChar char="•"/>
            </a:pPr>
            <a:endParaRPr lang="en-US" sz="1400" dirty="0"/>
          </a:p>
          <a:p>
            <a:pPr marR="0" algn="l" defTabSz="914400" rtl="0" eaLnBrk="1" fontAlgn="auto" latinLnBrk="0" hangingPunct="1">
              <a:lnSpc>
                <a:spcPct val="100000"/>
              </a:lnSpc>
              <a:spcBef>
                <a:spcPts val="300"/>
              </a:spcBef>
              <a:spcAft>
                <a:spcPts val="300"/>
              </a:spcAft>
              <a:buClr>
                <a:schemeClr val="accent1"/>
              </a:buClr>
              <a:buSzTx/>
              <a:tabLst/>
            </a:pPr>
            <a:endParaRPr kumimoji="0" lang="en-US" sz="1600" b="0" i="0" u="none" strike="noStrike" kern="1200" cap="none" spc="0" normalizeH="0" baseline="0" noProof="0" dirty="0" err="1">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8763139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3"/>
          </p:nvPr>
        </p:nvSpPr>
        <p:spPr/>
        <p:txBody>
          <a:bodyPr/>
          <a:lstStyle/>
          <a:p>
            <a:endParaRPr lang="fr-FR" dirty="0"/>
          </a:p>
        </p:txBody>
      </p:sp>
      <p:sp>
        <p:nvSpPr>
          <p:cNvPr id="3" name="Titre 2"/>
          <p:cNvSpPr>
            <a:spLocks noGrp="1"/>
          </p:cNvSpPr>
          <p:nvPr>
            <p:ph type="title"/>
          </p:nvPr>
        </p:nvSpPr>
        <p:spPr>
          <a:xfrm>
            <a:off x="7296000" y="1772816"/>
            <a:ext cx="4272112" cy="488201"/>
          </a:xfrm>
        </p:spPr>
        <p:txBody>
          <a:bodyPr/>
          <a:lstStyle/>
          <a:p>
            <a:r>
              <a:rPr lang="fr-FR" dirty="0"/>
              <a:t>The </a:t>
            </a:r>
            <a:r>
              <a:rPr lang="fr-FR" dirty="0" err="1"/>
              <a:t>Backlog</a:t>
            </a:r>
            <a:endParaRPr lang="fr-FR" dirty="0"/>
          </a:p>
        </p:txBody>
      </p:sp>
    </p:spTree>
    <p:extLst>
      <p:ext uri="{BB962C8B-B14F-4D97-AF65-F5344CB8AC3E}">
        <p14:creationId xmlns:p14="http://schemas.microsoft.com/office/powerpoint/2010/main" val="31524076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35</a:t>
            </a:fld>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86133" y="1700808"/>
            <a:ext cx="7481182" cy="4032448"/>
          </a:xfrm>
          <a:prstGeom prst="rect">
            <a:avLst/>
          </a:prstGeom>
        </p:spPr>
      </p:pic>
      <p:sp>
        <p:nvSpPr>
          <p:cNvPr id="8" name="Rectangle 1"/>
          <p:cNvSpPr>
            <a:spLocks noGrp="1" noChangeArrowheads="1"/>
          </p:cNvSpPr>
          <p:nvPr>
            <p:ph type="title"/>
          </p:nvPr>
        </p:nvSpPr>
        <p:spPr>
          <a:xfrm>
            <a:off x="1781176" y="1127764"/>
            <a:ext cx="7096125" cy="249008"/>
          </a:xfrm>
        </p:spPr>
        <p:txBody>
          <a:bodyPr/>
          <a:lstStyle/>
          <a:p>
            <a:pPr eaLnBrk="1" hangingPunct="1">
              <a:defRPr/>
            </a:pPr>
            <a:r>
              <a:rPr lang="en-US" b="0" dirty="0"/>
              <a:t>Product backlog Iceberg </a:t>
            </a:r>
          </a:p>
        </p:txBody>
      </p:sp>
    </p:spTree>
    <p:extLst>
      <p:ext uri="{BB962C8B-B14F-4D97-AF65-F5344CB8AC3E}">
        <p14:creationId xmlns:p14="http://schemas.microsoft.com/office/powerpoint/2010/main" val="15305329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36</a:t>
            </a:fld>
            <a:endParaRPr lang="en-US" dirty="0"/>
          </a:p>
        </p:txBody>
      </p:sp>
      <p:sp>
        <p:nvSpPr>
          <p:cNvPr id="5" name="Text Placeholder 4"/>
          <p:cNvSpPr>
            <a:spLocks noGrp="1"/>
          </p:cNvSpPr>
          <p:nvPr>
            <p:ph type="body" sz="quarter" idx="13"/>
          </p:nvPr>
        </p:nvSpPr>
        <p:spPr>
          <a:xfrm>
            <a:off x="1937539" y="958029"/>
            <a:ext cx="8208169" cy="298608"/>
          </a:xfrm>
        </p:spPr>
        <p:txBody>
          <a:bodyPr/>
          <a:lstStyle/>
          <a:p>
            <a:r>
              <a:rPr lang="en-US" dirty="0"/>
              <a:t>User Story</a:t>
            </a:r>
          </a:p>
        </p:txBody>
      </p:sp>
      <p:sp>
        <p:nvSpPr>
          <p:cNvPr id="7" name="Rectangle 6"/>
          <p:cNvSpPr/>
          <p:nvPr/>
        </p:nvSpPr>
        <p:spPr>
          <a:xfrm>
            <a:off x="2478001" y="1256639"/>
            <a:ext cx="7398822" cy="4662815"/>
          </a:xfrm>
          <a:prstGeom prst="rect">
            <a:avLst/>
          </a:prstGeom>
        </p:spPr>
        <p:txBody>
          <a:bodyPr wrap="square">
            <a:spAutoFit/>
          </a:bodyPr>
          <a:lstStyle/>
          <a:p>
            <a:r>
              <a:rPr lang="en-US" sz="1350" b="1" dirty="0"/>
              <a:t>User stories</a:t>
            </a:r>
            <a:r>
              <a:rPr lang="en-US" sz="1350" dirty="0"/>
              <a:t> are short, simple descriptions of a feature told from the perspective of the person who desires the new capability, usually a user or customer of the system.</a:t>
            </a:r>
          </a:p>
          <a:p>
            <a:endParaRPr lang="en-US" sz="1350" dirty="0"/>
          </a:p>
          <a:p>
            <a:r>
              <a:rPr lang="en-US" sz="1350" dirty="0"/>
              <a:t> They typically follow a simple template:</a:t>
            </a:r>
          </a:p>
          <a:p>
            <a:r>
              <a:rPr lang="en-US" sz="1350" i="1" dirty="0"/>
              <a:t>As a &lt;type of user&gt;, I want &lt;some goal&gt; so that &lt;some reason&gt;. </a:t>
            </a:r>
          </a:p>
          <a:p>
            <a:endParaRPr lang="en-US" sz="1350" i="1" dirty="0"/>
          </a:p>
          <a:p>
            <a:r>
              <a:rPr lang="en-US" sz="1350" i="1" dirty="0"/>
              <a:t>                                             </a:t>
            </a:r>
          </a:p>
          <a:p>
            <a:r>
              <a:rPr lang="en-US" sz="1350" dirty="0"/>
              <a:t>Card, Conversation, Confirmation"; this formula (from </a:t>
            </a:r>
            <a:r>
              <a:rPr lang="en-US" sz="1350" dirty="0">
                <a:hlinkClick r:id="rId2"/>
              </a:rPr>
              <a:t>Ron Jeffries</a:t>
            </a:r>
            <a:r>
              <a:rPr lang="en-US" sz="1350" dirty="0"/>
              <a:t>) captures the components of a User Story:</a:t>
            </a:r>
          </a:p>
          <a:p>
            <a:endParaRPr lang="en-US" sz="1350" dirty="0"/>
          </a:p>
          <a:p>
            <a:r>
              <a:rPr lang="en-US" sz="1350" dirty="0"/>
              <a:t>a "Card" (or often a Post-It note), a physical token giving tangible and durable form to what would otherwise only be an abstraction:</a:t>
            </a:r>
          </a:p>
          <a:p>
            <a:endParaRPr lang="en-US" sz="1350" dirty="0"/>
          </a:p>
          <a:p>
            <a:r>
              <a:rPr lang="en-US" sz="1350" dirty="0"/>
              <a:t>a "conversation" taking place at different time and places during a project between the various people concerned by a given feature of a software product: customers, users, developers, testers; this conversation is largely verbal but most often supplemented by documentation;</a:t>
            </a:r>
          </a:p>
          <a:p>
            <a:endParaRPr lang="en-US" sz="1350" dirty="0"/>
          </a:p>
          <a:p>
            <a:r>
              <a:rPr lang="en-US" sz="1350" dirty="0"/>
              <a:t>the "confirmation", finally, the more formal the better, that the objectives the conversation revolved around have been reached.</a:t>
            </a:r>
          </a:p>
          <a:p>
            <a:endParaRPr lang="en-US" sz="1350" dirty="0"/>
          </a:p>
        </p:txBody>
      </p:sp>
    </p:spTree>
    <p:extLst>
      <p:ext uri="{BB962C8B-B14F-4D97-AF65-F5344CB8AC3E}">
        <p14:creationId xmlns:p14="http://schemas.microsoft.com/office/powerpoint/2010/main" val="6514544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37</a:t>
            </a:fld>
            <a:endParaRPr lang="en-US" dirty="0"/>
          </a:p>
        </p:txBody>
      </p:sp>
      <p:sp>
        <p:nvSpPr>
          <p:cNvPr id="4" name="Content Placeholder 3"/>
          <p:cNvSpPr>
            <a:spLocks noGrp="1"/>
          </p:cNvSpPr>
          <p:nvPr>
            <p:ph sz="quarter" idx="14"/>
          </p:nvPr>
        </p:nvSpPr>
        <p:spPr>
          <a:xfrm>
            <a:off x="1643531" y="1772816"/>
            <a:ext cx="9001000" cy="4104456"/>
          </a:xfrm>
        </p:spPr>
        <p:txBody>
          <a:bodyPr/>
          <a:lstStyle/>
          <a:p>
            <a:r>
              <a:rPr lang="en-US" dirty="0"/>
              <a:t>The test for determining whether or not a story is well understood and ready for the team to begin </a:t>
            </a:r>
          </a:p>
          <a:p>
            <a:r>
              <a:rPr lang="en-US" dirty="0"/>
              <a:t>working on it is the INVEST acronym:</a:t>
            </a:r>
          </a:p>
          <a:p>
            <a:endParaRPr lang="en-US" dirty="0"/>
          </a:p>
          <a:p>
            <a:r>
              <a:rPr lang="en-US" dirty="0">
                <a:solidFill>
                  <a:srgbClr val="0070C0"/>
                </a:solidFill>
              </a:rPr>
              <a:t>I – Independent</a:t>
            </a:r>
          </a:p>
          <a:p>
            <a:r>
              <a:rPr lang="en-US" dirty="0"/>
              <a:t>The solution can be implemented by the team independently of other stories.  The team should be expected to break technical dependencies as often as possible – this may take some creative thinking and problem solving as well as the Agile technical practices such as refactoring.</a:t>
            </a:r>
          </a:p>
          <a:p>
            <a:r>
              <a:rPr lang="en-US" dirty="0">
                <a:solidFill>
                  <a:srgbClr val="0070C0"/>
                </a:solidFill>
              </a:rPr>
              <a:t>N – Negotiable</a:t>
            </a:r>
          </a:p>
          <a:p>
            <a:r>
              <a:rPr lang="en-US" dirty="0"/>
              <a:t>The scope of work should have some flex and not be pinned down like a traditional requirements specification.  As well, the solution for the story is not prescribed by the story and is open to discussion and collaboration, with the final decision for technical implementation being reserved for the Development Team.</a:t>
            </a:r>
          </a:p>
          <a:p>
            <a:r>
              <a:rPr lang="en-US" dirty="0">
                <a:solidFill>
                  <a:srgbClr val="0070C0"/>
                </a:solidFill>
              </a:rPr>
              <a:t>V – Valuable</a:t>
            </a:r>
          </a:p>
          <a:p>
            <a:r>
              <a:rPr lang="en-US" dirty="0"/>
              <a:t>The business value of the story, the “why”, should be clearly understood by all. Note that the “why” does not necessarily need to be from the perspective of the user. “Why” can address a business need of the customer without necessarily providing a direct, valuable result to the end user. All stories should be connected to clear business goals.  This does not mean that a single user story needs to be a marketable feature on its own.</a:t>
            </a:r>
          </a:p>
          <a:p>
            <a:endParaRPr lang="en-US" dirty="0"/>
          </a:p>
        </p:txBody>
      </p:sp>
      <p:sp>
        <p:nvSpPr>
          <p:cNvPr id="6" name="Title 5"/>
          <p:cNvSpPr>
            <a:spLocks noGrp="1"/>
          </p:cNvSpPr>
          <p:nvPr>
            <p:ph type="title"/>
          </p:nvPr>
        </p:nvSpPr>
        <p:spPr>
          <a:xfrm>
            <a:off x="1643531" y="1048192"/>
            <a:ext cx="8208169" cy="249008"/>
          </a:xfrm>
        </p:spPr>
        <p:txBody>
          <a:bodyPr/>
          <a:lstStyle/>
          <a:p>
            <a:r>
              <a:rPr lang="en-US" b="0" dirty="0"/>
              <a:t>INVEST Principle</a:t>
            </a:r>
          </a:p>
        </p:txBody>
      </p:sp>
      <p:pic>
        <p:nvPicPr>
          <p:cNvPr id="31746" name="Picture 2" descr="Image result for emergent architecture emergent design agile i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55445" y="0"/>
            <a:ext cx="2137395" cy="21373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65056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38</a:t>
            </a:fld>
            <a:endParaRPr lang="en-US" dirty="0"/>
          </a:p>
        </p:txBody>
      </p:sp>
      <p:sp>
        <p:nvSpPr>
          <p:cNvPr id="4" name="Content Placeholder 3"/>
          <p:cNvSpPr>
            <a:spLocks noGrp="1"/>
          </p:cNvSpPr>
          <p:nvPr>
            <p:ph sz="quarter" idx="14"/>
          </p:nvPr>
        </p:nvSpPr>
        <p:spPr>
          <a:xfrm>
            <a:off x="1829526" y="1916832"/>
            <a:ext cx="8208170" cy="3564396"/>
          </a:xfrm>
        </p:spPr>
        <p:txBody>
          <a:bodyPr/>
          <a:lstStyle/>
          <a:p>
            <a:r>
              <a:rPr lang="en-US" dirty="0"/>
              <a:t>– </a:t>
            </a:r>
            <a:r>
              <a:rPr lang="en-US" dirty="0">
                <a:solidFill>
                  <a:srgbClr val="0070C0"/>
                </a:solidFill>
              </a:rPr>
              <a:t>Estimable</a:t>
            </a:r>
          </a:p>
          <a:p>
            <a:r>
              <a:rPr lang="en-US" dirty="0"/>
              <a:t>The team should understand the story well enough to be able estimate the complexity of the work and the effort required to deliver the story as a potentially shippable increment of functionality.  This does not mean that the team needs to understand all the details of implementation in order to estimate the user story.</a:t>
            </a:r>
          </a:p>
          <a:p>
            <a:r>
              <a:rPr lang="en-US" dirty="0">
                <a:solidFill>
                  <a:srgbClr val="0070C0"/>
                </a:solidFill>
              </a:rPr>
              <a:t>S – Small</a:t>
            </a:r>
          </a:p>
          <a:p>
            <a:r>
              <a:rPr lang="en-US" dirty="0"/>
              <a:t>The item should be small enough that the team can deliver a potentially shippable increment of functionality within a single Sprint. In fact, this should be considered as the maximum size allowable for any Product Backlog Item as it gets close to the top of the Product Backlog.  This is part of the concept of Product Backlog refinement that is an ongoing aspect of the work of the Scrum Team.</a:t>
            </a:r>
          </a:p>
          <a:p>
            <a:r>
              <a:rPr lang="en-US" dirty="0">
                <a:solidFill>
                  <a:srgbClr val="0070C0"/>
                </a:solidFill>
              </a:rPr>
              <a:t>T – Testable</a:t>
            </a:r>
          </a:p>
          <a:p>
            <a:r>
              <a:rPr lang="en-US" dirty="0"/>
              <a:t>Everyone should understand and agree on how the completion of the story will be verified. The definition of “done” is one way of establishing this. If everyone agrees that the story can be implemented in a way that satisfies the current definition of “done” in a single Sprint and this definition of “done” includes some kind of user acceptance test, then the story can be considered testable.</a:t>
            </a:r>
          </a:p>
          <a:p>
            <a:endParaRPr lang="en-US" dirty="0"/>
          </a:p>
        </p:txBody>
      </p:sp>
      <p:sp>
        <p:nvSpPr>
          <p:cNvPr id="6" name="Title 5"/>
          <p:cNvSpPr>
            <a:spLocks noGrp="1"/>
          </p:cNvSpPr>
          <p:nvPr>
            <p:ph type="title"/>
          </p:nvPr>
        </p:nvSpPr>
        <p:spPr>
          <a:xfrm>
            <a:off x="1829527" y="1156204"/>
            <a:ext cx="8208169" cy="249008"/>
          </a:xfrm>
        </p:spPr>
        <p:txBody>
          <a:bodyPr/>
          <a:lstStyle/>
          <a:p>
            <a:r>
              <a:rPr lang="en-US" b="0" dirty="0"/>
              <a:t>INVEST </a:t>
            </a:r>
            <a:r>
              <a:rPr lang="en-US" b="0" dirty="0" err="1"/>
              <a:t>contd</a:t>
            </a:r>
            <a:r>
              <a:rPr lang="en-US" b="0" dirty="0"/>
              <a:t>….</a:t>
            </a:r>
          </a:p>
        </p:txBody>
      </p:sp>
      <p:pic>
        <p:nvPicPr>
          <p:cNvPr id="5" name="Picture 2" descr="Image result for emergent architecture emergent design agile i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55445" y="0"/>
            <a:ext cx="2137395" cy="21373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782547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39</a:t>
            </a:fld>
            <a:endParaRPr lang="en-US" dirty="0"/>
          </a:p>
        </p:txBody>
      </p:sp>
      <p:sp>
        <p:nvSpPr>
          <p:cNvPr id="6" name="Title 5"/>
          <p:cNvSpPr>
            <a:spLocks noGrp="1"/>
          </p:cNvSpPr>
          <p:nvPr>
            <p:ph type="title"/>
          </p:nvPr>
        </p:nvSpPr>
        <p:spPr>
          <a:xfrm>
            <a:off x="1721515" y="1088225"/>
            <a:ext cx="8208169" cy="249008"/>
          </a:xfrm>
        </p:spPr>
        <p:txBody>
          <a:bodyPr/>
          <a:lstStyle/>
          <a:p>
            <a:r>
              <a:rPr lang="en-US" b="0" dirty="0"/>
              <a:t>User Story Screen Shot </a:t>
            </a:r>
          </a:p>
        </p:txBody>
      </p:sp>
      <p:pic>
        <p:nvPicPr>
          <p:cNvPr id="7" name="Picture 6" descr="Image result for Rally User Story card picture"/>
          <p:cNvPicPr/>
          <p:nvPr/>
        </p:nvPicPr>
        <p:blipFill>
          <a:blip r:embed="rId2">
            <a:extLst>
              <a:ext uri="{28A0092B-C50C-407E-A947-70E740481C1C}">
                <a14:useLocalDpi xmlns:a14="http://schemas.microsoft.com/office/drawing/2010/main" val="0"/>
              </a:ext>
            </a:extLst>
          </a:blip>
          <a:srcRect/>
          <a:stretch>
            <a:fillRect/>
          </a:stretch>
        </p:blipFill>
        <p:spPr bwMode="auto">
          <a:xfrm>
            <a:off x="2801634" y="1337234"/>
            <a:ext cx="6462718" cy="4828070"/>
          </a:xfrm>
          <a:prstGeom prst="rect">
            <a:avLst/>
          </a:prstGeom>
          <a:noFill/>
          <a:ln>
            <a:noFill/>
          </a:ln>
        </p:spPr>
      </p:pic>
    </p:spTree>
    <p:extLst>
      <p:ext uri="{BB962C8B-B14F-4D97-AF65-F5344CB8AC3E}">
        <p14:creationId xmlns:p14="http://schemas.microsoft.com/office/powerpoint/2010/main" val="32846248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a:xfrm>
            <a:off x="7296000" y="1772816"/>
            <a:ext cx="4272112" cy="488201"/>
          </a:xfrm>
        </p:spPr>
        <p:txBody>
          <a:bodyPr/>
          <a:lstStyle/>
          <a:p>
            <a:r>
              <a:rPr lang="fr-FR" dirty="0"/>
              <a:t>Values &amp; Principes</a:t>
            </a:r>
          </a:p>
        </p:txBody>
      </p:sp>
    </p:spTree>
    <p:extLst>
      <p:ext uri="{BB962C8B-B14F-4D97-AF65-F5344CB8AC3E}">
        <p14:creationId xmlns:p14="http://schemas.microsoft.com/office/powerpoint/2010/main" val="21010152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1143003"/>
            <a:ext cx="8229600" cy="269774"/>
          </a:xfrm>
        </p:spPr>
        <p:txBody>
          <a:bodyPr>
            <a:normAutofit fontScale="92500" lnSpcReduction="20000"/>
          </a:bodyPr>
          <a:lstStyle/>
          <a:p>
            <a:r>
              <a:rPr lang="en-US" sz="2000" dirty="0"/>
              <a:t>Consider this user story</a:t>
            </a:r>
          </a:p>
        </p:txBody>
      </p:sp>
      <p:sp>
        <p:nvSpPr>
          <p:cNvPr id="4" name="Rectangle 3"/>
          <p:cNvSpPr/>
          <p:nvPr/>
        </p:nvSpPr>
        <p:spPr>
          <a:xfrm>
            <a:off x="2711624" y="1772816"/>
            <a:ext cx="6019800" cy="923330"/>
          </a:xfrm>
          <a:prstGeom prst="rect">
            <a:avLst/>
          </a:prstGeom>
        </p:spPr>
        <p:txBody>
          <a:bodyPr wrap="square">
            <a:spAutoFit/>
          </a:bodyPr>
          <a:lstStyle/>
          <a:p>
            <a:pPr algn="ctr"/>
            <a:r>
              <a:rPr lang="en-US" i="1" dirty="0"/>
              <a:t>As an Administrator, I want to be able to create User Accounts so that I can grant users access to the system</a:t>
            </a:r>
            <a:endParaRPr lang="en-US" dirty="0"/>
          </a:p>
        </p:txBody>
      </p:sp>
      <p:sp>
        <p:nvSpPr>
          <p:cNvPr id="5" name="Rectangle 4"/>
          <p:cNvSpPr/>
          <p:nvPr/>
        </p:nvSpPr>
        <p:spPr>
          <a:xfrm>
            <a:off x="1981200" y="2743201"/>
            <a:ext cx="8229600" cy="3393237"/>
          </a:xfrm>
          <a:prstGeom prst="rect">
            <a:avLst/>
          </a:prstGeom>
        </p:spPr>
        <p:txBody>
          <a:bodyPr wrap="square">
            <a:spAutoFit/>
          </a:bodyPr>
          <a:lstStyle/>
          <a:p>
            <a:pPr marL="342900" indent="-342900">
              <a:buFont typeface="Arial" panose="020B0604020202020204" pitchFamily="34" charset="0"/>
              <a:buChar char="•"/>
            </a:pPr>
            <a:r>
              <a:rPr lang="en-US" sz="1650" dirty="0">
                <a:solidFill>
                  <a:srgbClr val="0070C0"/>
                </a:solidFill>
              </a:rPr>
              <a:t>If I am an Administrator, I can create User Accounts.</a:t>
            </a:r>
          </a:p>
          <a:p>
            <a:pPr marL="342900" indent="-342900">
              <a:buFont typeface="Arial" panose="020B0604020202020204" pitchFamily="34" charset="0"/>
              <a:buChar char="•"/>
            </a:pPr>
            <a:r>
              <a:rPr lang="en-US" sz="1650" dirty="0">
                <a:solidFill>
                  <a:srgbClr val="0070C0"/>
                </a:solidFill>
              </a:rPr>
              <a:t>I can create a User Account by entering the following information about the User: a. Name, b. Email address, c. Phone Number d. License Number (Power/Basic/None), e. Account Status (Active/Inactive), f. Reports to (from a list of "Active" Users)</a:t>
            </a:r>
          </a:p>
          <a:p>
            <a:pPr marL="342900" indent="-342900">
              <a:buFont typeface="Arial" panose="020B0604020202020204" pitchFamily="34" charset="0"/>
              <a:buChar char="•"/>
            </a:pPr>
            <a:r>
              <a:rPr lang="en-US" sz="1650" dirty="0">
                <a:solidFill>
                  <a:srgbClr val="0070C0"/>
                </a:solidFill>
              </a:rPr>
              <a:t>I cannot assign a new User to report to an “Inactive” User</a:t>
            </a:r>
          </a:p>
          <a:p>
            <a:pPr marL="342900" indent="-342900">
              <a:buFont typeface="Arial" panose="020B0604020202020204" pitchFamily="34" charset="0"/>
              <a:buChar char="•"/>
            </a:pPr>
            <a:r>
              <a:rPr lang="en-US" sz="1650" dirty="0">
                <a:solidFill>
                  <a:srgbClr val="0070C0"/>
                </a:solidFill>
              </a:rPr>
              <a:t>I cannot assign a new User to report to a User if it creates a cyclical relationship (e.g., User 1 reports to User 2 who reports to User 1</a:t>
            </a:r>
          </a:p>
          <a:p>
            <a:pPr marL="342900" indent="-342900">
              <a:buFont typeface="Arial" panose="020B0604020202020204" pitchFamily="34" charset="0"/>
              <a:buChar char="•"/>
            </a:pPr>
            <a:r>
              <a:rPr lang="en-US" sz="1650" dirty="0">
                <a:solidFill>
                  <a:srgbClr val="0070C0"/>
                </a:solidFill>
              </a:rPr>
              <a:t>The system notifies me that it sent an email to the new User's email address, containing a system-generated initial password and instructions for the person to log in and change their password.</a:t>
            </a:r>
          </a:p>
          <a:p>
            <a:pPr marL="342900" indent="-342900">
              <a:buFont typeface="Arial" panose="020B0604020202020204" pitchFamily="34" charset="0"/>
              <a:buChar char="•"/>
            </a:pPr>
            <a:r>
              <a:rPr lang="en-US" sz="1650" dirty="0">
                <a:solidFill>
                  <a:srgbClr val="0070C0"/>
                </a:solidFill>
              </a:rPr>
              <a:t>I am able to verify with the intended recipient of the email that it was received.</a:t>
            </a:r>
          </a:p>
        </p:txBody>
      </p:sp>
      <p:sp>
        <p:nvSpPr>
          <p:cNvPr id="6" name="Title 5"/>
          <p:cNvSpPr>
            <a:spLocks noGrp="1"/>
          </p:cNvSpPr>
          <p:nvPr>
            <p:ph type="title"/>
          </p:nvPr>
        </p:nvSpPr>
        <p:spPr>
          <a:xfrm>
            <a:off x="1981200" y="360594"/>
            <a:ext cx="10972800" cy="249008"/>
          </a:xfrm>
        </p:spPr>
        <p:txBody>
          <a:bodyPr/>
          <a:lstStyle/>
          <a:p>
            <a:r>
              <a:rPr lang="en-US" sz="1800" b="0" dirty="0">
                <a:latin typeface="Arial" panose="020B0604020202020204" pitchFamily="34" charset="0"/>
                <a:cs typeface="Arial" panose="020B0604020202020204" pitchFamily="34" charset="0"/>
              </a:rPr>
              <a:t>Acceptance Criteria – An Example</a:t>
            </a:r>
            <a:endParaRPr lang="en-US" dirty="0"/>
          </a:p>
        </p:txBody>
      </p:sp>
    </p:spTree>
    <p:extLst>
      <p:ext uri="{BB962C8B-B14F-4D97-AF65-F5344CB8AC3E}">
        <p14:creationId xmlns:p14="http://schemas.microsoft.com/office/powerpoint/2010/main" val="30435479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438400" y="1524001"/>
            <a:ext cx="7315200" cy="1015663"/>
          </a:xfrm>
          <a:prstGeom prst="rect">
            <a:avLst/>
          </a:prstGeom>
        </p:spPr>
        <p:txBody>
          <a:bodyPr wrap="square">
            <a:spAutoFit/>
          </a:bodyPr>
          <a:lstStyle/>
          <a:p>
            <a:pPr algn="just"/>
            <a:r>
              <a:rPr lang="en-US" sz="2000" dirty="0"/>
              <a:t>Acceptance criteria define the boundaries of a user story, and are used to confirm when a story is completed and working as intended</a:t>
            </a:r>
          </a:p>
        </p:txBody>
      </p:sp>
      <p:sp>
        <p:nvSpPr>
          <p:cNvPr id="5" name="Rectangle 4"/>
          <p:cNvSpPr/>
          <p:nvPr/>
        </p:nvSpPr>
        <p:spPr>
          <a:xfrm>
            <a:off x="2449830" y="2743200"/>
            <a:ext cx="7303770" cy="1754326"/>
          </a:xfrm>
          <a:prstGeom prst="rect">
            <a:avLst/>
          </a:prstGeom>
        </p:spPr>
        <p:txBody>
          <a:bodyPr wrap="square">
            <a:spAutoFit/>
          </a:bodyPr>
          <a:lstStyle/>
          <a:p>
            <a:pPr marL="342900" indent="-342900" algn="just">
              <a:buFontTx/>
              <a:buChar char="-"/>
            </a:pPr>
            <a:r>
              <a:rPr lang="en-US" dirty="0"/>
              <a:t>A set of statements, each with a clear pass/fail result</a:t>
            </a:r>
          </a:p>
          <a:p>
            <a:pPr marL="342900" indent="-342900" algn="just">
              <a:buFontTx/>
              <a:buChar char="-"/>
            </a:pPr>
            <a:r>
              <a:rPr lang="en-US" dirty="0"/>
              <a:t>Specify functional (e.g., minimal marketable functionality) requirements</a:t>
            </a:r>
          </a:p>
          <a:p>
            <a:pPr marL="342900" indent="-342900" algn="just">
              <a:buFontTx/>
              <a:buChar char="-"/>
            </a:pPr>
            <a:r>
              <a:rPr lang="en-US" dirty="0"/>
              <a:t>Specify non-functional (e.g., minimal quality) requirements applicable at the current stage of project integration. </a:t>
            </a:r>
          </a:p>
        </p:txBody>
      </p:sp>
      <p:sp>
        <p:nvSpPr>
          <p:cNvPr id="6" name="Rectangle 5"/>
          <p:cNvSpPr/>
          <p:nvPr/>
        </p:nvSpPr>
        <p:spPr>
          <a:xfrm>
            <a:off x="2057400" y="5257801"/>
            <a:ext cx="8153400" cy="584775"/>
          </a:xfrm>
          <a:prstGeom prst="rect">
            <a:avLst/>
          </a:prstGeom>
        </p:spPr>
        <p:txBody>
          <a:bodyPr wrap="square">
            <a:spAutoFit/>
          </a:bodyPr>
          <a:lstStyle/>
          <a:p>
            <a:pPr algn="ctr"/>
            <a:r>
              <a:rPr lang="en-US" sz="1600" b="1" dirty="0">
                <a:solidFill>
                  <a:srgbClr val="FF0000"/>
                </a:solidFill>
              </a:rPr>
              <a:t>These requirements represent “conditions of satisfaction.” </a:t>
            </a:r>
          </a:p>
          <a:p>
            <a:pPr algn="ctr"/>
            <a:r>
              <a:rPr lang="en-US" sz="1600" b="1" dirty="0">
                <a:solidFill>
                  <a:srgbClr val="FF0000"/>
                </a:solidFill>
              </a:rPr>
              <a:t>There is no partial acceptance: either a criterion is met or it is not</a:t>
            </a:r>
          </a:p>
        </p:txBody>
      </p:sp>
      <p:sp>
        <p:nvSpPr>
          <p:cNvPr id="3" name="Title 2"/>
          <p:cNvSpPr>
            <a:spLocks noGrp="1"/>
          </p:cNvSpPr>
          <p:nvPr>
            <p:ph type="title"/>
          </p:nvPr>
        </p:nvSpPr>
        <p:spPr>
          <a:xfrm>
            <a:off x="2449830" y="332656"/>
            <a:ext cx="10972800" cy="249008"/>
          </a:xfrm>
        </p:spPr>
        <p:txBody>
          <a:bodyPr/>
          <a:lstStyle/>
          <a:p>
            <a:r>
              <a:rPr lang="en-US" sz="1800" b="0" dirty="0">
                <a:latin typeface="Arial" panose="020B0604020202020204" pitchFamily="34" charset="0"/>
                <a:cs typeface="Arial" panose="020B0604020202020204" pitchFamily="34" charset="0"/>
              </a:rPr>
              <a:t>User Story Acceptance Criteria</a:t>
            </a:r>
            <a:endParaRPr lang="en-US" dirty="0"/>
          </a:p>
        </p:txBody>
      </p:sp>
    </p:spTree>
    <p:extLst>
      <p:ext uri="{BB962C8B-B14F-4D97-AF65-F5344CB8AC3E}">
        <p14:creationId xmlns:p14="http://schemas.microsoft.com/office/powerpoint/2010/main" val="42265017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42</a:t>
            </a:fld>
            <a:endParaRPr lang="en-US" dirty="0"/>
          </a:p>
        </p:txBody>
      </p:sp>
      <p:sp>
        <p:nvSpPr>
          <p:cNvPr id="7" name="Rectangle 1"/>
          <p:cNvSpPr>
            <a:spLocks noGrp="1" noChangeArrowheads="1"/>
          </p:cNvSpPr>
          <p:nvPr>
            <p:ph type="title"/>
          </p:nvPr>
        </p:nvSpPr>
        <p:spPr>
          <a:xfrm>
            <a:off x="2351584" y="260648"/>
            <a:ext cx="7096125" cy="249008"/>
          </a:xfrm>
        </p:spPr>
        <p:txBody>
          <a:bodyPr/>
          <a:lstStyle/>
          <a:p>
            <a:pPr eaLnBrk="1" hangingPunct="1">
              <a:defRPr/>
            </a:pPr>
            <a:r>
              <a:rPr lang="en-US" b="0" dirty="0"/>
              <a:t>Managing the sprint backlog</a:t>
            </a:r>
          </a:p>
        </p:txBody>
      </p:sp>
      <p:sp>
        <p:nvSpPr>
          <p:cNvPr id="8" name="Rectangle 2"/>
          <p:cNvSpPr>
            <a:spLocks noGrp="1" noChangeArrowheads="1"/>
          </p:cNvSpPr>
          <p:nvPr>
            <p:ph type="body" idx="4294967295"/>
          </p:nvPr>
        </p:nvSpPr>
        <p:spPr>
          <a:xfrm>
            <a:off x="2279576" y="1844824"/>
            <a:ext cx="9144478" cy="3888432"/>
          </a:xfrm>
          <a:prstGeom prst="rect">
            <a:avLst/>
          </a:prstGeom>
        </p:spPr>
        <p:txBody>
          <a:bodyPr/>
          <a:lstStyle/>
          <a:p>
            <a:pPr marL="866775" indent="-342900">
              <a:lnSpc>
                <a:spcPct val="90000"/>
              </a:lnSpc>
              <a:buFont typeface="Arial" panose="020B0604020202020204" pitchFamily="34" charset="0"/>
              <a:buChar char="•"/>
              <a:defRPr/>
            </a:pPr>
            <a:r>
              <a:rPr lang="en-US" sz="2100" dirty="0"/>
              <a:t>Individuals sign up for work of their own choosing</a:t>
            </a:r>
          </a:p>
          <a:p>
            <a:pPr marL="1049672" lvl="3">
              <a:lnSpc>
                <a:spcPct val="90000"/>
              </a:lnSpc>
              <a:spcBef>
                <a:spcPts val="1050"/>
              </a:spcBef>
              <a:defRPr/>
            </a:pPr>
            <a:r>
              <a:rPr lang="en-US" dirty="0"/>
              <a:t>Work is never assigned</a:t>
            </a:r>
          </a:p>
          <a:p>
            <a:pPr marL="866775" indent="-342900">
              <a:lnSpc>
                <a:spcPct val="90000"/>
              </a:lnSpc>
              <a:spcBef>
                <a:spcPts val="1050"/>
              </a:spcBef>
              <a:buFont typeface="Arial" panose="020B0604020202020204" pitchFamily="34" charset="0"/>
              <a:buChar char="•"/>
              <a:defRPr/>
            </a:pPr>
            <a:r>
              <a:rPr lang="en-US" sz="2100" dirty="0"/>
              <a:t>Estimated work remaining is updated daily</a:t>
            </a:r>
          </a:p>
          <a:p>
            <a:pPr marL="738188" indent="-214313">
              <a:lnSpc>
                <a:spcPct val="90000"/>
              </a:lnSpc>
              <a:spcBef>
                <a:spcPts val="1050"/>
              </a:spcBef>
              <a:buFont typeface="Arial" panose="020B0604020202020204" pitchFamily="34" charset="0"/>
              <a:buChar char="•"/>
              <a:defRPr/>
            </a:pPr>
            <a:r>
              <a:rPr lang="en-US" dirty="0"/>
              <a:t>Any team member can add, delete or change the sprint backlog provided it DOES NOT impact the sprint goal. </a:t>
            </a:r>
          </a:p>
          <a:p>
            <a:pPr marL="738188" indent="-214313">
              <a:lnSpc>
                <a:spcPct val="90000"/>
              </a:lnSpc>
              <a:spcBef>
                <a:spcPts val="1050"/>
              </a:spcBef>
              <a:buFont typeface="Arial" panose="020B0604020202020204" pitchFamily="34" charset="0"/>
              <a:buChar char="•"/>
              <a:defRPr/>
            </a:pPr>
            <a:r>
              <a:rPr lang="en-US" dirty="0"/>
              <a:t>If work is unclear, define a sprint backlog item with a larger amount of time and break it down later</a:t>
            </a:r>
          </a:p>
          <a:p>
            <a:pPr marL="738188" indent="-214313">
              <a:lnSpc>
                <a:spcPct val="90000"/>
              </a:lnSpc>
              <a:spcBef>
                <a:spcPts val="1050"/>
              </a:spcBef>
              <a:buFont typeface="Arial" panose="020B0604020202020204" pitchFamily="34" charset="0"/>
              <a:buChar char="•"/>
              <a:defRPr/>
            </a:pPr>
            <a:r>
              <a:rPr lang="en-US" dirty="0"/>
              <a:t>Update work remaining as more becomes known.</a:t>
            </a:r>
          </a:p>
          <a:p>
            <a:pPr marL="738188" indent="-214313">
              <a:lnSpc>
                <a:spcPct val="90000"/>
              </a:lnSpc>
              <a:spcBef>
                <a:spcPts val="1050"/>
              </a:spcBef>
              <a:buFont typeface="Arial" panose="020B0604020202020204" pitchFamily="34" charset="0"/>
              <a:buChar char="•"/>
              <a:defRPr/>
            </a:pPr>
            <a:r>
              <a:rPr lang="en-US" dirty="0"/>
              <a:t>Any team member can add, delete or change the sprint backlog</a:t>
            </a:r>
          </a:p>
          <a:p>
            <a:pPr marL="738188" indent="-214313">
              <a:lnSpc>
                <a:spcPct val="90000"/>
              </a:lnSpc>
              <a:spcBef>
                <a:spcPts val="1050"/>
              </a:spcBef>
              <a:buFont typeface="Arial" panose="020B0604020202020204" pitchFamily="34" charset="0"/>
              <a:buChar char="•"/>
              <a:defRPr/>
            </a:pPr>
            <a:r>
              <a:rPr lang="en-US" dirty="0"/>
              <a:t>Work for the sprint emerges</a:t>
            </a:r>
          </a:p>
          <a:p>
            <a:pPr marL="738188" indent="-214313">
              <a:lnSpc>
                <a:spcPct val="90000"/>
              </a:lnSpc>
              <a:spcBef>
                <a:spcPts val="1050"/>
              </a:spcBef>
              <a:buFont typeface="Arial" panose="020B0604020202020204" pitchFamily="34" charset="0"/>
              <a:buChar char="•"/>
              <a:defRPr/>
            </a:pPr>
            <a:r>
              <a:rPr lang="en-US" dirty="0"/>
              <a:t>If work is unclear, define a sprint backlog item with a larger amount of time and break it down later</a:t>
            </a:r>
          </a:p>
          <a:p>
            <a:pPr marL="738188" indent="-214313">
              <a:lnSpc>
                <a:spcPct val="90000"/>
              </a:lnSpc>
              <a:spcBef>
                <a:spcPts val="1050"/>
              </a:spcBef>
              <a:buFont typeface="Arial" panose="020B0604020202020204" pitchFamily="34" charset="0"/>
              <a:buChar char="•"/>
              <a:defRPr/>
            </a:pPr>
            <a:r>
              <a:rPr lang="en-US" dirty="0"/>
              <a:t>Update work remaining as more becomes known</a:t>
            </a:r>
          </a:p>
          <a:p>
            <a:pPr marL="738188" indent="-214313">
              <a:lnSpc>
                <a:spcPct val="90000"/>
              </a:lnSpc>
              <a:spcBef>
                <a:spcPts val="1050"/>
              </a:spcBef>
              <a:buFont typeface="Arial" panose="020B0604020202020204" pitchFamily="34" charset="0"/>
              <a:buChar char="•"/>
              <a:defRPr/>
            </a:pPr>
            <a:endParaRPr lang="en-US" dirty="0"/>
          </a:p>
        </p:txBody>
      </p:sp>
    </p:spTree>
    <p:extLst>
      <p:ext uri="{BB962C8B-B14F-4D97-AF65-F5344CB8AC3E}">
        <p14:creationId xmlns:p14="http://schemas.microsoft.com/office/powerpoint/2010/main" val="8318551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43</a:t>
            </a:fld>
            <a:endParaRPr lang="en-US" dirty="0"/>
          </a:p>
        </p:txBody>
      </p:sp>
      <p:sp>
        <p:nvSpPr>
          <p:cNvPr id="4" name="Content Placeholder 3"/>
          <p:cNvSpPr>
            <a:spLocks noGrp="1"/>
          </p:cNvSpPr>
          <p:nvPr>
            <p:ph sz="quarter" idx="14"/>
          </p:nvPr>
        </p:nvSpPr>
        <p:spPr>
          <a:xfrm>
            <a:off x="1703512" y="1901118"/>
            <a:ext cx="8784977" cy="4608183"/>
          </a:xfrm>
        </p:spPr>
        <p:txBody>
          <a:bodyPr/>
          <a:lstStyle/>
          <a:p>
            <a:r>
              <a:rPr lang="en-US" b="1" dirty="0"/>
              <a:t>S for specific</a:t>
            </a:r>
            <a:r>
              <a:rPr lang="en-US" dirty="0"/>
              <a:t>: during each sprint planning, the team agrees on a specific set of tasks to achieve, and commits to doing them. The tasks (and the user stories), answer the questions of what do I want to accomplish, purposes/benefits of accomplishing the goal, who is involved, where it takes place, and constraints.</a:t>
            </a:r>
          </a:p>
          <a:p>
            <a:endParaRPr lang="en-US" dirty="0"/>
          </a:p>
          <a:p>
            <a:r>
              <a:rPr lang="en-US" b="1" dirty="0"/>
              <a:t>M for measurable</a:t>
            </a:r>
            <a:r>
              <a:rPr lang="en-US" dirty="0"/>
              <a:t>: the list of these tasks, plus the movement of the tickets throughout the sprint, from development to code review to QA to release (or whatever your flow is), answers the questions of how much work and when will it be accomplished.</a:t>
            </a:r>
          </a:p>
          <a:p>
            <a:endParaRPr lang="en-US" dirty="0"/>
          </a:p>
          <a:p>
            <a:r>
              <a:rPr lang="en-US" b="1" dirty="0"/>
              <a:t>A for attainable</a:t>
            </a:r>
            <a:r>
              <a:rPr lang="en-US" dirty="0"/>
              <a:t>: functioning Agile groups don't typically commit to something in the planning stage unless it is clearly attainable -- all the pieces are there to know how to accomplish it</a:t>
            </a:r>
          </a:p>
          <a:p>
            <a:endParaRPr lang="en-US" dirty="0"/>
          </a:p>
          <a:p>
            <a:r>
              <a:rPr lang="en-US" b="1" dirty="0"/>
              <a:t>R for relevant</a:t>
            </a:r>
            <a:r>
              <a:rPr lang="en-US" dirty="0"/>
              <a:t>: questions like is it worthwhile, is it the right time, does it match our other efforts -- stories and tasks don't get pulled into a sprint, and committed to, unless the answer is yes to all these questions (typically...YMMV)</a:t>
            </a:r>
          </a:p>
          <a:p>
            <a:endParaRPr lang="en-US" dirty="0"/>
          </a:p>
          <a:p>
            <a:r>
              <a:rPr lang="en-US" b="1" dirty="0"/>
              <a:t>T for time-bound</a:t>
            </a:r>
            <a:r>
              <a:rPr lang="en-US" dirty="0"/>
              <a:t>: a sprint is necessarily time-bound, be it 2 weeks, 3 weeks, more, or less.</a:t>
            </a:r>
          </a:p>
          <a:p>
            <a:endParaRPr lang="en-US" dirty="0"/>
          </a:p>
        </p:txBody>
      </p:sp>
      <p:pic>
        <p:nvPicPr>
          <p:cNvPr id="34820" name="Picture 4" descr="Image result for smart pictur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91744" y="0"/>
            <a:ext cx="4209702" cy="15513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52092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3"/>
          </p:nvPr>
        </p:nvSpPr>
        <p:spPr/>
        <p:txBody>
          <a:bodyPr/>
          <a:lstStyle/>
          <a:p>
            <a:endParaRPr lang="fr-FR"/>
          </a:p>
        </p:txBody>
      </p:sp>
      <p:sp>
        <p:nvSpPr>
          <p:cNvPr id="3" name="Titre 2"/>
          <p:cNvSpPr>
            <a:spLocks noGrp="1"/>
          </p:cNvSpPr>
          <p:nvPr>
            <p:ph type="title"/>
          </p:nvPr>
        </p:nvSpPr>
        <p:spPr>
          <a:xfrm>
            <a:off x="7296000" y="1772816"/>
            <a:ext cx="4272112" cy="903700"/>
          </a:xfrm>
        </p:spPr>
        <p:txBody>
          <a:bodyPr/>
          <a:lstStyle/>
          <a:p>
            <a:r>
              <a:rPr lang="fr-FR" dirty="0" err="1"/>
              <a:t>Scrum</a:t>
            </a:r>
            <a:r>
              <a:rPr lang="fr-FR" dirty="0"/>
              <a:t> </a:t>
            </a:r>
            <a:r>
              <a:rPr lang="fr-FR" dirty="0" err="1"/>
              <a:t>Roles</a:t>
            </a:r>
            <a:r>
              <a:rPr lang="fr-FR" dirty="0"/>
              <a:t> &amp; </a:t>
            </a:r>
            <a:r>
              <a:rPr lang="fr-FR" dirty="0" err="1"/>
              <a:t>Ways</a:t>
            </a:r>
            <a:r>
              <a:rPr lang="fr-FR" dirty="0"/>
              <a:t> of </a:t>
            </a:r>
            <a:r>
              <a:rPr lang="fr-FR" dirty="0" err="1"/>
              <a:t>Working</a:t>
            </a:r>
            <a:endParaRPr lang="fr-FR" dirty="0"/>
          </a:p>
        </p:txBody>
      </p:sp>
    </p:spTree>
    <p:extLst>
      <p:ext uri="{BB962C8B-B14F-4D97-AF65-F5344CB8AC3E}">
        <p14:creationId xmlns:p14="http://schemas.microsoft.com/office/powerpoint/2010/main" val="24629543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a:xfrm>
            <a:off x="2257126" y="5440110"/>
            <a:ext cx="486000" cy="162129"/>
          </a:xfrm>
        </p:spPr>
        <p:txBody>
          <a:bodyPr/>
          <a:lstStyle/>
          <a:p>
            <a:fld id="{FD5E7EB4-4CDF-47BB-AF16-07782904B863}" type="slidenum">
              <a:rPr lang="en-US" smtClean="0"/>
              <a:pPr/>
              <a:t>45</a:t>
            </a:fld>
            <a:endParaRPr lang="en-US" dirty="0"/>
          </a:p>
        </p:txBody>
      </p:sp>
      <p:sp>
        <p:nvSpPr>
          <p:cNvPr id="7" name="Rectangle 1"/>
          <p:cNvSpPr>
            <a:spLocks noGrp="1" noChangeArrowheads="1"/>
          </p:cNvSpPr>
          <p:nvPr>
            <p:ph type="title"/>
          </p:nvPr>
        </p:nvSpPr>
        <p:spPr>
          <a:xfrm>
            <a:off x="1775521" y="1213886"/>
            <a:ext cx="7096125" cy="249008"/>
          </a:xfrm>
        </p:spPr>
        <p:txBody>
          <a:bodyPr/>
          <a:lstStyle/>
          <a:p>
            <a:pPr eaLnBrk="1" hangingPunct="1">
              <a:defRPr/>
            </a:pPr>
            <a:r>
              <a:rPr lang="en-US" b="0" dirty="0"/>
              <a:t>Scrum framework</a:t>
            </a:r>
          </a:p>
        </p:txBody>
      </p:sp>
      <p:grpSp>
        <p:nvGrpSpPr>
          <p:cNvPr id="8" name="Group 2"/>
          <p:cNvGrpSpPr>
            <a:grpSpLocks/>
          </p:cNvGrpSpPr>
          <p:nvPr/>
        </p:nvGrpSpPr>
        <p:grpSpPr bwMode="auto">
          <a:xfrm>
            <a:off x="4328331" y="2810806"/>
            <a:ext cx="3067050" cy="1790701"/>
            <a:chOff x="0" y="0"/>
            <a:chExt cx="2608" cy="1592"/>
          </a:xfrm>
        </p:grpSpPr>
        <p:sp>
          <p:nvSpPr>
            <p:cNvPr id="9" name="AutoShape 3"/>
            <p:cNvSpPr>
              <a:spLocks/>
            </p:cNvSpPr>
            <p:nvPr/>
          </p:nvSpPr>
          <p:spPr bwMode="auto">
            <a:xfrm>
              <a:off x="8" y="0"/>
              <a:ext cx="2600" cy="1592"/>
            </a:xfrm>
            <a:prstGeom prst="roundRect">
              <a:avLst>
                <a:gd name="adj" fmla="val 12060"/>
              </a:avLst>
            </a:prstGeom>
            <a:solidFill>
              <a:srgbClr val="E6E6E6"/>
            </a:solidFill>
            <a:ln w="25400">
              <a:solidFill>
                <a:srgbClr val="B3B3B3"/>
              </a:solidFill>
              <a:round/>
              <a:headEnd/>
              <a:tailEnd/>
            </a:ln>
            <a:effectLst>
              <a:outerShdw blurRad="114300" dist="63500" dir="2700000" algn="ctr" rotWithShape="0">
                <a:schemeClr val="bg2">
                  <a:alpha val="29999"/>
                </a:schemeClr>
              </a:outerShdw>
            </a:effectLst>
          </p:spPr>
          <p:txBody>
            <a:bodyPr/>
            <a:lstStyle/>
            <a:p>
              <a:pPr algn="ctr" eaLnBrk="1" hangingPunct="1">
                <a:defRPr/>
              </a:pPr>
              <a:endParaRPr lang="en-US" sz="1350">
                <a:latin typeface="Gill Sans" pitchFamily="80" charset="0"/>
                <a:ea typeface="ヒラギノ角ゴ Pro W3" pitchFamily="80" charset="-128"/>
                <a:sym typeface="Gill Sans" pitchFamily="80" charset="0"/>
              </a:endParaRPr>
            </a:p>
          </p:txBody>
        </p:sp>
        <p:sp>
          <p:nvSpPr>
            <p:cNvPr id="10" name="Rectangle 4"/>
            <p:cNvSpPr>
              <a:spLocks/>
            </p:cNvSpPr>
            <p:nvPr/>
          </p:nvSpPr>
          <p:spPr bwMode="auto">
            <a:xfrm>
              <a:off x="96" y="392"/>
              <a:ext cx="2320" cy="1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buClr>
                  <a:srgbClr val="B3B3B3"/>
                </a:buClr>
                <a:buSzPct val="125000"/>
                <a:buFont typeface="Lucida Grande" charset="0"/>
                <a:buChar char="•"/>
              </a:pPr>
              <a:r>
                <a:rPr lang="en-US" altLang="en-US" sz="1800" dirty="0">
                  <a:solidFill>
                    <a:srgbClr val="B3B3B3"/>
                  </a:solidFill>
                </a:rPr>
                <a:t>Sprint planning</a:t>
              </a:r>
            </a:p>
            <a:p>
              <a:pPr algn="l" eaLnBrk="1" hangingPunct="1">
                <a:buClr>
                  <a:srgbClr val="B3B3B3"/>
                </a:buClr>
                <a:buSzPct val="125000"/>
                <a:buFont typeface="Lucida Grande" charset="0"/>
                <a:buChar char="•"/>
              </a:pPr>
              <a:r>
                <a:rPr lang="en-US" altLang="en-US" sz="1800" dirty="0">
                  <a:solidFill>
                    <a:srgbClr val="B3B3B3"/>
                  </a:solidFill>
                </a:rPr>
                <a:t>Sprint review</a:t>
              </a:r>
            </a:p>
            <a:p>
              <a:pPr algn="l" eaLnBrk="1" hangingPunct="1">
                <a:buClr>
                  <a:srgbClr val="B3B3B3"/>
                </a:buClr>
                <a:buSzPct val="125000"/>
                <a:buFont typeface="Lucida Grande" charset="0"/>
                <a:buChar char="•"/>
              </a:pPr>
              <a:r>
                <a:rPr lang="en-US" altLang="en-US" sz="1800" dirty="0">
                  <a:solidFill>
                    <a:srgbClr val="B3B3B3"/>
                  </a:solidFill>
                </a:rPr>
                <a:t>Sprint retrospective</a:t>
              </a:r>
            </a:p>
            <a:p>
              <a:pPr algn="l" eaLnBrk="1" hangingPunct="1">
                <a:buClr>
                  <a:srgbClr val="B3B3B3"/>
                </a:buClr>
                <a:buSzPct val="125000"/>
                <a:buFont typeface="Lucida Grande" charset="0"/>
                <a:buChar char="•"/>
              </a:pPr>
              <a:r>
                <a:rPr lang="en-US" altLang="en-US" sz="1800" dirty="0">
                  <a:solidFill>
                    <a:srgbClr val="B3B3B3"/>
                  </a:solidFill>
                </a:rPr>
                <a:t>Daily scrum meeting</a:t>
              </a:r>
            </a:p>
          </p:txBody>
        </p:sp>
        <p:sp>
          <p:nvSpPr>
            <p:cNvPr id="11" name="Rectangle 5"/>
            <p:cNvSpPr>
              <a:spLocks/>
            </p:cNvSpPr>
            <p:nvPr/>
          </p:nvSpPr>
          <p:spPr bwMode="auto">
            <a:xfrm>
              <a:off x="304" y="0"/>
              <a:ext cx="1200" cy="376"/>
            </a:xfrm>
            <a:prstGeom prst="rect">
              <a:avLst/>
            </a:pr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12" name="AutoShape 6"/>
            <p:cNvSpPr>
              <a:spLocks/>
            </p:cNvSpPr>
            <p:nvPr/>
          </p:nvSpPr>
          <p:spPr bwMode="auto">
            <a:xfrm rot="10800000">
              <a:off x="1432" y="88"/>
              <a:ext cx="312"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13" name="AutoShape 7"/>
            <p:cNvSpPr>
              <a:spLocks/>
            </p:cNvSpPr>
            <p:nvPr/>
          </p:nvSpPr>
          <p:spPr bwMode="auto">
            <a:xfrm>
              <a:off x="0" y="0"/>
              <a:ext cx="312"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14" name="Rectangle 8"/>
            <p:cNvSpPr>
              <a:spLocks/>
            </p:cNvSpPr>
            <p:nvPr/>
          </p:nvSpPr>
          <p:spPr bwMode="auto">
            <a:xfrm>
              <a:off x="0" y="216"/>
              <a:ext cx="392" cy="160"/>
            </a:xfrm>
            <a:prstGeom prst="rect">
              <a:avLst/>
            </a:pr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15" name="Rectangle 9"/>
            <p:cNvSpPr>
              <a:spLocks/>
            </p:cNvSpPr>
            <p:nvPr/>
          </p:nvSpPr>
          <p:spPr bwMode="auto">
            <a:xfrm>
              <a:off x="1352" y="0"/>
              <a:ext cx="392" cy="160"/>
            </a:xfrm>
            <a:prstGeom prst="rect">
              <a:avLst/>
            </a:pr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16" name="Rectangle 10"/>
            <p:cNvSpPr>
              <a:spLocks/>
            </p:cNvSpPr>
            <p:nvPr/>
          </p:nvSpPr>
          <p:spPr bwMode="auto">
            <a:xfrm>
              <a:off x="104" y="8"/>
              <a:ext cx="1640" cy="352"/>
            </a:xfrm>
            <a:prstGeom prst="rect">
              <a:avLst/>
            </a:prstGeom>
            <a:solidFill>
              <a:srgbClr val="B3B3B3"/>
            </a:solidFill>
            <a:ln>
              <a:noFill/>
            </a:ln>
            <a:extLs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r>
                <a:rPr lang="en-US" altLang="en-US" sz="2400">
                  <a:solidFill>
                    <a:srgbClr val="FFFFFF"/>
                  </a:solidFill>
                </a:rPr>
                <a:t>Ceremonies</a:t>
              </a:r>
            </a:p>
          </p:txBody>
        </p:sp>
      </p:grpSp>
      <p:sp>
        <p:nvSpPr>
          <p:cNvPr id="17" name="AutoShape 11"/>
          <p:cNvSpPr>
            <a:spLocks/>
          </p:cNvSpPr>
          <p:nvPr/>
        </p:nvSpPr>
        <p:spPr bwMode="auto">
          <a:xfrm>
            <a:off x="5605042" y="4425629"/>
            <a:ext cx="2604917" cy="1384127"/>
          </a:xfrm>
          <a:prstGeom prst="roundRect">
            <a:avLst>
              <a:gd name="adj" fmla="val 14903"/>
            </a:avLst>
          </a:prstGeom>
          <a:solidFill>
            <a:srgbClr val="E6E6E6"/>
          </a:solidFill>
          <a:ln w="25400">
            <a:solidFill>
              <a:srgbClr val="B3B3B3"/>
            </a:solidFill>
            <a:round/>
            <a:headEnd/>
            <a:tailEnd/>
          </a:ln>
          <a:effectLst>
            <a:outerShdw blurRad="114300" dist="63500" dir="2700000" algn="ctr" rotWithShape="0">
              <a:schemeClr val="bg2">
                <a:alpha val="29999"/>
              </a:schemeClr>
            </a:outerShdw>
          </a:effectLst>
        </p:spPr>
        <p:txBody>
          <a:bodyPr/>
          <a:lstStyle/>
          <a:p>
            <a:pPr algn="ctr" eaLnBrk="1" hangingPunct="1">
              <a:defRPr/>
            </a:pPr>
            <a:endParaRPr lang="en-US" sz="1350">
              <a:latin typeface="Gill Sans" pitchFamily="80" charset="0"/>
              <a:ea typeface="ヒラギノ角ゴ Pro W3" pitchFamily="80" charset="-128"/>
              <a:sym typeface="Gill Sans" pitchFamily="80" charset="0"/>
            </a:endParaRPr>
          </a:p>
        </p:txBody>
      </p:sp>
      <p:sp>
        <p:nvSpPr>
          <p:cNvPr id="18" name="Rectangle 12"/>
          <p:cNvSpPr>
            <a:spLocks/>
          </p:cNvSpPr>
          <p:nvPr/>
        </p:nvSpPr>
        <p:spPr bwMode="auto">
          <a:xfrm>
            <a:off x="5780827" y="5059896"/>
            <a:ext cx="2828925"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buClr>
                <a:srgbClr val="B3B3B3"/>
              </a:buClr>
              <a:buSzPct val="125000"/>
              <a:buFont typeface="Lucida Grande" charset="0"/>
              <a:buChar char="•"/>
            </a:pPr>
            <a:r>
              <a:rPr lang="en-US" altLang="en-US" sz="1500" dirty="0">
                <a:solidFill>
                  <a:srgbClr val="B3B3B3"/>
                </a:solidFill>
              </a:rPr>
              <a:t>Product backlog</a:t>
            </a:r>
          </a:p>
          <a:p>
            <a:pPr algn="l" eaLnBrk="1" hangingPunct="1">
              <a:buClr>
                <a:srgbClr val="B3B3B3"/>
              </a:buClr>
              <a:buSzPct val="125000"/>
              <a:buFont typeface="Lucida Grande" charset="0"/>
              <a:buChar char="•"/>
            </a:pPr>
            <a:r>
              <a:rPr lang="en-US" altLang="en-US" sz="1500" dirty="0">
                <a:solidFill>
                  <a:srgbClr val="B3B3B3"/>
                </a:solidFill>
              </a:rPr>
              <a:t>Sprint backlog</a:t>
            </a:r>
          </a:p>
          <a:p>
            <a:pPr algn="l" eaLnBrk="1" hangingPunct="1">
              <a:buClr>
                <a:srgbClr val="B3B3B3"/>
              </a:buClr>
              <a:buSzPct val="125000"/>
              <a:buFont typeface="Lucida Grande" charset="0"/>
              <a:buChar char="•"/>
            </a:pPr>
            <a:r>
              <a:rPr lang="en-US" altLang="en-US" sz="1500" dirty="0">
                <a:solidFill>
                  <a:srgbClr val="B3B3B3"/>
                </a:solidFill>
              </a:rPr>
              <a:t>Burndown charts</a:t>
            </a:r>
          </a:p>
        </p:txBody>
      </p:sp>
      <p:sp>
        <p:nvSpPr>
          <p:cNvPr id="19" name="Rectangle 13"/>
          <p:cNvSpPr>
            <a:spLocks/>
          </p:cNvSpPr>
          <p:nvPr/>
        </p:nvSpPr>
        <p:spPr bwMode="auto">
          <a:xfrm>
            <a:off x="6028476" y="4593172"/>
            <a:ext cx="1428750" cy="447675"/>
          </a:xfrm>
          <a:prstGeom prst="rect">
            <a:avLst/>
          </a:pr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20" name="AutoShape 14"/>
          <p:cNvSpPr>
            <a:spLocks/>
          </p:cNvSpPr>
          <p:nvPr/>
        </p:nvSpPr>
        <p:spPr bwMode="auto">
          <a:xfrm rot="10800000">
            <a:off x="7371502" y="4697946"/>
            <a:ext cx="371475" cy="342900"/>
          </a:xfrm>
          <a:custGeom>
            <a:avLst/>
            <a:gdLst>
              <a:gd name="T0" fmla="*/ 2147483646 w 21600"/>
              <a:gd name="T1" fmla="*/ 13048806 h 21600"/>
              <a:gd name="T2" fmla="*/ 3870494 w 21600"/>
              <a:gd name="T3" fmla="*/ 2147483646 h 21600"/>
              <a:gd name="T4" fmla="*/ 0 w 21600"/>
              <a:gd name="T5" fmla="*/ 2147483646 h 21600"/>
              <a:gd name="T6" fmla="*/ 2147483646 w 21600"/>
              <a:gd name="T7" fmla="*/ 2147483646 h 21600"/>
              <a:gd name="T8" fmla="*/ 2147483646 w 21600"/>
              <a:gd name="T9" fmla="*/ 0 h 21600"/>
              <a:gd name="T10" fmla="*/ 2147483646 w 21600"/>
              <a:gd name="T11" fmla="*/ 13048806 h 21600"/>
              <a:gd name="T12" fmla="*/ 2147483646 w 21600"/>
              <a:gd name="T13" fmla="*/ 13048806 h 21600"/>
              <a:gd name="T14" fmla="*/ 2147483646 w 21600"/>
              <a:gd name="T15" fmla="*/ 13048806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21" name="AutoShape 15"/>
          <p:cNvSpPr>
            <a:spLocks/>
          </p:cNvSpPr>
          <p:nvPr/>
        </p:nvSpPr>
        <p:spPr bwMode="auto">
          <a:xfrm>
            <a:off x="5666527" y="4593171"/>
            <a:ext cx="371475" cy="342900"/>
          </a:xfrm>
          <a:custGeom>
            <a:avLst/>
            <a:gdLst>
              <a:gd name="T0" fmla="*/ 2147483646 w 21600"/>
              <a:gd name="T1" fmla="*/ 13048806 h 21600"/>
              <a:gd name="T2" fmla="*/ 3870494 w 21600"/>
              <a:gd name="T3" fmla="*/ 2147483646 h 21600"/>
              <a:gd name="T4" fmla="*/ 0 w 21600"/>
              <a:gd name="T5" fmla="*/ 2147483646 h 21600"/>
              <a:gd name="T6" fmla="*/ 2147483646 w 21600"/>
              <a:gd name="T7" fmla="*/ 2147483646 h 21600"/>
              <a:gd name="T8" fmla="*/ 2147483646 w 21600"/>
              <a:gd name="T9" fmla="*/ 0 h 21600"/>
              <a:gd name="T10" fmla="*/ 2147483646 w 21600"/>
              <a:gd name="T11" fmla="*/ 13048806 h 21600"/>
              <a:gd name="T12" fmla="*/ 2147483646 w 21600"/>
              <a:gd name="T13" fmla="*/ 13048806 h 21600"/>
              <a:gd name="T14" fmla="*/ 2147483646 w 21600"/>
              <a:gd name="T15" fmla="*/ 13048806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22" name="Rectangle 16"/>
          <p:cNvSpPr>
            <a:spLocks/>
          </p:cNvSpPr>
          <p:nvPr/>
        </p:nvSpPr>
        <p:spPr bwMode="auto">
          <a:xfrm>
            <a:off x="5666527" y="4850346"/>
            <a:ext cx="466725" cy="190500"/>
          </a:xfrm>
          <a:prstGeom prst="rect">
            <a:avLst/>
          </a:pr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23" name="Rectangle 17"/>
          <p:cNvSpPr>
            <a:spLocks/>
          </p:cNvSpPr>
          <p:nvPr/>
        </p:nvSpPr>
        <p:spPr bwMode="auto">
          <a:xfrm>
            <a:off x="7276252" y="4593171"/>
            <a:ext cx="466725" cy="190500"/>
          </a:xfrm>
          <a:prstGeom prst="rect">
            <a:avLst/>
          </a:pr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24" name="Rectangle 18"/>
          <p:cNvSpPr>
            <a:spLocks/>
          </p:cNvSpPr>
          <p:nvPr/>
        </p:nvSpPr>
        <p:spPr bwMode="auto">
          <a:xfrm>
            <a:off x="5909482" y="4630080"/>
            <a:ext cx="1590675"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r>
              <a:rPr lang="en-US" altLang="en-US" sz="2400" dirty="0">
                <a:solidFill>
                  <a:srgbClr val="FFFFFF"/>
                </a:solidFill>
              </a:rPr>
              <a:t>Artifacts</a:t>
            </a:r>
          </a:p>
        </p:txBody>
      </p:sp>
      <p:grpSp>
        <p:nvGrpSpPr>
          <p:cNvPr id="25" name="Group 19"/>
          <p:cNvGrpSpPr>
            <a:grpSpLocks/>
          </p:cNvGrpSpPr>
          <p:nvPr/>
        </p:nvGrpSpPr>
        <p:grpSpPr bwMode="auto">
          <a:xfrm>
            <a:off x="2429805" y="1620181"/>
            <a:ext cx="3174876" cy="1514475"/>
            <a:chOff x="0" y="0"/>
            <a:chExt cx="2608" cy="1288"/>
          </a:xfrm>
        </p:grpSpPr>
        <p:sp>
          <p:nvSpPr>
            <p:cNvPr id="26" name="AutoShape 20"/>
            <p:cNvSpPr>
              <a:spLocks/>
            </p:cNvSpPr>
            <p:nvPr/>
          </p:nvSpPr>
          <p:spPr bwMode="auto">
            <a:xfrm>
              <a:off x="8" y="0"/>
              <a:ext cx="2600" cy="1288"/>
            </a:xfrm>
            <a:prstGeom prst="roundRect">
              <a:avLst>
                <a:gd name="adj" fmla="val 14903"/>
              </a:avLst>
            </a:prstGeom>
            <a:blipFill dpi="0" rotWithShape="0">
              <a:blip r:embed="rId2"/>
              <a:srcRect/>
              <a:tile tx="0" ty="0" sx="100000" sy="100000" flip="none" algn="tl"/>
            </a:blipFill>
            <a:ln w="25400">
              <a:solidFill>
                <a:srgbClr val="003C83"/>
              </a:solidFill>
              <a:round/>
              <a:headEnd/>
              <a:tailEnd/>
            </a:ln>
            <a:effectLst>
              <a:outerShdw blurRad="114300" dist="63500" dir="2700000" algn="ctr" rotWithShape="0">
                <a:schemeClr val="bg2">
                  <a:alpha val="29999"/>
                </a:schemeClr>
              </a:outerShdw>
            </a:effectLst>
          </p:spPr>
          <p:txBody>
            <a:bodyPr/>
            <a:lstStyle/>
            <a:p>
              <a:pPr algn="ctr" eaLnBrk="1" hangingPunct="1">
                <a:defRPr/>
              </a:pPr>
              <a:endParaRPr lang="en-US" sz="1350">
                <a:latin typeface="Gill Sans" pitchFamily="80" charset="0"/>
                <a:ea typeface="ヒラギノ角ゴ Pro W3" pitchFamily="80" charset="-128"/>
                <a:sym typeface="Gill Sans" pitchFamily="80" charset="0"/>
              </a:endParaRPr>
            </a:p>
          </p:txBody>
        </p:sp>
        <p:sp>
          <p:nvSpPr>
            <p:cNvPr id="27" name="Rectangle 21"/>
            <p:cNvSpPr>
              <a:spLocks/>
            </p:cNvSpPr>
            <p:nvPr/>
          </p:nvSpPr>
          <p:spPr bwMode="auto">
            <a:xfrm>
              <a:off x="96" y="392"/>
              <a:ext cx="1768" cy="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buClr>
                  <a:srgbClr val="FFFFFF"/>
                </a:buClr>
                <a:buSzPct val="125000"/>
                <a:buFont typeface="Gill Sans" charset="0"/>
                <a:buChar char="•"/>
              </a:pPr>
              <a:r>
                <a:rPr lang="en-US" altLang="en-US" sz="2100" dirty="0">
                  <a:solidFill>
                    <a:srgbClr val="FFFFFF"/>
                  </a:solidFill>
                </a:rPr>
                <a:t>Product owner</a:t>
              </a:r>
            </a:p>
            <a:p>
              <a:pPr algn="l" eaLnBrk="1" hangingPunct="1">
                <a:buClr>
                  <a:srgbClr val="FFFFFF"/>
                </a:buClr>
                <a:buSzPct val="125000"/>
                <a:buFont typeface="Gill Sans" charset="0"/>
                <a:buChar char="•"/>
              </a:pPr>
              <a:r>
                <a:rPr lang="en-US" altLang="en-US" sz="2100" dirty="0">
                  <a:solidFill>
                    <a:srgbClr val="FFFFFF"/>
                  </a:solidFill>
                </a:rPr>
                <a:t>Scrum Master</a:t>
              </a:r>
            </a:p>
            <a:p>
              <a:pPr algn="l" eaLnBrk="1" hangingPunct="1">
                <a:buClr>
                  <a:srgbClr val="FFFFFF"/>
                </a:buClr>
                <a:buSzPct val="125000"/>
                <a:buFont typeface="Gill Sans" charset="0"/>
                <a:buChar char="•"/>
              </a:pPr>
              <a:r>
                <a:rPr lang="en-US" altLang="en-US" sz="2100" dirty="0">
                  <a:solidFill>
                    <a:srgbClr val="FFFFFF"/>
                  </a:solidFill>
                </a:rPr>
                <a:t>Team</a:t>
              </a:r>
            </a:p>
          </p:txBody>
        </p:sp>
        <p:sp>
          <p:nvSpPr>
            <p:cNvPr id="28" name="Rectangle 22"/>
            <p:cNvSpPr>
              <a:spLocks/>
            </p:cNvSpPr>
            <p:nvPr/>
          </p:nvSpPr>
          <p:spPr bwMode="auto">
            <a:xfrm>
              <a:off x="304" y="0"/>
              <a:ext cx="1200" cy="376"/>
            </a:xfrm>
            <a:prstGeom prst="rect">
              <a:avLst/>
            </a:pr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29" name="AutoShape 23"/>
            <p:cNvSpPr>
              <a:spLocks/>
            </p:cNvSpPr>
            <p:nvPr/>
          </p:nvSpPr>
          <p:spPr bwMode="auto">
            <a:xfrm rot="10800000">
              <a:off x="1432" y="88"/>
              <a:ext cx="312"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30" name="AutoShape 24"/>
            <p:cNvSpPr>
              <a:spLocks/>
            </p:cNvSpPr>
            <p:nvPr/>
          </p:nvSpPr>
          <p:spPr bwMode="auto">
            <a:xfrm>
              <a:off x="0" y="0"/>
              <a:ext cx="312"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31" name="Rectangle 25"/>
            <p:cNvSpPr>
              <a:spLocks/>
            </p:cNvSpPr>
            <p:nvPr/>
          </p:nvSpPr>
          <p:spPr bwMode="auto">
            <a:xfrm>
              <a:off x="0" y="216"/>
              <a:ext cx="392" cy="160"/>
            </a:xfrm>
            <a:prstGeom prst="rect">
              <a:avLst/>
            </a:pr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32" name="Rectangle 26"/>
            <p:cNvSpPr>
              <a:spLocks/>
            </p:cNvSpPr>
            <p:nvPr/>
          </p:nvSpPr>
          <p:spPr bwMode="auto">
            <a:xfrm>
              <a:off x="1352" y="0"/>
              <a:ext cx="392" cy="160"/>
            </a:xfrm>
            <a:prstGeom prst="rect">
              <a:avLst/>
            </a:pr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33" name="Rectangle 27"/>
            <p:cNvSpPr>
              <a:spLocks/>
            </p:cNvSpPr>
            <p:nvPr/>
          </p:nvSpPr>
          <p:spPr bwMode="auto">
            <a:xfrm>
              <a:off x="104" y="8"/>
              <a:ext cx="1336"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r>
                <a:rPr lang="en-US" altLang="en-US" sz="2400">
                  <a:solidFill>
                    <a:srgbClr val="FFFFFF"/>
                  </a:solidFill>
                </a:rPr>
                <a:t>Roles</a:t>
              </a:r>
            </a:p>
          </p:txBody>
        </p:sp>
      </p:grpSp>
    </p:spTree>
    <p:extLst>
      <p:ext uri="{BB962C8B-B14F-4D97-AF65-F5344CB8AC3E}">
        <p14:creationId xmlns:p14="http://schemas.microsoft.com/office/powerpoint/2010/main" val="388118208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5480" y="260648"/>
            <a:ext cx="9404637" cy="249008"/>
          </a:xfrm>
        </p:spPr>
        <p:txBody>
          <a:bodyPr/>
          <a:lstStyle/>
          <a:p>
            <a:r>
              <a:rPr lang="en-US" b="0" dirty="0"/>
              <a:t>Development Sequence in Small-Groups</a:t>
            </a:r>
          </a:p>
        </p:txBody>
      </p:sp>
      <p:sp>
        <p:nvSpPr>
          <p:cNvPr id="4" name="Slide Number Placeholder 3"/>
          <p:cNvSpPr>
            <a:spLocks noGrp="1"/>
          </p:cNvSpPr>
          <p:nvPr>
            <p:ph type="sldNum" sz="quarter" idx="12"/>
          </p:nvPr>
        </p:nvSpPr>
        <p:spPr/>
        <p:txBody>
          <a:bodyPr/>
          <a:lstStyle/>
          <a:p>
            <a:fld id="{86941F2A-596F-4B21-9441-5490ADE17F9F}" type="slidenum">
              <a:rPr lang="en-US" smtClean="0"/>
              <a:t>46</a:t>
            </a:fld>
            <a:endParaRPr lang="en-US"/>
          </a:p>
        </p:txBody>
      </p:sp>
      <p:pic>
        <p:nvPicPr>
          <p:cNvPr id="5" name="Picture 2" descr="Image result for bruce tuckman team development"/>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415480" y="1412776"/>
            <a:ext cx="7970982" cy="4603649"/>
          </a:xfrm>
          <a:prstGeom prst="rect">
            <a:avLst/>
          </a:prstGeom>
          <a:noFill/>
          <a:extLst>
            <a:ext uri="{909E8E84-426E-40DD-AFC4-6F175D3DCCD1}">
              <a14:hiddenFill xmlns:a14="http://schemas.microsoft.com/office/drawing/2010/main">
                <a:solidFill>
                  <a:srgbClr val="FFFFFF"/>
                </a:solidFill>
              </a14:hiddenFill>
            </a:ext>
          </a:extLst>
        </p:spPr>
      </p:pic>
      <p:pic>
        <p:nvPicPr>
          <p:cNvPr id="31746" name="Picture 2" descr="Image result for bruce tuckman team developm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84432" y="1556792"/>
            <a:ext cx="1741611" cy="22234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68855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266" name="Picture 2" descr="http://www.google.co.in/url?sa=i&amp;source=images&amp;cd=&amp;docid=LK9ZEgFnHkVrnM&amp;tbnid=xlZrOIxXsdqR4M:&amp;ved=0CAUQjBw44wI&amp;url=http%3A%2F%2Fwww.24point0-slides.com%2Fmedia%2Fcatalog%2Fproduct%2Fp%2Fp%2Fppt-slide-team-performance-curve.jpg&amp;ei=O8yjU_-4D4XIuASeiYHgDA&amp;psig=AFQjCNFGiCcVIz_nJT4-xSwtPAzmQOdD-g&amp;ust=140332997945547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62200" y="1066800"/>
            <a:ext cx="7620000" cy="571500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2362200" y="332656"/>
            <a:ext cx="6470104" cy="249008"/>
          </a:xfrm>
        </p:spPr>
        <p:txBody>
          <a:bodyPr/>
          <a:lstStyle/>
          <a:p>
            <a:r>
              <a:rPr lang="en-US" sz="1600" b="0" dirty="0">
                <a:latin typeface="Arial" panose="020B0604020202020204" pitchFamily="34" charset="0"/>
                <a:cs typeface="Arial" panose="020B0604020202020204" pitchFamily="34" charset="0"/>
              </a:rPr>
              <a:t>Road To Self Organization</a:t>
            </a:r>
            <a:endParaRPr lang="en-US" dirty="0"/>
          </a:p>
        </p:txBody>
      </p:sp>
    </p:spTree>
    <p:extLst>
      <p:ext uri="{BB962C8B-B14F-4D97-AF65-F5344CB8AC3E}">
        <p14:creationId xmlns:p14="http://schemas.microsoft.com/office/powerpoint/2010/main" val="402260849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02707" y="209843"/>
            <a:ext cx="7037908" cy="479841"/>
          </a:xfrm>
        </p:spPr>
        <p:txBody>
          <a:bodyPr/>
          <a:lstStyle/>
          <a:p>
            <a:r>
              <a:rPr lang="en-US" b="0" i="1" dirty="0"/>
              <a:t>The Five Dysfunctions of a Team</a:t>
            </a:r>
            <a:br>
              <a:rPr lang="en-US" b="0" dirty="0"/>
            </a:br>
            <a:endParaRPr lang="en-US" b="0" dirty="0"/>
          </a:p>
        </p:txBody>
      </p:sp>
      <p:pic>
        <p:nvPicPr>
          <p:cNvPr id="12290" name="Picture 2" descr="http://www.google.co.in/url?sa=i&amp;source=images&amp;cd=&amp;docid=ANUxf2r2NEtuFM&amp;tbnid=zsbqgb_KaiLwrM:&amp;ved=0CAUQjBw&amp;url=http%3A%2F%2Fhakanramberg.com%2Fwp-content%2Fuploads%2F2011%2F08%2Fdysfunctions.png&amp;ei=VQykU8uyGoWOuASDoIHQAg&amp;psig=AFQjCNF15nxudTECNqlhul02m_gQ5vnTkA&amp;ust=140334638963291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39416" y="1916832"/>
            <a:ext cx="4131457" cy="288031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3" name="TextBox 2"/>
          <p:cNvSpPr txBox="1"/>
          <p:nvPr/>
        </p:nvSpPr>
        <p:spPr bwMode="gray">
          <a:xfrm>
            <a:off x="10272464" y="3284985"/>
            <a:ext cx="1692188" cy="923330"/>
          </a:xfrm>
          <a:prstGeom prst="rect">
            <a:avLst/>
          </a:prstGeom>
          <a:noFill/>
        </p:spPr>
        <p:txBody>
          <a:bodyPr wrap="square" lIns="0" tIns="0" rIns="0" bIns="0" rtlCol="0">
            <a:spAutoFit/>
          </a:bodyPr>
          <a:lstStyle/>
          <a:p>
            <a:pPr>
              <a:spcBef>
                <a:spcPts val="300"/>
              </a:spcBef>
              <a:spcAft>
                <a:spcPts val="300"/>
              </a:spcAft>
              <a:buClr>
                <a:schemeClr val="accent1"/>
              </a:buClr>
            </a:pPr>
            <a:r>
              <a:rPr lang="en-US" sz="1200" dirty="0">
                <a:latin typeface="Arial" panose="020B0604020202020204" pitchFamily="34" charset="0"/>
                <a:cs typeface="Arial" panose="020B0604020202020204" pitchFamily="34" charset="0"/>
              </a:rPr>
              <a:t>Describes the many pitfalls that teams face as they seek to "row together” – </a:t>
            </a:r>
            <a:r>
              <a:rPr lang="en-US" sz="1200" b="1" dirty="0">
                <a:latin typeface="Arial" panose="020B0604020202020204" pitchFamily="34" charset="0"/>
                <a:cs typeface="Arial" panose="020B0604020202020204" pitchFamily="34" charset="0"/>
              </a:rPr>
              <a:t>Patrick </a:t>
            </a:r>
            <a:r>
              <a:rPr lang="en-US" sz="1200" b="1" dirty="0" err="1">
                <a:latin typeface="Arial" panose="020B0604020202020204" pitchFamily="34" charset="0"/>
                <a:cs typeface="Arial" panose="020B0604020202020204" pitchFamily="34" charset="0"/>
              </a:rPr>
              <a:t>lencioni</a:t>
            </a:r>
            <a:endParaRPr kumimoji="0" lang="en-US" sz="1100" b="1" i="0" u="none" strike="noStrike" kern="1200" cap="none" spc="0" normalizeH="0" baseline="0" noProof="0" dirty="0" err="1">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4" name="AutoShape 2" descr="Image result for patrick lencioni"/>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 name="Picture 5"/>
          <p:cNvPicPr>
            <a:picLocks noChangeAspect="1"/>
          </p:cNvPicPr>
          <p:nvPr/>
        </p:nvPicPr>
        <p:blipFill>
          <a:blip r:embed="rId3"/>
          <a:stretch>
            <a:fillRect/>
          </a:stretch>
        </p:blipFill>
        <p:spPr>
          <a:xfrm>
            <a:off x="9984432" y="786365"/>
            <a:ext cx="1800200" cy="2401762"/>
          </a:xfrm>
          <a:prstGeom prst="rect">
            <a:avLst/>
          </a:prstGeom>
        </p:spPr>
      </p:pic>
      <p:sp>
        <p:nvSpPr>
          <p:cNvPr id="10" name="Rectangle 9"/>
          <p:cNvSpPr/>
          <p:nvPr/>
        </p:nvSpPr>
        <p:spPr>
          <a:xfrm>
            <a:off x="4970873" y="4333464"/>
            <a:ext cx="2805576" cy="261610"/>
          </a:xfrm>
          <a:prstGeom prst="rect">
            <a:avLst/>
          </a:prstGeom>
        </p:spPr>
        <p:txBody>
          <a:bodyPr wrap="none">
            <a:spAutoFit/>
          </a:bodyPr>
          <a:lstStyle/>
          <a:p>
            <a:r>
              <a:rPr lang="en-US" sz="1100" dirty="0">
                <a:solidFill>
                  <a:srgbClr val="252525"/>
                </a:solidFill>
                <a:latin typeface="Arial" panose="020B0604020202020204" pitchFamily="34" charset="0"/>
              </a:rPr>
              <a:t>Unwilling to be </a:t>
            </a:r>
            <a:r>
              <a:rPr lang="en-US" sz="1100" i="1" dirty="0">
                <a:solidFill>
                  <a:srgbClr val="252525"/>
                </a:solidFill>
                <a:latin typeface="Arial" panose="020B0604020202020204" pitchFamily="34" charset="0"/>
              </a:rPr>
              <a:t>vulnerable</a:t>
            </a:r>
            <a:r>
              <a:rPr lang="en-US" sz="1100" dirty="0">
                <a:solidFill>
                  <a:srgbClr val="252525"/>
                </a:solidFill>
                <a:latin typeface="Arial" panose="020B0604020202020204" pitchFamily="34" charset="0"/>
              </a:rPr>
              <a:t> within the group</a:t>
            </a:r>
            <a:endParaRPr lang="en-US" sz="1100" dirty="0"/>
          </a:p>
        </p:txBody>
      </p:sp>
      <p:sp>
        <p:nvSpPr>
          <p:cNvPr id="11" name="Rectangle 10"/>
          <p:cNvSpPr/>
          <p:nvPr/>
        </p:nvSpPr>
        <p:spPr>
          <a:xfrm>
            <a:off x="4954477" y="3891287"/>
            <a:ext cx="4056774" cy="261610"/>
          </a:xfrm>
          <a:prstGeom prst="rect">
            <a:avLst/>
          </a:prstGeom>
        </p:spPr>
        <p:txBody>
          <a:bodyPr wrap="square">
            <a:spAutoFit/>
          </a:bodyPr>
          <a:lstStyle/>
          <a:p>
            <a:r>
              <a:rPr lang="en-US" sz="1100" dirty="0">
                <a:solidFill>
                  <a:srgbClr val="252525"/>
                </a:solidFill>
                <a:latin typeface="Arial" panose="020B0604020202020204" pitchFamily="34" charset="0"/>
              </a:rPr>
              <a:t>Seeking artificial harmony over constructive passionate debate</a:t>
            </a:r>
          </a:p>
        </p:txBody>
      </p:sp>
      <p:sp>
        <p:nvSpPr>
          <p:cNvPr id="12" name="Rectangle 11"/>
          <p:cNvSpPr/>
          <p:nvPr/>
        </p:nvSpPr>
        <p:spPr>
          <a:xfrm>
            <a:off x="4974597" y="3213200"/>
            <a:ext cx="4466018" cy="600164"/>
          </a:xfrm>
          <a:prstGeom prst="rect">
            <a:avLst/>
          </a:prstGeom>
        </p:spPr>
        <p:txBody>
          <a:bodyPr wrap="square">
            <a:spAutoFit/>
          </a:bodyPr>
          <a:lstStyle/>
          <a:p>
            <a:r>
              <a:rPr lang="en-US" sz="1100" dirty="0">
                <a:solidFill>
                  <a:srgbClr val="252525"/>
                </a:solidFill>
                <a:latin typeface="Arial" panose="020B0604020202020204" pitchFamily="34" charset="0"/>
              </a:rPr>
              <a:t>Feigning buy-in for group decisions creates ambiguity throughout the organization</a:t>
            </a:r>
          </a:p>
          <a:p>
            <a:endParaRPr lang="en-US" sz="1100" dirty="0">
              <a:solidFill>
                <a:srgbClr val="252525"/>
              </a:solidFill>
              <a:latin typeface="Arial" panose="020B0604020202020204" pitchFamily="34" charset="0"/>
            </a:endParaRPr>
          </a:p>
        </p:txBody>
      </p:sp>
      <p:sp>
        <p:nvSpPr>
          <p:cNvPr id="13" name="Rectangle 12"/>
          <p:cNvSpPr/>
          <p:nvPr/>
        </p:nvSpPr>
        <p:spPr>
          <a:xfrm>
            <a:off x="4974296" y="2029298"/>
            <a:ext cx="6096000" cy="261610"/>
          </a:xfrm>
          <a:prstGeom prst="rect">
            <a:avLst/>
          </a:prstGeom>
        </p:spPr>
        <p:txBody>
          <a:bodyPr>
            <a:spAutoFit/>
          </a:bodyPr>
          <a:lstStyle/>
          <a:p>
            <a:r>
              <a:rPr lang="en-US" sz="1100" dirty="0">
                <a:solidFill>
                  <a:srgbClr val="252525"/>
                </a:solidFill>
                <a:latin typeface="Arial" panose="020B0604020202020204" pitchFamily="34" charset="0"/>
              </a:rPr>
              <a:t>Focusing on personal success, status and ego before team success</a:t>
            </a:r>
          </a:p>
        </p:txBody>
      </p:sp>
      <p:sp>
        <p:nvSpPr>
          <p:cNvPr id="14" name="Rectangle 13"/>
          <p:cNvSpPr/>
          <p:nvPr/>
        </p:nvSpPr>
        <p:spPr>
          <a:xfrm>
            <a:off x="4970873" y="2351471"/>
            <a:ext cx="4105978" cy="430887"/>
          </a:xfrm>
          <a:prstGeom prst="rect">
            <a:avLst/>
          </a:prstGeom>
        </p:spPr>
        <p:txBody>
          <a:bodyPr wrap="square">
            <a:spAutoFit/>
          </a:bodyPr>
          <a:lstStyle/>
          <a:p>
            <a:r>
              <a:rPr lang="en-US" sz="1100" i="1" dirty="0">
                <a:solidFill>
                  <a:srgbClr val="252525"/>
                </a:solidFill>
                <a:latin typeface="Arial" panose="020B0604020202020204" pitchFamily="34" charset="0"/>
              </a:rPr>
              <a:t>Ducking the responsibility to call peers on counterproductive behavior which sets low standards</a:t>
            </a:r>
            <a:endParaRPr lang="en-US" dirty="0">
              <a:solidFill>
                <a:srgbClr val="252525"/>
              </a:solidFill>
              <a:latin typeface="Arial" panose="020B0604020202020204" pitchFamily="34" charset="0"/>
            </a:endParaRPr>
          </a:p>
        </p:txBody>
      </p:sp>
    </p:spTree>
    <p:extLst>
      <p:ext uri="{BB962C8B-B14F-4D97-AF65-F5344CB8AC3E}">
        <p14:creationId xmlns:p14="http://schemas.microsoft.com/office/powerpoint/2010/main" val="402927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5" name="Picture 1"/>
          <p:cNvPicPr>
            <a:picLocks noChangeAspect="1" noChangeArrowheads="1"/>
          </p:cNvPicPr>
          <p:nvPr/>
        </p:nvPicPr>
        <p:blipFill>
          <a:blip r:embed="rId3" cstate="print"/>
          <a:srcRect/>
          <a:stretch>
            <a:fillRect/>
          </a:stretch>
        </p:blipFill>
        <p:spPr bwMode="auto">
          <a:xfrm>
            <a:off x="2024035" y="1214422"/>
            <a:ext cx="8207077" cy="5072098"/>
          </a:xfrm>
          <a:prstGeom prst="rect">
            <a:avLst/>
          </a:prstGeom>
          <a:noFill/>
          <a:ln w="9525">
            <a:noFill/>
            <a:miter lim="800000"/>
            <a:headEnd/>
            <a:tailEnd/>
          </a:ln>
          <a:effectLst/>
        </p:spPr>
      </p:pic>
      <p:sp>
        <p:nvSpPr>
          <p:cNvPr id="8" name="Title 7"/>
          <p:cNvSpPr>
            <a:spLocks noGrp="1"/>
          </p:cNvSpPr>
          <p:nvPr>
            <p:ph type="title"/>
          </p:nvPr>
        </p:nvSpPr>
        <p:spPr>
          <a:xfrm>
            <a:off x="2001512" y="154591"/>
            <a:ext cx="8126937" cy="466098"/>
          </a:xfrm>
        </p:spPr>
        <p:txBody>
          <a:bodyPr>
            <a:normAutofit/>
          </a:bodyPr>
          <a:lstStyle/>
          <a:p>
            <a:pPr>
              <a:defRPr/>
            </a:pPr>
            <a:r>
              <a:rPr lang="en-AU" b="0" dirty="0"/>
              <a:t>Waterfall vs. Agile Roles</a:t>
            </a:r>
          </a:p>
        </p:txBody>
      </p:sp>
      <p:sp>
        <p:nvSpPr>
          <p:cNvPr id="3" name="Rectangle 2"/>
          <p:cNvSpPr/>
          <p:nvPr/>
        </p:nvSpPr>
        <p:spPr>
          <a:xfrm>
            <a:off x="6600056" y="1122179"/>
            <a:ext cx="3744416" cy="525658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4" name="Rectangle 3"/>
          <p:cNvSpPr/>
          <p:nvPr/>
        </p:nvSpPr>
        <p:spPr>
          <a:xfrm>
            <a:off x="7536160" y="836713"/>
            <a:ext cx="2088232" cy="28546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crum Team</a:t>
            </a:r>
          </a:p>
        </p:txBody>
      </p:sp>
    </p:spTree>
    <p:extLst>
      <p:ext uri="{BB962C8B-B14F-4D97-AF65-F5344CB8AC3E}">
        <p14:creationId xmlns:p14="http://schemas.microsoft.com/office/powerpoint/2010/main" val="20443037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5</a:t>
            </a:fld>
            <a:endParaRPr lang="en-US" dirty="0"/>
          </a:p>
        </p:txBody>
      </p:sp>
      <p:sp>
        <p:nvSpPr>
          <p:cNvPr id="5" name="Text Placeholder 4"/>
          <p:cNvSpPr>
            <a:spLocks noGrp="1"/>
          </p:cNvSpPr>
          <p:nvPr>
            <p:ph type="body" sz="quarter" idx="13"/>
          </p:nvPr>
        </p:nvSpPr>
        <p:spPr/>
        <p:txBody>
          <a:bodyPr/>
          <a:lstStyle/>
          <a:p>
            <a:r>
              <a:rPr lang="de-DE" dirty="0"/>
              <a:t>We are losing the relay race....</a:t>
            </a:r>
          </a:p>
        </p:txBody>
      </p:sp>
      <p:grpSp>
        <p:nvGrpSpPr>
          <p:cNvPr id="7" name="Group 3"/>
          <p:cNvGrpSpPr>
            <a:grpSpLocks/>
          </p:cNvGrpSpPr>
          <p:nvPr/>
        </p:nvGrpSpPr>
        <p:grpSpPr bwMode="auto">
          <a:xfrm>
            <a:off x="2562225" y="1970838"/>
            <a:ext cx="6455004" cy="3402378"/>
            <a:chOff x="0" y="0"/>
            <a:chExt cx="4896" cy="2680"/>
          </a:xfrm>
        </p:grpSpPr>
        <p:sp>
          <p:nvSpPr>
            <p:cNvPr id="8" name="AutoShape 4"/>
            <p:cNvSpPr>
              <a:spLocks/>
            </p:cNvSpPr>
            <p:nvPr/>
          </p:nvSpPr>
          <p:spPr bwMode="auto">
            <a:xfrm>
              <a:off x="0" y="0"/>
              <a:ext cx="4896" cy="2680"/>
            </a:xfrm>
            <a:prstGeom prst="roundRect">
              <a:avLst>
                <a:gd name="adj" fmla="val 7162"/>
              </a:avLst>
            </a:prstGeom>
            <a:blipFill dpi="0" rotWithShape="0">
              <a:blip r:embed="rId2"/>
              <a:srcRect/>
              <a:tile tx="0" ty="0" sx="100000" sy="100000" flip="none" algn="tl"/>
            </a:blipFill>
            <a:ln w="25400">
              <a:solidFill>
                <a:srgbClr val="FFFFFF"/>
              </a:solidFill>
              <a:round/>
              <a:headEnd/>
              <a:tailEnd/>
            </a:ln>
            <a:effectLst>
              <a:outerShdw blurRad="114300" dist="63500" dir="2700000" algn="ctr" rotWithShape="0">
                <a:schemeClr val="bg2">
                  <a:alpha val="29999"/>
                </a:schemeClr>
              </a:outerShdw>
            </a:effectLst>
          </p:spPr>
          <p:txBody>
            <a:bodyPr/>
            <a:lstStyle/>
            <a:p>
              <a:pPr algn="ctr" eaLnBrk="1" hangingPunct="1">
                <a:defRPr/>
              </a:pPr>
              <a:endParaRPr lang="en-US" sz="1350">
                <a:latin typeface="Gill Sans" pitchFamily="80" charset="0"/>
                <a:ea typeface="ヒラギノ角ゴ Pro W3" pitchFamily="80" charset="-128"/>
                <a:sym typeface="Gill Sans" pitchFamily="80" charset="0"/>
              </a:endParaRPr>
            </a:p>
          </p:txBody>
        </p:sp>
        <p:sp>
          <p:nvSpPr>
            <p:cNvPr id="9" name="Rectangle 5"/>
            <p:cNvSpPr>
              <a:spLocks/>
            </p:cNvSpPr>
            <p:nvPr/>
          </p:nvSpPr>
          <p:spPr bwMode="auto">
            <a:xfrm>
              <a:off x="1936" y="2144"/>
              <a:ext cx="2648" cy="528"/>
            </a:xfrm>
            <a:prstGeom prst="rect">
              <a:avLst/>
            </a:prstGeom>
            <a:solidFill>
              <a:schemeClr val="accent1"/>
            </a:solidFill>
            <a:ln>
              <a:noFill/>
            </a:ln>
            <a:extLst>
              <a:ext uri="{91240B29-F687-4F45-9708-019B960494DF}">
                <a14:hiddenLine xmlns:a14="http://schemas.microsoft.com/office/drawing/2010/main" w="25400">
                  <a:solidFill>
                    <a:schemeClr val="tx1"/>
                  </a:solidFill>
                  <a:miter lim="800000"/>
                  <a:headEnd/>
                  <a:tailEnd/>
                </a14:hiddenLine>
              </a:ext>
            </a:extLst>
          </p:spPr>
          <p:txBody>
            <a:bodyPr lIns="0" tIns="0" rIns="0" bIns="0" anchor="ctr"/>
            <a:lstStyle/>
            <a:p>
              <a:pPr marL="123825">
                <a:defRPr/>
              </a:pPr>
              <a:r>
                <a:rPr lang="en-US" sz="1200" dirty="0" err="1">
                  <a:solidFill>
                    <a:schemeClr val="bg1"/>
                  </a:solidFill>
                </a:rPr>
                <a:t>Hirotaka</a:t>
              </a:r>
              <a:r>
                <a:rPr lang="en-US" sz="1200" dirty="0">
                  <a:solidFill>
                    <a:schemeClr val="bg1"/>
                  </a:solidFill>
                </a:rPr>
                <a:t> Takeuchi and </a:t>
              </a:r>
              <a:r>
                <a:rPr lang="en-US" sz="1200" dirty="0" err="1">
                  <a:solidFill>
                    <a:schemeClr val="bg1"/>
                  </a:solidFill>
                </a:rPr>
                <a:t>Ikujiro</a:t>
              </a:r>
              <a:r>
                <a:rPr lang="en-US" sz="1200" dirty="0">
                  <a:solidFill>
                    <a:schemeClr val="bg1"/>
                  </a:solidFill>
                </a:rPr>
                <a:t> Nonaka, </a:t>
              </a:r>
              <a:r>
                <a:rPr lang="ja-JP" altLang="en-US" sz="1200" dirty="0">
                  <a:solidFill>
                    <a:schemeClr val="bg1"/>
                  </a:solidFill>
                </a:rPr>
                <a:t>“</a:t>
              </a:r>
              <a:r>
                <a:rPr lang="en-US" altLang="ja-JP" sz="1200" dirty="0">
                  <a:solidFill>
                    <a:schemeClr val="bg1"/>
                  </a:solidFill>
                </a:rPr>
                <a:t>The New </a:t>
              </a:r>
              <a:r>
                <a:rPr lang="en-US" altLang="ja-JP" sz="1200" dirty="0" err="1">
                  <a:solidFill>
                    <a:schemeClr val="bg1"/>
                  </a:solidFill>
                </a:rPr>
                <a:t>New</a:t>
              </a:r>
              <a:r>
                <a:rPr lang="en-US" altLang="ja-JP" sz="1200" dirty="0">
                  <a:solidFill>
                    <a:schemeClr val="bg1"/>
                  </a:solidFill>
                </a:rPr>
                <a:t> Product Development Game</a:t>
              </a:r>
              <a:r>
                <a:rPr lang="ja-JP" altLang="en-US" sz="1200" dirty="0">
                  <a:solidFill>
                    <a:schemeClr val="bg1"/>
                  </a:solidFill>
                </a:rPr>
                <a:t>”</a:t>
              </a:r>
              <a:r>
                <a:rPr lang="en-US" altLang="ja-JP" sz="1200" dirty="0">
                  <a:solidFill>
                    <a:schemeClr val="bg1"/>
                  </a:solidFill>
                </a:rPr>
                <a:t>,  </a:t>
              </a:r>
              <a:r>
                <a:rPr lang="en-US" altLang="ja-JP" sz="1200" i="1" dirty="0">
                  <a:solidFill>
                    <a:schemeClr val="bg1"/>
                  </a:solidFill>
                </a:rPr>
                <a:t>Harvard Business Review</a:t>
              </a:r>
              <a:r>
                <a:rPr lang="en-US" altLang="ja-JP" sz="1200" dirty="0">
                  <a:solidFill>
                    <a:schemeClr val="bg1"/>
                  </a:solidFill>
                </a:rPr>
                <a:t>,</a:t>
              </a:r>
              <a:r>
                <a:rPr lang="en-US" altLang="ja-JP" sz="1200" dirty="0">
                  <a:solidFill>
                    <a:schemeClr val="bg1"/>
                  </a:solidFill>
                  <a:effectLst>
                    <a:outerShdw blurRad="38100" dist="38100" dir="2700000" algn="tl">
                      <a:srgbClr val="C0C0C0"/>
                    </a:outerShdw>
                  </a:effectLst>
                </a:rPr>
                <a:t> </a:t>
              </a:r>
              <a:r>
                <a:rPr lang="en-US" altLang="ja-JP" sz="1200" dirty="0">
                  <a:solidFill>
                    <a:schemeClr val="bg1"/>
                  </a:solidFill>
                </a:rPr>
                <a:t>January 1986.</a:t>
              </a:r>
              <a:endParaRPr lang="en-US" sz="1200" dirty="0">
                <a:solidFill>
                  <a:schemeClr val="bg1"/>
                </a:solidFill>
              </a:endParaRPr>
            </a:p>
          </p:txBody>
        </p:sp>
        <p:sp>
          <p:nvSpPr>
            <p:cNvPr id="10" name="AutoShape 6"/>
            <p:cNvSpPr>
              <a:spLocks/>
            </p:cNvSpPr>
            <p:nvPr/>
          </p:nvSpPr>
          <p:spPr bwMode="auto">
            <a:xfrm rot="10800000">
              <a:off x="4576" y="2384"/>
              <a:ext cx="312"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chemeClr val="accent1"/>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11" name="AutoShape 7"/>
            <p:cNvSpPr>
              <a:spLocks/>
            </p:cNvSpPr>
            <p:nvPr/>
          </p:nvSpPr>
          <p:spPr bwMode="auto">
            <a:xfrm>
              <a:off x="1632" y="2144"/>
              <a:ext cx="312"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chemeClr val="accent1"/>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12" name="Rectangle 8"/>
            <p:cNvSpPr>
              <a:spLocks/>
            </p:cNvSpPr>
            <p:nvPr/>
          </p:nvSpPr>
          <p:spPr bwMode="auto">
            <a:xfrm>
              <a:off x="4576" y="2144"/>
              <a:ext cx="312" cy="248"/>
            </a:xfrm>
            <a:prstGeom prst="rect">
              <a:avLst/>
            </a:prstGeom>
            <a:solidFill>
              <a:schemeClr val="accent1"/>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13" name="Rectangle 9"/>
            <p:cNvSpPr>
              <a:spLocks/>
            </p:cNvSpPr>
            <p:nvPr/>
          </p:nvSpPr>
          <p:spPr bwMode="auto">
            <a:xfrm>
              <a:off x="1632" y="2424"/>
              <a:ext cx="312" cy="248"/>
            </a:xfrm>
            <a:prstGeom prst="rect">
              <a:avLst/>
            </a:prstGeom>
            <a:solidFill>
              <a:schemeClr val="accent1"/>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14" name="Rectangle 10"/>
            <p:cNvSpPr>
              <a:spLocks/>
            </p:cNvSpPr>
            <p:nvPr/>
          </p:nvSpPr>
          <p:spPr bwMode="auto">
            <a:xfrm>
              <a:off x="64" y="40"/>
              <a:ext cx="4488" cy="2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r>
                <a:rPr lang="ja-JP" altLang="en-US" sz="2250" dirty="0">
                  <a:solidFill>
                    <a:srgbClr val="FFFFFF"/>
                  </a:solidFill>
                </a:rPr>
                <a:t>“</a:t>
              </a:r>
              <a:r>
                <a:rPr lang="en-US" altLang="ja-JP" sz="2250" dirty="0">
                  <a:solidFill>
                    <a:srgbClr val="FFFFFF"/>
                  </a:solidFill>
                </a:rPr>
                <a:t>The… </a:t>
              </a:r>
              <a:r>
                <a:rPr lang="ja-JP" altLang="en-US" sz="2250" dirty="0">
                  <a:solidFill>
                    <a:srgbClr val="FFFFFF"/>
                  </a:solidFill>
                </a:rPr>
                <a:t>‘</a:t>
              </a:r>
              <a:r>
                <a:rPr lang="en-US" altLang="ja-JP" sz="2250" dirty="0">
                  <a:solidFill>
                    <a:srgbClr val="FFFFFF"/>
                  </a:solidFill>
                </a:rPr>
                <a:t>relay race</a:t>
              </a:r>
              <a:r>
                <a:rPr lang="ja-JP" altLang="en-US" sz="2250" dirty="0">
                  <a:solidFill>
                    <a:srgbClr val="FFFFFF"/>
                  </a:solidFill>
                </a:rPr>
                <a:t>’</a:t>
              </a:r>
              <a:r>
                <a:rPr lang="en-US" altLang="ja-JP" sz="2250" dirty="0">
                  <a:solidFill>
                    <a:srgbClr val="FFFFFF"/>
                  </a:solidFill>
                </a:rPr>
                <a:t> approach to product development…may conflict with the goals of maximum speed and flexibility. Instead a holistic or </a:t>
              </a:r>
              <a:r>
                <a:rPr lang="ja-JP" altLang="en-US" sz="2250" dirty="0">
                  <a:solidFill>
                    <a:srgbClr val="FFFFFF"/>
                  </a:solidFill>
                </a:rPr>
                <a:t>‘</a:t>
              </a:r>
              <a:r>
                <a:rPr lang="en-US" altLang="ja-JP" sz="2250" dirty="0">
                  <a:solidFill>
                    <a:srgbClr val="FFFFFF"/>
                  </a:solidFill>
                </a:rPr>
                <a:t>rugby</a:t>
              </a:r>
              <a:r>
                <a:rPr lang="ja-JP" altLang="en-US" sz="2250" dirty="0">
                  <a:solidFill>
                    <a:srgbClr val="FFFFFF"/>
                  </a:solidFill>
                </a:rPr>
                <a:t>’</a:t>
              </a:r>
              <a:r>
                <a:rPr lang="en-US" altLang="ja-JP" sz="2250" dirty="0">
                  <a:solidFill>
                    <a:srgbClr val="FFFFFF"/>
                  </a:solidFill>
                </a:rPr>
                <a:t> approach—where a team tries to go the distance as a unit, passing the ball back and forth—may better serve today</a:t>
              </a:r>
              <a:r>
                <a:rPr lang="ja-JP" altLang="en-US" sz="2250" dirty="0">
                  <a:solidFill>
                    <a:srgbClr val="FFFFFF"/>
                  </a:solidFill>
                </a:rPr>
                <a:t>’</a:t>
              </a:r>
              <a:r>
                <a:rPr lang="en-US" altLang="ja-JP" sz="2250" dirty="0">
                  <a:solidFill>
                    <a:srgbClr val="FFFFFF"/>
                  </a:solidFill>
                </a:rPr>
                <a:t>s competitive requirements.</a:t>
              </a:r>
              <a:r>
                <a:rPr lang="ja-JP" altLang="en-US" sz="2250" dirty="0">
                  <a:solidFill>
                    <a:srgbClr val="FFFFFF"/>
                  </a:solidFill>
                </a:rPr>
                <a:t>”</a:t>
              </a:r>
              <a:endParaRPr lang="en-US" altLang="en-US" sz="2250" dirty="0">
                <a:solidFill>
                  <a:srgbClr val="FFFFFF"/>
                </a:solidFill>
              </a:endParaRPr>
            </a:p>
          </p:txBody>
        </p:sp>
      </p:grpSp>
    </p:spTree>
    <p:extLst>
      <p:ext uri="{BB962C8B-B14F-4D97-AF65-F5344CB8AC3E}">
        <p14:creationId xmlns:p14="http://schemas.microsoft.com/office/powerpoint/2010/main" val="32246532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3">
            <a:extLst>
              <a:ext uri="{28A0092B-C50C-407E-A947-70E740481C1C}">
                <a14:useLocalDpi xmlns:a14="http://schemas.microsoft.com/office/drawing/2010/main" val="0"/>
              </a:ext>
            </a:extLst>
          </a:blip>
          <a:stretch>
            <a:fillRect/>
          </a:stretch>
        </p:blipFill>
        <p:spPr>
          <a:xfrm>
            <a:off x="1559496" y="556673"/>
            <a:ext cx="7920880" cy="5688632"/>
          </a:xfrm>
          <a:prstGeom prst="rect">
            <a:avLst/>
          </a:prstGeom>
          <a:ln>
            <a:noFill/>
          </a:ln>
          <a:effectLst>
            <a:outerShdw blurRad="292100" dist="139700" dir="2700000" algn="tl" rotWithShape="0">
              <a:srgbClr val="333333">
                <a:alpha val="65000"/>
              </a:srgbClr>
            </a:outerShdw>
          </a:effectLst>
        </p:spPr>
      </p:pic>
      <p:sp>
        <p:nvSpPr>
          <p:cNvPr id="2" name="TextBox 1"/>
          <p:cNvSpPr txBox="1"/>
          <p:nvPr/>
        </p:nvSpPr>
        <p:spPr bwMode="gray">
          <a:xfrm>
            <a:off x="10038084" y="1700808"/>
            <a:ext cx="1872208" cy="3847207"/>
          </a:xfrm>
          <a:prstGeom prst="rect">
            <a:avLst/>
          </a:prstGeom>
          <a:noFill/>
        </p:spPr>
        <p:txBody>
          <a:bodyPr wrap="square" lIns="0" tIns="0" rIns="0" bIns="0" rtlCol="0">
            <a:spAutoFit/>
          </a:bodyPr>
          <a:lstStyle/>
          <a:p>
            <a:pPr marL="171450" indent="-171450" algn="ctr">
              <a:spcBef>
                <a:spcPts val="300"/>
              </a:spcBef>
              <a:spcAft>
                <a:spcPts val="300"/>
              </a:spcAft>
              <a:buClr>
                <a:schemeClr val="accent1"/>
              </a:buClr>
              <a:buFont typeface="Arial" panose="020B0604020202020204" pitchFamily="34" charset="0"/>
              <a:buChar char="•"/>
            </a:pPr>
            <a:r>
              <a:rPr lang="en-US" sz="1000" b="1" dirty="0"/>
              <a:t>Why RACI?</a:t>
            </a:r>
          </a:p>
          <a:p>
            <a:pPr marL="171450" indent="-171450">
              <a:spcBef>
                <a:spcPts val="300"/>
              </a:spcBef>
              <a:spcAft>
                <a:spcPts val="300"/>
              </a:spcAft>
              <a:buClr>
                <a:schemeClr val="accent1"/>
              </a:buClr>
              <a:buFont typeface="Arial" panose="020B0604020202020204" pitchFamily="34" charset="0"/>
              <a:buChar char="•"/>
            </a:pPr>
            <a:r>
              <a:rPr lang="en-US" sz="1000" dirty="0"/>
              <a:t>Ensure consistency of Scrum practices across teams </a:t>
            </a:r>
          </a:p>
          <a:p>
            <a:pPr marL="171450" indent="-171450">
              <a:spcBef>
                <a:spcPts val="300"/>
              </a:spcBef>
              <a:spcAft>
                <a:spcPts val="300"/>
              </a:spcAft>
              <a:buClr>
                <a:schemeClr val="accent1"/>
              </a:buClr>
              <a:buFont typeface="Arial" panose="020B0604020202020204" pitchFamily="34" charset="0"/>
              <a:buChar char="•"/>
            </a:pPr>
            <a:r>
              <a:rPr lang="en-US" sz="1000" dirty="0"/>
              <a:t>Provide vision and goal for the product </a:t>
            </a:r>
          </a:p>
          <a:p>
            <a:pPr marL="171450" indent="-171450">
              <a:spcBef>
                <a:spcPts val="300"/>
              </a:spcBef>
              <a:spcAft>
                <a:spcPts val="300"/>
              </a:spcAft>
              <a:buClr>
                <a:schemeClr val="accent1"/>
              </a:buClr>
              <a:buFont typeface="Arial" panose="020B0604020202020204" pitchFamily="34" charset="0"/>
              <a:buChar char="•"/>
            </a:pPr>
            <a:r>
              <a:rPr lang="en-US" sz="1000" dirty="0"/>
              <a:t>Provide resources with the right skills and mind-set </a:t>
            </a:r>
          </a:p>
          <a:p>
            <a:pPr marL="171450" indent="-171450">
              <a:spcBef>
                <a:spcPts val="300"/>
              </a:spcBef>
              <a:spcAft>
                <a:spcPts val="300"/>
              </a:spcAft>
              <a:buClr>
                <a:schemeClr val="accent1"/>
              </a:buClr>
              <a:buFont typeface="Arial" panose="020B0604020202020204" pitchFamily="34" charset="0"/>
              <a:buChar char="•"/>
            </a:pPr>
            <a:r>
              <a:rPr lang="en-US" sz="1000" dirty="0"/>
              <a:t>Prioritize and manage the product backlog</a:t>
            </a:r>
          </a:p>
          <a:p>
            <a:pPr marL="171450" indent="-171450">
              <a:spcBef>
                <a:spcPts val="300"/>
              </a:spcBef>
              <a:spcAft>
                <a:spcPts val="300"/>
              </a:spcAft>
              <a:buClr>
                <a:schemeClr val="accent1"/>
              </a:buClr>
              <a:buFont typeface="Arial" panose="020B0604020202020204" pitchFamily="34" charset="0"/>
              <a:buChar char="•"/>
            </a:pPr>
            <a:r>
              <a:rPr lang="en-US" sz="1000" dirty="0"/>
              <a:t> Remove impediments</a:t>
            </a:r>
          </a:p>
          <a:p>
            <a:pPr marL="171450" indent="-171450">
              <a:spcBef>
                <a:spcPts val="300"/>
              </a:spcBef>
              <a:spcAft>
                <a:spcPts val="300"/>
              </a:spcAft>
              <a:buClr>
                <a:schemeClr val="accent1"/>
              </a:buClr>
              <a:buFont typeface="Arial" panose="020B0604020202020204" pitchFamily="34" charset="0"/>
              <a:buChar char="•"/>
            </a:pPr>
            <a:r>
              <a:rPr lang="en-US" sz="1000" dirty="0"/>
              <a:t>Make sure Scrum practices are used and improved within the team </a:t>
            </a:r>
          </a:p>
          <a:p>
            <a:pPr marL="171450" indent="-171450">
              <a:spcBef>
                <a:spcPts val="300"/>
              </a:spcBef>
              <a:spcAft>
                <a:spcPts val="300"/>
              </a:spcAft>
              <a:buClr>
                <a:schemeClr val="accent1"/>
              </a:buClr>
              <a:buFont typeface="Arial" panose="020B0604020202020204" pitchFamily="34" charset="0"/>
              <a:buChar char="•"/>
            </a:pPr>
            <a:r>
              <a:rPr lang="en-US" sz="1000" dirty="0"/>
              <a:t>Define acceptance criteria Write acceptance tests Ensure quality of the product Manage risks </a:t>
            </a:r>
          </a:p>
          <a:p>
            <a:pPr marL="171450" indent="-171450">
              <a:spcBef>
                <a:spcPts val="300"/>
              </a:spcBef>
              <a:spcAft>
                <a:spcPts val="300"/>
              </a:spcAft>
              <a:buClr>
                <a:schemeClr val="accent1"/>
              </a:buClr>
              <a:buFont typeface="Arial" panose="020B0604020202020204" pitchFamily="34" charset="0"/>
              <a:buChar char="•"/>
            </a:pPr>
            <a:r>
              <a:rPr lang="en-US" sz="1000" dirty="0"/>
              <a:t>Decide on release date and goal</a:t>
            </a:r>
            <a:endParaRPr kumimoji="0" lang="en-US" sz="1000" b="0" i="0" u="none" strike="noStrike" kern="1200" cap="none" spc="0" normalizeH="0" baseline="0" noProof="0" dirty="0" err="1">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 name="TextBox 2"/>
          <p:cNvSpPr txBox="1"/>
          <p:nvPr/>
        </p:nvSpPr>
        <p:spPr bwMode="gray">
          <a:xfrm>
            <a:off x="263352" y="5545114"/>
            <a:ext cx="1872208" cy="1400383"/>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chemeClr val="accent1"/>
              </a:buClr>
              <a:buSzTx/>
              <a:tabLst/>
            </a:pPr>
            <a:r>
              <a:rPr kumimoji="0" lang="en-US" sz="1000" b="1" i="0" u="none" strike="noStrike" kern="1200" cap="none" spc="0" normalizeH="0" baseline="0" noProof="0" dirty="0">
                <a:ln>
                  <a:noFill/>
                </a:ln>
                <a:solidFill>
                  <a:schemeClr val="tx2">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Responsible</a:t>
            </a:r>
          </a:p>
          <a:p>
            <a:pPr marR="0" algn="l" defTabSz="914400" rtl="0" eaLnBrk="1" fontAlgn="auto" latinLnBrk="0" hangingPunct="1">
              <a:lnSpc>
                <a:spcPct val="100000"/>
              </a:lnSpc>
              <a:spcBef>
                <a:spcPts val="300"/>
              </a:spcBef>
              <a:spcAft>
                <a:spcPts val="300"/>
              </a:spcAft>
              <a:buClr>
                <a:schemeClr val="accent1"/>
              </a:buClr>
              <a:buSzTx/>
              <a:tabLst/>
            </a:pPr>
            <a:r>
              <a:rPr lang="en-US" sz="1000" b="1" dirty="0">
                <a:solidFill>
                  <a:srgbClr val="E61E50"/>
                </a:solidFill>
                <a:latin typeface="Verdana" panose="020B0604030504040204" pitchFamily="34" charset="0"/>
                <a:ea typeface="Verdana" panose="020B0604030504040204" pitchFamily="34" charset="0"/>
                <a:cs typeface="Verdana" panose="020B0604030504040204" pitchFamily="34" charset="0"/>
              </a:rPr>
              <a:t>A-Accountable</a:t>
            </a:r>
          </a:p>
          <a:p>
            <a:pPr marR="0" algn="l" defTabSz="914400" rtl="0" eaLnBrk="1" fontAlgn="auto" latinLnBrk="0" hangingPunct="1">
              <a:lnSpc>
                <a:spcPct val="100000"/>
              </a:lnSpc>
              <a:spcBef>
                <a:spcPts val="300"/>
              </a:spcBef>
              <a:spcAft>
                <a:spcPts val="300"/>
              </a:spcAft>
              <a:buClr>
                <a:schemeClr val="accent1"/>
              </a:buClr>
              <a:buSzTx/>
              <a:tabLst/>
            </a:pPr>
            <a:r>
              <a:rPr kumimoji="0" lang="en-US" sz="1000" b="1" i="0" u="none" strike="noStrike" kern="1200" cap="none" spc="0" normalizeH="0" baseline="0" noProof="0" dirty="0">
                <a:ln>
                  <a:noFill/>
                </a:ln>
                <a:solidFill>
                  <a:srgbClr val="92D050"/>
                </a:solidFill>
                <a:effectLst/>
                <a:uLnTx/>
                <a:uFillTx/>
                <a:latin typeface="Verdana" panose="020B0604030504040204" pitchFamily="34" charset="0"/>
                <a:ea typeface="Verdana" panose="020B0604030504040204" pitchFamily="34" charset="0"/>
                <a:cs typeface="Verdana" panose="020B0604030504040204" pitchFamily="34" charset="0"/>
              </a:rPr>
              <a:t>C-Consulted</a:t>
            </a:r>
          </a:p>
          <a:p>
            <a:pPr marR="0" algn="l" defTabSz="914400" rtl="0" eaLnBrk="1" fontAlgn="auto" latinLnBrk="0" hangingPunct="1">
              <a:lnSpc>
                <a:spcPct val="100000"/>
              </a:lnSpc>
              <a:spcBef>
                <a:spcPts val="300"/>
              </a:spcBef>
              <a:spcAft>
                <a:spcPts val="300"/>
              </a:spcAft>
              <a:buClr>
                <a:schemeClr val="accent1"/>
              </a:buClr>
              <a:buSzTx/>
              <a:tabLst/>
            </a:pPr>
            <a:r>
              <a:rPr lang="en-US" sz="1000" b="1" dirty="0">
                <a:solidFill>
                  <a:srgbClr val="00B0F0"/>
                </a:solidFill>
                <a:latin typeface="Verdana" panose="020B0604030504040204" pitchFamily="34" charset="0"/>
                <a:ea typeface="Verdana" panose="020B0604030504040204" pitchFamily="34" charset="0"/>
                <a:cs typeface="Verdana" panose="020B0604030504040204" pitchFamily="34" charset="0"/>
              </a:rPr>
              <a:t>I-Informed</a:t>
            </a:r>
          </a:p>
          <a:p>
            <a:pPr marR="0" algn="l" defTabSz="914400" rtl="0" eaLnBrk="1" fontAlgn="auto" latinLnBrk="0" hangingPunct="1">
              <a:lnSpc>
                <a:spcPct val="100000"/>
              </a:lnSpc>
              <a:spcBef>
                <a:spcPts val="300"/>
              </a:spcBef>
              <a:spcAft>
                <a:spcPts val="300"/>
              </a:spcAft>
              <a:buClr>
                <a:schemeClr val="accent1"/>
              </a:buClr>
              <a:buSzTx/>
              <a:tabLst/>
            </a:pPr>
            <a:r>
              <a:rPr lang="en-US" sz="1000" b="1" dirty="0">
                <a:solidFill>
                  <a:srgbClr val="7030A0"/>
                </a:solidFill>
                <a:latin typeface="Verdana" panose="020B0604030504040204" pitchFamily="34" charset="0"/>
                <a:ea typeface="Verdana" panose="020B0604030504040204" pitchFamily="34" charset="0"/>
                <a:cs typeface="Verdana" panose="020B0604030504040204" pitchFamily="34" charset="0"/>
              </a:rPr>
              <a:t>F- Facilitate</a:t>
            </a:r>
          </a:p>
          <a:p>
            <a:pPr marR="0" algn="l" defTabSz="914400" rtl="0" eaLnBrk="1" fontAlgn="auto" latinLnBrk="0" hangingPunct="1">
              <a:lnSpc>
                <a:spcPct val="100000"/>
              </a:lnSpc>
              <a:spcBef>
                <a:spcPts val="300"/>
              </a:spcBef>
              <a:spcAft>
                <a:spcPts val="300"/>
              </a:spcAft>
              <a:buClr>
                <a:schemeClr val="accent1"/>
              </a:buClr>
              <a:buSzTx/>
              <a:tabLst/>
            </a:pPr>
            <a:endParaRPr kumimoji="0" lang="en-US" sz="1600" b="1" i="0" u="none" strike="noStrike" kern="1200" cap="none" spc="0" normalizeH="0" baseline="0" noProof="0" dirty="0" err="1">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 name="Title 5"/>
          <p:cNvSpPr>
            <a:spLocks noGrp="1"/>
          </p:cNvSpPr>
          <p:nvPr>
            <p:ph type="title"/>
          </p:nvPr>
        </p:nvSpPr>
        <p:spPr>
          <a:xfrm>
            <a:off x="1631504" y="188640"/>
            <a:ext cx="10972800" cy="249008"/>
          </a:xfrm>
        </p:spPr>
        <p:txBody>
          <a:bodyPr/>
          <a:lstStyle/>
          <a:p>
            <a:r>
              <a:rPr lang="en-AU" b="0" dirty="0"/>
              <a:t>RACI Matrix</a:t>
            </a:r>
            <a:endParaRPr lang="en-US" dirty="0"/>
          </a:p>
        </p:txBody>
      </p:sp>
    </p:spTree>
    <p:extLst>
      <p:ext uri="{BB962C8B-B14F-4D97-AF65-F5344CB8AC3E}">
        <p14:creationId xmlns:p14="http://schemas.microsoft.com/office/powerpoint/2010/main" val="120041730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51</a:t>
            </a:fld>
            <a:endParaRPr lang="en-US" dirty="0"/>
          </a:p>
        </p:txBody>
      </p:sp>
      <p:sp>
        <p:nvSpPr>
          <p:cNvPr id="4" name="Content Placeholder 3"/>
          <p:cNvSpPr>
            <a:spLocks noGrp="1"/>
          </p:cNvSpPr>
          <p:nvPr>
            <p:ph sz="quarter" idx="14"/>
          </p:nvPr>
        </p:nvSpPr>
        <p:spPr>
          <a:xfrm>
            <a:off x="1631504" y="1556793"/>
            <a:ext cx="6336207" cy="2232248"/>
          </a:xfrm>
        </p:spPr>
        <p:txBody>
          <a:bodyPr/>
          <a:lstStyle/>
          <a:p>
            <a:pPr marL="257175" indent="-257175">
              <a:buFont typeface="Arial" panose="020B0604020202020204" pitchFamily="34" charset="0"/>
              <a:buChar char="•"/>
              <a:defRPr/>
            </a:pPr>
            <a:r>
              <a:rPr lang="en-US" sz="1650" dirty="0">
                <a:latin typeface="Gill Sans" charset="0"/>
                <a:ea typeface="ヒラギノ角ゴ Pro W3" charset="-128"/>
                <a:cs typeface="+mn-cs"/>
              </a:rPr>
              <a:t>Voice of the Customer</a:t>
            </a:r>
          </a:p>
          <a:p>
            <a:pPr marL="257175" indent="-257175">
              <a:buFont typeface="Arial" panose="020B0604020202020204" pitchFamily="34" charset="0"/>
              <a:buChar char="•"/>
              <a:defRPr/>
            </a:pPr>
            <a:r>
              <a:rPr lang="en-US" sz="1650" dirty="0">
                <a:latin typeface="Gill Sans" charset="0"/>
                <a:ea typeface="ヒラギノ角ゴ Pro W3" charset="-128"/>
                <a:cs typeface="+mn-cs"/>
              </a:rPr>
              <a:t>Define the features of the product</a:t>
            </a:r>
          </a:p>
          <a:p>
            <a:pPr marL="257175" indent="-257175">
              <a:buFont typeface="Arial" panose="020B0604020202020204" pitchFamily="34" charset="0"/>
              <a:buChar char="•"/>
              <a:defRPr/>
            </a:pPr>
            <a:r>
              <a:rPr lang="en-US" sz="1650" dirty="0">
                <a:latin typeface="Gill Sans" charset="0"/>
                <a:ea typeface="ヒラギノ角ゴ Pro W3" charset="-128"/>
                <a:cs typeface="+mn-cs"/>
              </a:rPr>
              <a:t>Decide on release date and content</a:t>
            </a:r>
          </a:p>
          <a:p>
            <a:pPr marL="257175" indent="-257175">
              <a:buFont typeface="Arial" panose="020B0604020202020204" pitchFamily="34" charset="0"/>
              <a:buChar char="•"/>
              <a:defRPr/>
            </a:pPr>
            <a:r>
              <a:rPr lang="en-US" sz="1650" dirty="0">
                <a:latin typeface="Gill Sans" charset="0"/>
                <a:ea typeface="ヒラギノ角ゴ Pro W3" charset="-128"/>
                <a:cs typeface="+mn-cs"/>
              </a:rPr>
              <a:t>Be responsible for the profitability of the product (ROI)</a:t>
            </a:r>
          </a:p>
          <a:p>
            <a:pPr marL="257175" indent="-257175">
              <a:buFont typeface="Arial" panose="020B0604020202020204" pitchFamily="34" charset="0"/>
              <a:buChar char="•"/>
              <a:defRPr/>
            </a:pPr>
            <a:r>
              <a:rPr lang="en-US" sz="1650" dirty="0">
                <a:latin typeface="Gill Sans" charset="0"/>
                <a:ea typeface="ヒラギノ角ゴ Pro W3" charset="-128"/>
                <a:cs typeface="+mn-cs"/>
              </a:rPr>
              <a:t>Prioritize Epics&gt; features according to market value </a:t>
            </a:r>
          </a:p>
          <a:p>
            <a:pPr marL="257175" indent="-257175">
              <a:buFont typeface="Arial" panose="020B0604020202020204" pitchFamily="34" charset="0"/>
              <a:buChar char="•"/>
              <a:defRPr/>
            </a:pPr>
            <a:r>
              <a:rPr lang="en-US" sz="1650" dirty="0">
                <a:latin typeface="Gill Sans" charset="0"/>
                <a:ea typeface="ヒラギノ角ゴ Pro W3" charset="-128"/>
                <a:cs typeface="+mn-cs"/>
              </a:rPr>
              <a:t>Adjust features and priority every iteration, as needed  </a:t>
            </a:r>
          </a:p>
          <a:p>
            <a:pPr marL="257175" indent="-257175">
              <a:buFont typeface="Arial" panose="020B0604020202020204" pitchFamily="34" charset="0"/>
              <a:buChar char="•"/>
              <a:defRPr/>
            </a:pPr>
            <a:r>
              <a:rPr lang="en-US" sz="1650" dirty="0">
                <a:latin typeface="Gill Sans" charset="0"/>
                <a:ea typeface="ヒラギノ角ゴ Pro W3" charset="-128"/>
                <a:cs typeface="+mn-cs"/>
              </a:rPr>
              <a:t>Accept or reject work results</a:t>
            </a:r>
          </a:p>
          <a:p>
            <a:pPr>
              <a:defRPr/>
            </a:pPr>
            <a:endParaRPr lang="en-US" dirty="0"/>
          </a:p>
          <a:p>
            <a:endParaRPr lang="en-US" dirty="0"/>
          </a:p>
        </p:txBody>
      </p:sp>
      <p:graphicFrame>
        <p:nvGraphicFramePr>
          <p:cNvPr id="9" name="Content Placeholder 3"/>
          <p:cNvGraphicFramePr>
            <a:graphicFrameLocks/>
          </p:cNvGraphicFramePr>
          <p:nvPr>
            <p:extLst>
              <p:ext uri="{D42A27DB-BD31-4B8C-83A1-F6EECF244321}">
                <p14:modId xmlns:p14="http://schemas.microsoft.com/office/powerpoint/2010/main" val="2567375683"/>
              </p:ext>
            </p:extLst>
          </p:nvPr>
        </p:nvGraphicFramePr>
        <p:xfrm>
          <a:off x="8184232" y="1709103"/>
          <a:ext cx="3429000" cy="2697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Picture 2" descr="People Clip Ar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574956" y="1129665"/>
            <a:ext cx="590550" cy="1017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4872500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52</a:t>
            </a:fld>
            <a:endParaRPr lang="en-US" dirty="0"/>
          </a:p>
        </p:txBody>
      </p:sp>
      <p:sp>
        <p:nvSpPr>
          <p:cNvPr id="8" name="Rectangle 2"/>
          <p:cNvSpPr>
            <a:spLocks noGrp="1" noChangeArrowheads="1"/>
          </p:cNvSpPr>
          <p:nvPr>
            <p:ph type="body" idx="4294967295"/>
          </p:nvPr>
        </p:nvSpPr>
        <p:spPr>
          <a:xfrm>
            <a:off x="2099556" y="1709103"/>
            <a:ext cx="6202820" cy="3810000"/>
          </a:xfrm>
          <a:prstGeom prst="rect">
            <a:avLst/>
          </a:prstGeom>
        </p:spPr>
        <p:txBody>
          <a:bodyPr/>
          <a:lstStyle/>
          <a:p>
            <a:pPr marL="257175" indent="-257175">
              <a:lnSpc>
                <a:spcPct val="100000"/>
              </a:lnSpc>
              <a:buFont typeface="Arial" panose="020B0604020202020204" pitchFamily="34" charset="0"/>
              <a:buChar char="•"/>
              <a:defRPr/>
            </a:pPr>
            <a:r>
              <a:rPr lang="en-US" sz="1650" dirty="0">
                <a:latin typeface="Gill Sans" charset="0"/>
                <a:ea typeface="ヒラギノ角ゴ Pro W3" charset="-128"/>
                <a:cs typeface="+mn-cs"/>
              </a:rPr>
              <a:t>Be the servant leader for the team</a:t>
            </a:r>
          </a:p>
          <a:p>
            <a:pPr marL="257175" indent="-257175">
              <a:lnSpc>
                <a:spcPct val="100000"/>
              </a:lnSpc>
              <a:buFont typeface="Arial" panose="020B0604020202020204" pitchFamily="34" charset="0"/>
              <a:buChar char="•"/>
              <a:defRPr/>
            </a:pPr>
            <a:r>
              <a:rPr lang="en-US" sz="1650" dirty="0">
                <a:latin typeface="Gill Sans" charset="0"/>
                <a:ea typeface="ヒラギノ角ゴ Pro W3" charset="-128"/>
                <a:cs typeface="+mn-cs"/>
              </a:rPr>
              <a:t>Represents management to the project</a:t>
            </a:r>
          </a:p>
          <a:p>
            <a:pPr marL="257175" indent="-257175">
              <a:lnSpc>
                <a:spcPct val="100000"/>
              </a:lnSpc>
              <a:buFont typeface="Arial" panose="020B0604020202020204" pitchFamily="34" charset="0"/>
              <a:buChar char="•"/>
              <a:defRPr/>
            </a:pPr>
            <a:r>
              <a:rPr lang="en-US" sz="1650" dirty="0">
                <a:latin typeface="Gill Sans" charset="0"/>
                <a:ea typeface="ヒラギノ角ゴ Pro W3" charset="-128"/>
                <a:cs typeface="+mn-cs"/>
              </a:rPr>
              <a:t>Responsible for enacting Scrum values and practices</a:t>
            </a:r>
          </a:p>
          <a:p>
            <a:pPr marL="257175" indent="-257175">
              <a:lnSpc>
                <a:spcPct val="100000"/>
              </a:lnSpc>
              <a:buFont typeface="Arial" panose="020B0604020202020204" pitchFamily="34" charset="0"/>
              <a:buChar char="•"/>
              <a:defRPr/>
            </a:pPr>
            <a:r>
              <a:rPr lang="en-US" sz="1650" dirty="0">
                <a:latin typeface="Gill Sans" charset="0"/>
                <a:ea typeface="ヒラギノ角ゴ Pro W3" charset="-128"/>
                <a:cs typeface="+mn-cs"/>
              </a:rPr>
              <a:t>Removes impediments </a:t>
            </a:r>
          </a:p>
          <a:p>
            <a:pPr marL="257175" indent="-257175">
              <a:lnSpc>
                <a:spcPct val="100000"/>
              </a:lnSpc>
              <a:buFont typeface="Arial" panose="020B0604020202020204" pitchFamily="34" charset="0"/>
              <a:buChar char="•"/>
              <a:defRPr/>
            </a:pPr>
            <a:r>
              <a:rPr lang="en-US" sz="1650" dirty="0">
                <a:latin typeface="Gill Sans" charset="0"/>
                <a:ea typeface="ヒラギノ角ゴ Pro W3" charset="-128"/>
                <a:cs typeface="+mn-cs"/>
              </a:rPr>
              <a:t>Ensure that the team is fully functional and productive</a:t>
            </a:r>
          </a:p>
          <a:p>
            <a:pPr marL="257175" indent="-257175">
              <a:lnSpc>
                <a:spcPct val="100000"/>
              </a:lnSpc>
              <a:buFont typeface="Arial" panose="020B0604020202020204" pitchFamily="34" charset="0"/>
              <a:buChar char="•"/>
              <a:defRPr/>
            </a:pPr>
            <a:r>
              <a:rPr lang="en-US" sz="1650" dirty="0">
                <a:latin typeface="Gill Sans" charset="0"/>
                <a:ea typeface="ヒラギノ角ゴ Pro W3" charset="-128"/>
                <a:cs typeface="+mn-cs"/>
              </a:rPr>
              <a:t>Enable close cooperation across all roles and functions</a:t>
            </a:r>
          </a:p>
          <a:p>
            <a:pPr marL="257175" indent="-257175">
              <a:lnSpc>
                <a:spcPct val="100000"/>
              </a:lnSpc>
              <a:buFont typeface="Arial" panose="020B0604020202020204" pitchFamily="34" charset="0"/>
              <a:buChar char="•"/>
              <a:defRPr/>
            </a:pPr>
            <a:r>
              <a:rPr lang="en-US" sz="1650" dirty="0">
                <a:latin typeface="Gill Sans" charset="0"/>
                <a:ea typeface="ヒラギノ角ゴ Pro W3" charset="-128"/>
                <a:cs typeface="+mn-cs"/>
              </a:rPr>
              <a:t>Shield the team from external interferences</a:t>
            </a:r>
          </a:p>
        </p:txBody>
      </p:sp>
      <p:graphicFrame>
        <p:nvGraphicFramePr>
          <p:cNvPr id="6" name="Content Placeholder 3"/>
          <p:cNvGraphicFramePr>
            <a:graphicFrameLocks noGrp="1"/>
          </p:cNvGraphicFramePr>
          <p:nvPr>
            <p:ph idx="4294967295"/>
            <p:extLst>
              <p:ext uri="{D42A27DB-BD31-4B8C-83A1-F6EECF244321}">
                <p14:modId xmlns:p14="http://schemas.microsoft.com/office/powerpoint/2010/main" val="4189425613"/>
              </p:ext>
            </p:extLst>
          </p:nvPr>
        </p:nvGraphicFramePr>
        <p:xfrm>
          <a:off x="8184232" y="1709103"/>
          <a:ext cx="3429000" cy="2697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Picture 2" descr="People Clip Ar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574956" y="1129665"/>
            <a:ext cx="590550" cy="1017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5204296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53</a:t>
            </a:fld>
            <a:endParaRPr lang="en-US" dirty="0"/>
          </a:p>
        </p:txBody>
      </p:sp>
      <p:sp>
        <p:nvSpPr>
          <p:cNvPr id="7" name="Rectangle 2"/>
          <p:cNvSpPr>
            <a:spLocks noGrp="1" noChangeArrowheads="1"/>
          </p:cNvSpPr>
          <p:nvPr>
            <p:ph type="body" idx="4294967295"/>
          </p:nvPr>
        </p:nvSpPr>
        <p:spPr>
          <a:xfrm>
            <a:off x="1272001" y="1628800"/>
            <a:ext cx="7197781" cy="2614653"/>
          </a:xfrm>
          <a:prstGeom prst="rect">
            <a:avLst/>
          </a:prstGeom>
        </p:spPr>
        <p:txBody>
          <a:bodyPr/>
          <a:lstStyle/>
          <a:p>
            <a:pPr marL="781050" indent="-257175">
              <a:lnSpc>
                <a:spcPct val="90000"/>
              </a:lnSpc>
              <a:buFont typeface="Arial" panose="020B0604020202020204" pitchFamily="34" charset="0"/>
              <a:buChar char="•"/>
              <a:defRPr/>
            </a:pPr>
            <a:r>
              <a:rPr lang="en-US" sz="1650" dirty="0">
                <a:latin typeface="Gill Sans" charset="0"/>
                <a:ea typeface="ヒラギノ角ゴ Pro W3" charset="-128"/>
                <a:cs typeface="+mn-cs"/>
              </a:rPr>
              <a:t>Participate in All scrum ceremonies</a:t>
            </a:r>
          </a:p>
          <a:p>
            <a:pPr marL="781050" indent="-257175">
              <a:lnSpc>
                <a:spcPct val="90000"/>
              </a:lnSpc>
              <a:buFont typeface="Arial" panose="020B0604020202020204" pitchFamily="34" charset="0"/>
              <a:buChar char="•"/>
              <a:defRPr/>
            </a:pPr>
            <a:r>
              <a:rPr lang="en-US" sz="1650" dirty="0">
                <a:latin typeface="Gill Sans" charset="0"/>
                <a:ea typeface="ヒラギノ角ゴ Pro W3" charset="-128"/>
                <a:cs typeface="+mn-cs"/>
              </a:rPr>
              <a:t>Responsible for the Sprint Goal</a:t>
            </a:r>
          </a:p>
          <a:p>
            <a:pPr marL="781050" indent="-257175">
              <a:lnSpc>
                <a:spcPct val="90000"/>
              </a:lnSpc>
              <a:buFont typeface="Arial" panose="020B0604020202020204" pitchFamily="34" charset="0"/>
              <a:buChar char="•"/>
              <a:defRPr/>
            </a:pPr>
            <a:r>
              <a:rPr lang="en-US" sz="1650" dirty="0">
                <a:latin typeface="Gill Sans" charset="0"/>
                <a:ea typeface="ヒラギノ角ゴ Pro W3" charset="-128"/>
                <a:cs typeface="+mn-cs"/>
              </a:rPr>
              <a:t>Self –Organizing</a:t>
            </a:r>
          </a:p>
          <a:p>
            <a:pPr marL="781050" indent="-257175">
              <a:lnSpc>
                <a:spcPct val="90000"/>
              </a:lnSpc>
              <a:buFont typeface="Arial" panose="020B0604020202020204" pitchFamily="34" charset="0"/>
              <a:buChar char="•"/>
              <a:defRPr/>
            </a:pPr>
            <a:r>
              <a:rPr lang="en-US" sz="1650" dirty="0">
                <a:latin typeface="Gill Sans" charset="0"/>
                <a:ea typeface="ヒラギノ角ゴ Pro W3" charset="-128"/>
                <a:cs typeface="+mn-cs"/>
              </a:rPr>
              <a:t>Exercise Adaptive decision making</a:t>
            </a:r>
          </a:p>
          <a:p>
            <a:pPr marL="781050" indent="-257175">
              <a:lnSpc>
                <a:spcPct val="90000"/>
              </a:lnSpc>
              <a:buFont typeface="Arial" panose="020B0604020202020204" pitchFamily="34" charset="0"/>
              <a:buChar char="•"/>
              <a:defRPr/>
            </a:pPr>
            <a:r>
              <a:rPr lang="en-US" sz="1650" dirty="0">
                <a:latin typeface="Gill Sans" charset="0"/>
                <a:ea typeface="ヒラギノ角ゴ Pro W3" charset="-128"/>
                <a:cs typeface="+mn-cs"/>
              </a:rPr>
              <a:t>Typically 5-9 people</a:t>
            </a:r>
          </a:p>
          <a:p>
            <a:pPr marL="781050" indent="-257175">
              <a:lnSpc>
                <a:spcPct val="90000"/>
              </a:lnSpc>
              <a:buFont typeface="Arial" panose="020B0604020202020204" pitchFamily="34" charset="0"/>
              <a:buChar char="•"/>
              <a:defRPr/>
            </a:pPr>
            <a:r>
              <a:rPr lang="en-US" sz="1650" dirty="0">
                <a:latin typeface="Gill Sans" charset="0"/>
                <a:ea typeface="ヒラギノ角ゴ Pro W3" charset="-128"/>
                <a:cs typeface="+mn-cs"/>
              </a:rPr>
              <a:t>Cross-functional in nature..</a:t>
            </a:r>
          </a:p>
          <a:p>
            <a:pPr marL="781050" indent="-257175">
              <a:lnSpc>
                <a:spcPct val="90000"/>
              </a:lnSpc>
              <a:buFont typeface="Arial" panose="020B0604020202020204" pitchFamily="34" charset="0"/>
              <a:buChar char="•"/>
              <a:defRPr/>
            </a:pPr>
            <a:r>
              <a:rPr lang="en-US" sz="1650" dirty="0">
                <a:latin typeface="Gill Sans" charset="0"/>
                <a:ea typeface="ヒラギノ角ゴ Pro W3" charset="-128"/>
                <a:cs typeface="+mn-cs"/>
              </a:rPr>
              <a:t>Programmers, QA (testers), UX designers, etc.</a:t>
            </a:r>
          </a:p>
          <a:p>
            <a:pPr marL="916050" lvl="1" indent="-257175">
              <a:lnSpc>
                <a:spcPct val="90000"/>
              </a:lnSpc>
              <a:buFont typeface="Arial" panose="020B0604020202020204" pitchFamily="34" charset="0"/>
              <a:buChar char="•"/>
              <a:defRPr/>
            </a:pPr>
            <a:r>
              <a:rPr lang="en-US" sz="1650" dirty="0">
                <a:latin typeface="Gill Sans" charset="0"/>
                <a:ea typeface="ヒラギノ角ゴ Pro W3" charset="-128"/>
                <a:cs typeface="+mn-cs"/>
              </a:rPr>
              <a:t>Members should be full-time</a:t>
            </a:r>
          </a:p>
          <a:p>
            <a:pPr marL="916050" lvl="1" indent="-257175">
              <a:lnSpc>
                <a:spcPct val="90000"/>
              </a:lnSpc>
              <a:buFont typeface="Arial" panose="020B0604020202020204" pitchFamily="34" charset="0"/>
              <a:buChar char="•"/>
              <a:defRPr/>
            </a:pPr>
            <a:r>
              <a:rPr lang="en-US" sz="1650" dirty="0">
                <a:latin typeface="Gill Sans" charset="0"/>
                <a:ea typeface="ヒラギノ角ゴ Pro W3" charset="-128"/>
                <a:cs typeface="+mn-cs"/>
              </a:rPr>
              <a:t>May be exceptions (e.g., database administrator/ Architect/QMS)</a:t>
            </a:r>
          </a:p>
        </p:txBody>
      </p:sp>
      <p:pic>
        <p:nvPicPr>
          <p:cNvPr id="24"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68408" y="836712"/>
            <a:ext cx="1228725" cy="140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5" name="Content Placeholder 3"/>
          <p:cNvGraphicFramePr>
            <a:graphicFrameLocks noGrp="1"/>
          </p:cNvGraphicFramePr>
          <p:nvPr>
            <p:ph idx="4294967295"/>
            <p:extLst>
              <p:ext uri="{D42A27DB-BD31-4B8C-83A1-F6EECF244321}">
                <p14:modId xmlns:p14="http://schemas.microsoft.com/office/powerpoint/2010/main" val="163466001"/>
              </p:ext>
            </p:extLst>
          </p:nvPr>
        </p:nvGraphicFramePr>
        <p:xfrm>
          <a:off x="8763000" y="1382702"/>
          <a:ext cx="3429000" cy="26971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342657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67676" y="4770530"/>
            <a:ext cx="1015475" cy="1165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1"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58476" y="884330"/>
            <a:ext cx="1015475" cy="1165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Content Placeholder 3"/>
          <p:cNvGraphicFramePr>
            <a:graphicFrameLocks noGrp="1"/>
          </p:cNvGraphicFramePr>
          <p:nvPr>
            <p:ph idx="1"/>
            <p:extLst>
              <p:ext uri="{D42A27DB-BD31-4B8C-83A1-F6EECF244321}">
                <p14:modId xmlns:p14="http://schemas.microsoft.com/office/powerpoint/2010/main" val="420449607"/>
              </p:ext>
            </p:extLst>
          </p:nvPr>
        </p:nvGraphicFramePr>
        <p:xfrm>
          <a:off x="6394376" y="4318689"/>
          <a:ext cx="3429000" cy="22290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p:cNvGraphicFramePr/>
          <p:nvPr>
            <p:extLst>
              <p:ext uri="{D42A27DB-BD31-4B8C-83A1-F6EECF244321}">
                <p14:modId xmlns:p14="http://schemas.microsoft.com/office/powerpoint/2010/main" val="1791398977"/>
              </p:ext>
            </p:extLst>
          </p:nvPr>
        </p:nvGraphicFramePr>
        <p:xfrm>
          <a:off x="5479976" y="1435205"/>
          <a:ext cx="4419600" cy="205719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6" name="Rectangle 5"/>
          <p:cNvSpPr/>
          <p:nvPr/>
        </p:nvSpPr>
        <p:spPr>
          <a:xfrm>
            <a:off x="2279577" y="2337845"/>
            <a:ext cx="1756709" cy="396803"/>
          </a:xfrm>
          <a:prstGeom prst="rect">
            <a:avLst/>
          </a:prstGeom>
          <a:noFill/>
          <a:scene3d>
            <a:camera prst="orthographicFront"/>
            <a:lightRig rig="glow" dir="tl">
              <a:rot lat="0" lon="0" rev="5400000"/>
            </a:lightRig>
          </a:scene3d>
          <a:sp3d extrusionH="76200">
            <a:extrusionClr>
              <a:schemeClr val="tx2">
                <a:lumMod val="60000"/>
                <a:lumOff val="40000"/>
              </a:schemeClr>
            </a:extrusionClr>
          </a:sp3d>
        </p:spPr>
        <p:txBody>
          <a:bodyPr>
            <a:spAutoFit/>
            <a:scene3d>
              <a:camera prst="orthographicFront">
                <a:rot lat="0" lon="0" rev="0"/>
              </a:camera>
              <a:lightRig rig="glow" dir="t">
                <a:rot lat="0" lon="0" rev="3600000"/>
              </a:lightRig>
            </a:scene3d>
            <a:sp3d prstMaterial="softEdge">
              <a:bevelT w="29210" h="16510"/>
              <a:contourClr>
                <a:schemeClr val="accent4">
                  <a:alpha val="95000"/>
                </a:schemeClr>
              </a:contourClr>
            </a:sp3d>
          </a:bodyPr>
          <a:lstStyle/>
          <a:p>
            <a:pPr algn="ctr" eaLnBrk="0" hangingPunct="0">
              <a:lnSpc>
                <a:spcPct val="90000"/>
              </a:lnSpc>
              <a:buClr>
                <a:schemeClr val="accent1"/>
              </a:buClr>
              <a:defRPr/>
            </a:pPr>
            <a:r>
              <a:rPr lang="en-US" sz="2800" b="1" dirty="0">
                <a:ln>
                  <a:prstDash val="solid"/>
                </a:ln>
                <a:solidFill>
                  <a:srgbClr val="FF0000"/>
                </a:solidFill>
                <a:effectLst>
                  <a:outerShdw blurRad="88000" dist="50800" dir="5040000" algn="tl">
                    <a:schemeClr val="accent4">
                      <a:tint val="80000"/>
                      <a:satMod val="250000"/>
                      <a:alpha val="45000"/>
                    </a:schemeClr>
                  </a:outerShdw>
                </a:effectLst>
              </a:rPr>
              <a:t>Usually</a:t>
            </a:r>
          </a:p>
        </p:txBody>
      </p:sp>
      <p:sp>
        <p:nvSpPr>
          <p:cNvPr id="7" name="Rectangle 6"/>
          <p:cNvSpPr/>
          <p:nvPr/>
        </p:nvSpPr>
        <p:spPr>
          <a:xfrm>
            <a:off x="2063552" y="5081044"/>
            <a:ext cx="3264024" cy="396803"/>
          </a:xfrm>
          <a:prstGeom prst="rect">
            <a:avLst/>
          </a:prstGeom>
          <a:noFill/>
        </p:spPr>
        <p:txBody>
          <a:bodyPr wrap="square">
            <a:spAutoFit/>
            <a:scene3d>
              <a:camera prst="orthographicFront">
                <a:rot lat="0" lon="0" rev="0"/>
              </a:camera>
              <a:lightRig rig="glow" dir="t">
                <a:rot lat="0" lon="0" rev="3600000"/>
              </a:lightRig>
            </a:scene3d>
            <a:sp3d prstMaterial="softEdge">
              <a:bevelT w="29210" h="16510"/>
              <a:contourClr>
                <a:schemeClr val="accent4">
                  <a:alpha val="95000"/>
                </a:schemeClr>
              </a:contourClr>
            </a:sp3d>
          </a:bodyPr>
          <a:lstStyle/>
          <a:p>
            <a:pPr algn="ctr" eaLnBrk="0" hangingPunct="0">
              <a:lnSpc>
                <a:spcPct val="90000"/>
              </a:lnSpc>
              <a:buClr>
                <a:schemeClr val="accent1"/>
              </a:buClr>
              <a:defRPr/>
            </a:pPr>
            <a:r>
              <a:rPr lang="en-US" sz="2800" b="1" dirty="0">
                <a:ln>
                  <a:prstDash val="solid"/>
                </a:ln>
                <a:solidFill>
                  <a:srgbClr val="00B050"/>
                </a:solidFill>
                <a:effectLst>
                  <a:outerShdw blurRad="88000" dist="50800" dir="5040000" algn="tl">
                    <a:schemeClr val="accent4">
                      <a:tint val="80000"/>
                      <a:satMod val="250000"/>
                      <a:alpha val="45000"/>
                    </a:schemeClr>
                  </a:outerShdw>
                </a:effectLst>
              </a:rPr>
              <a:t>Recommended</a:t>
            </a:r>
          </a:p>
        </p:txBody>
      </p:sp>
      <p:sp>
        <p:nvSpPr>
          <p:cNvPr id="8" name="Right Arrow 7"/>
          <p:cNvSpPr/>
          <p:nvPr/>
        </p:nvSpPr>
        <p:spPr>
          <a:xfrm>
            <a:off x="4032250" y="2507188"/>
            <a:ext cx="990600" cy="12595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lnSpc>
                <a:spcPct val="90000"/>
              </a:lnSpc>
              <a:buClr>
                <a:schemeClr val="accent1"/>
              </a:buClr>
              <a:defRPr/>
            </a:pPr>
            <a:endParaRPr lang="en-US">
              <a:solidFill>
                <a:srgbClr val="FFFFFF"/>
              </a:solidFill>
              <a:cs typeface="Arial" charset="0"/>
            </a:endParaRPr>
          </a:p>
        </p:txBody>
      </p:sp>
      <p:sp>
        <p:nvSpPr>
          <p:cNvPr id="9" name="Right Arrow 8"/>
          <p:cNvSpPr/>
          <p:nvPr/>
        </p:nvSpPr>
        <p:spPr>
          <a:xfrm>
            <a:off x="5175250" y="5271025"/>
            <a:ext cx="609600" cy="12595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lnSpc>
                <a:spcPct val="90000"/>
              </a:lnSpc>
              <a:buClr>
                <a:schemeClr val="accent1"/>
              </a:buClr>
              <a:defRPr/>
            </a:pPr>
            <a:endParaRPr lang="en-US">
              <a:solidFill>
                <a:srgbClr val="FFFFFF"/>
              </a:solidFill>
              <a:cs typeface="Arial" charset="0"/>
            </a:endParaRPr>
          </a:p>
        </p:txBody>
      </p:sp>
      <p:pic>
        <p:nvPicPr>
          <p:cNvPr id="17419" name="Picture 2" descr="People Clip Art"/>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064696" y="1204317"/>
            <a:ext cx="488058" cy="840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0" name="Picture 6" descr="Grey Blue Clip Art"/>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432990" y="1225655"/>
            <a:ext cx="456570" cy="787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1" name="Picture 2" descr="People Clip Art"/>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836346" y="3593503"/>
            <a:ext cx="488058" cy="840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2" name="Picture 6" descr="Grey Blue Clip Art"/>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090340" y="4807055"/>
            <a:ext cx="456570" cy="787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203376" y="217100"/>
            <a:ext cx="7781056" cy="205792"/>
          </a:xfrm>
        </p:spPr>
        <p:txBody>
          <a:bodyPr/>
          <a:lstStyle/>
          <a:p>
            <a:r>
              <a:rPr lang="en-US" b="0" dirty="0"/>
              <a:t>How do these roles communicate?</a:t>
            </a:r>
          </a:p>
        </p:txBody>
      </p:sp>
    </p:spTree>
    <p:extLst>
      <p:ext uri="{BB962C8B-B14F-4D97-AF65-F5344CB8AC3E}">
        <p14:creationId xmlns:p14="http://schemas.microsoft.com/office/powerpoint/2010/main" val="48177868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ight Arrow 4"/>
          <p:cNvSpPr/>
          <p:nvPr/>
        </p:nvSpPr>
        <p:spPr>
          <a:xfrm>
            <a:off x="2667000" y="4876800"/>
            <a:ext cx="7113456" cy="12182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lnSpc>
                <a:spcPct val="90000"/>
              </a:lnSpc>
              <a:buClr>
                <a:schemeClr val="accent1"/>
              </a:buClr>
              <a:defRPr/>
            </a:pPr>
            <a:endParaRPr lang="en-US" dirty="0">
              <a:solidFill>
                <a:srgbClr val="FFFFFF"/>
              </a:solidFill>
              <a:cs typeface="Arial" charset="0"/>
            </a:endParaRPr>
          </a:p>
        </p:txBody>
      </p:sp>
      <p:sp>
        <p:nvSpPr>
          <p:cNvPr id="6" name="Donut 5"/>
          <p:cNvSpPr/>
          <p:nvPr/>
        </p:nvSpPr>
        <p:spPr>
          <a:xfrm>
            <a:off x="5072740" y="3099236"/>
            <a:ext cx="2166260" cy="1899802"/>
          </a:xfrm>
          <a:prstGeom prst="donut">
            <a:avLst>
              <a:gd name="adj" fmla="val 6359"/>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lnSpc>
                <a:spcPct val="90000"/>
              </a:lnSpc>
              <a:buClr>
                <a:schemeClr val="accent1"/>
              </a:buClr>
              <a:defRPr/>
            </a:pPr>
            <a:endParaRPr lang="en-US">
              <a:solidFill>
                <a:schemeClr val="tx1"/>
              </a:solidFill>
            </a:endParaRPr>
          </a:p>
        </p:txBody>
      </p:sp>
      <p:pic>
        <p:nvPicPr>
          <p:cNvPr id="12" name="Picture 11" descr="backlog.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4267201"/>
            <a:ext cx="977900" cy="113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ight Arrow 12"/>
          <p:cNvSpPr/>
          <p:nvPr/>
        </p:nvSpPr>
        <p:spPr>
          <a:xfrm>
            <a:off x="3733800" y="4876800"/>
            <a:ext cx="228600" cy="152400"/>
          </a:xfrm>
          <a:prstGeom prst="rightArrow">
            <a:avLst/>
          </a:prstGeom>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lnSpc>
                <a:spcPct val="90000"/>
              </a:lnSpc>
              <a:buClr>
                <a:schemeClr val="accent1"/>
              </a:buClr>
              <a:defRPr/>
            </a:pPr>
            <a:endParaRPr lang="en-US">
              <a:solidFill>
                <a:srgbClr val="FFFFFF"/>
              </a:solidFill>
              <a:cs typeface="Arial" charset="0"/>
            </a:endParaRPr>
          </a:p>
        </p:txBody>
      </p:sp>
      <p:sp>
        <p:nvSpPr>
          <p:cNvPr id="14" name="Right Arrow 13"/>
          <p:cNvSpPr/>
          <p:nvPr/>
        </p:nvSpPr>
        <p:spPr>
          <a:xfrm>
            <a:off x="8153400" y="4876800"/>
            <a:ext cx="228600" cy="152400"/>
          </a:xfrm>
          <a:prstGeom prst="rightArrow">
            <a:avLst/>
          </a:prstGeom>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lnSpc>
                <a:spcPct val="90000"/>
              </a:lnSpc>
              <a:buClr>
                <a:schemeClr val="accent1"/>
              </a:buClr>
              <a:defRPr/>
            </a:pPr>
            <a:endParaRPr lang="en-US">
              <a:solidFill>
                <a:srgbClr val="FFFFFF"/>
              </a:solidFill>
              <a:cs typeface="Arial" charset="0"/>
            </a:endParaRPr>
          </a:p>
        </p:txBody>
      </p:sp>
      <p:sp>
        <p:nvSpPr>
          <p:cNvPr id="15" name="Right Arrow 14"/>
          <p:cNvSpPr/>
          <p:nvPr/>
        </p:nvSpPr>
        <p:spPr>
          <a:xfrm>
            <a:off x="2667000" y="4876800"/>
            <a:ext cx="228600" cy="152400"/>
          </a:xfrm>
          <a:prstGeom prst="rightArrow">
            <a:avLst/>
          </a:prstGeom>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lnSpc>
                <a:spcPct val="90000"/>
              </a:lnSpc>
              <a:buClr>
                <a:schemeClr val="accent1"/>
              </a:buClr>
              <a:defRPr/>
            </a:pPr>
            <a:endParaRPr lang="en-US">
              <a:solidFill>
                <a:srgbClr val="FFFFFF"/>
              </a:solidFill>
              <a:cs typeface="Arial" charset="0"/>
            </a:endParaRPr>
          </a:p>
        </p:txBody>
      </p:sp>
      <p:pic>
        <p:nvPicPr>
          <p:cNvPr id="9220" name="Picture 4" descr="http://www.smoothtechnologiesltd.com/IMAGES/NEW%20SMOOTH/software_cd_small.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46706" y="4499769"/>
            <a:ext cx="876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00201" y="4379914"/>
            <a:ext cx="8096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7" descr="Sprint backlog.JP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8802" y="3429002"/>
            <a:ext cx="488770" cy="587208"/>
          </a:xfrm>
          <a:prstGeom prst="rect">
            <a:avLst/>
          </a:prstGeom>
          <a:solidFill>
            <a:schemeClr val="tx2">
              <a:lumMod val="75000"/>
            </a:schemeClr>
          </a:solidFill>
          <a:ln>
            <a:noFill/>
          </a:ln>
          <a:extLst/>
        </p:spPr>
      </p:pic>
      <p:pic>
        <p:nvPicPr>
          <p:cNvPr id="22"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21585" y="4510088"/>
            <a:ext cx="8096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74046" y="3240902"/>
            <a:ext cx="783768" cy="898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87897" y="3601377"/>
            <a:ext cx="688389" cy="789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264353" y="3216294"/>
            <a:ext cx="682354" cy="841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2"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90876" y="4045395"/>
            <a:ext cx="895633" cy="725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4" name="Picture 8" descr="http://www.algozone.com/languages/english/images/buttons/ecommerce-templates-button_dem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20001" y="4343401"/>
            <a:ext cx="46672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27987" y="3377762"/>
            <a:ext cx="735714" cy="843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ectangle 28"/>
          <p:cNvSpPr/>
          <p:nvPr/>
        </p:nvSpPr>
        <p:spPr>
          <a:xfrm>
            <a:off x="2590800" y="5254824"/>
            <a:ext cx="1676400" cy="590931"/>
          </a:xfrm>
          <a:prstGeom prst="rect">
            <a:avLst/>
          </a:prstGeom>
          <a:noFill/>
        </p:spPr>
        <p:txBody>
          <a:bodyPr wrap="squar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eaLnBrk="0" hangingPunct="0">
              <a:lnSpc>
                <a:spcPct val="90000"/>
              </a:lnSpc>
              <a:buClr>
                <a:schemeClr val="accent1"/>
              </a:buClr>
              <a:defRPr/>
            </a:pPr>
            <a:r>
              <a:rPr lang="en-US"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Sprint Planning</a:t>
            </a:r>
          </a:p>
        </p:txBody>
      </p:sp>
      <p:sp>
        <p:nvSpPr>
          <p:cNvPr id="30" name="Rectangle 29"/>
          <p:cNvSpPr/>
          <p:nvPr/>
        </p:nvSpPr>
        <p:spPr>
          <a:xfrm>
            <a:off x="5072740" y="5254823"/>
            <a:ext cx="1556662" cy="590931"/>
          </a:xfrm>
          <a:prstGeom prst="rect">
            <a:avLst/>
          </a:prstGeom>
          <a:noFill/>
        </p:spPr>
        <p:txBody>
          <a:bodyPr wrap="squar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eaLnBrk="0" hangingPunct="0">
              <a:lnSpc>
                <a:spcPct val="90000"/>
              </a:lnSpc>
              <a:buClr>
                <a:schemeClr val="accent1"/>
              </a:buClr>
              <a:defRPr/>
            </a:pPr>
            <a:r>
              <a:rPr lang="en-US"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Daily Standup</a:t>
            </a:r>
          </a:p>
        </p:txBody>
      </p:sp>
      <p:sp>
        <p:nvSpPr>
          <p:cNvPr id="31" name="Rectangle 30"/>
          <p:cNvSpPr/>
          <p:nvPr/>
        </p:nvSpPr>
        <p:spPr>
          <a:xfrm>
            <a:off x="6990922" y="5257800"/>
            <a:ext cx="1128834" cy="590931"/>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eaLnBrk="0" hangingPunct="0">
              <a:lnSpc>
                <a:spcPct val="90000"/>
              </a:lnSpc>
              <a:buClr>
                <a:schemeClr val="accent1"/>
              </a:buClr>
              <a:defRPr/>
            </a:pPr>
            <a:r>
              <a:rPr lang="en-US"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Sprint </a:t>
            </a:r>
          </a:p>
          <a:p>
            <a:pPr algn="ctr" eaLnBrk="0" hangingPunct="0">
              <a:lnSpc>
                <a:spcPct val="90000"/>
              </a:lnSpc>
              <a:buClr>
                <a:schemeClr val="accent1"/>
              </a:buClr>
              <a:defRPr/>
            </a:pPr>
            <a:r>
              <a:rPr lang="en-US"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Review</a:t>
            </a:r>
          </a:p>
        </p:txBody>
      </p:sp>
      <p:sp>
        <p:nvSpPr>
          <p:cNvPr id="32" name="Rectangle 31"/>
          <p:cNvSpPr/>
          <p:nvPr/>
        </p:nvSpPr>
        <p:spPr>
          <a:xfrm>
            <a:off x="8316462" y="5255582"/>
            <a:ext cx="1976823" cy="590931"/>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eaLnBrk="0" hangingPunct="0">
              <a:lnSpc>
                <a:spcPct val="90000"/>
              </a:lnSpc>
              <a:buClr>
                <a:schemeClr val="accent1"/>
              </a:buClr>
              <a:defRPr/>
            </a:pPr>
            <a:r>
              <a:rPr lang="en-US"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Sprint </a:t>
            </a:r>
          </a:p>
          <a:p>
            <a:pPr algn="ctr" eaLnBrk="0" hangingPunct="0">
              <a:lnSpc>
                <a:spcPct val="90000"/>
              </a:lnSpc>
              <a:buClr>
                <a:schemeClr val="accent1"/>
              </a:buClr>
              <a:defRPr/>
            </a:pPr>
            <a:r>
              <a:rPr lang="en-US"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Retrospective</a:t>
            </a:r>
          </a:p>
        </p:txBody>
      </p:sp>
      <p:sp>
        <p:nvSpPr>
          <p:cNvPr id="2" name="Title 1"/>
          <p:cNvSpPr>
            <a:spLocks noGrp="1"/>
          </p:cNvSpPr>
          <p:nvPr>
            <p:ph type="title"/>
          </p:nvPr>
        </p:nvSpPr>
        <p:spPr>
          <a:xfrm>
            <a:off x="2492375" y="436792"/>
            <a:ext cx="9436273" cy="249008"/>
          </a:xfrm>
        </p:spPr>
        <p:txBody>
          <a:bodyPr/>
          <a:lstStyle/>
          <a:p>
            <a:r>
              <a:rPr lang="en-US" sz="1800" b="0" dirty="0"/>
              <a:t>Scrum Ceremonies </a:t>
            </a:r>
            <a:endParaRPr lang="en-US" b="0" dirty="0"/>
          </a:p>
        </p:txBody>
      </p:sp>
      <p:pic>
        <p:nvPicPr>
          <p:cNvPr id="26" name="Picture 2" descr="People Clip Art"/>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48582" y="3257732"/>
            <a:ext cx="440177" cy="758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 descr="People Clip Art"/>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299905" y="3124091"/>
            <a:ext cx="440177" cy="758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Donut 32"/>
          <p:cNvSpPr/>
          <p:nvPr/>
        </p:nvSpPr>
        <p:spPr>
          <a:xfrm>
            <a:off x="6326059" y="1340769"/>
            <a:ext cx="1129891" cy="962025"/>
          </a:xfrm>
          <a:prstGeom prst="donut">
            <a:avLst>
              <a:gd name="adj" fmla="val 6359"/>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lnSpc>
                <a:spcPct val="90000"/>
              </a:lnSpc>
              <a:buClr>
                <a:schemeClr val="accent1"/>
              </a:buClr>
              <a:defRPr/>
            </a:pPr>
            <a:endParaRPr lang="en-US">
              <a:solidFill>
                <a:schemeClr val="tx1"/>
              </a:solidFill>
            </a:endParaRPr>
          </a:p>
        </p:txBody>
      </p:sp>
      <p:pic>
        <p:nvPicPr>
          <p:cNvPr id="34"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68675" y="1032335"/>
            <a:ext cx="961140" cy="110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2" descr="People Clip Art"/>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446261" y="617331"/>
            <a:ext cx="440177" cy="758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Rectangle 35"/>
          <p:cNvSpPr/>
          <p:nvPr/>
        </p:nvSpPr>
        <p:spPr>
          <a:xfrm>
            <a:off x="8488610" y="1623134"/>
            <a:ext cx="1676400" cy="840230"/>
          </a:xfrm>
          <a:prstGeom prst="rect">
            <a:avLst/>
          </a:prstGeom>
          <a:noFill/>
        </p:spPr>
        <p:txBody>
          <a:bodyPr wrap="squar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eaLnBrk="0" hangingPunct="0">
              <a:lnSpc>
                <a:spcPct val="90000"/>
              </a:lnSpc>
              <a:buClr>
                <a:schemeClr val="accent1"/>
              </a:buClr>
              <a:defRPr/>
            </a:pPr>
            <a:r>
              <a:rPr lang="en-US"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Pre-Sprint Planning (</a:t>
            </a:r>
            <a:r>
              <a:rPr lang="en-US" b="1" baseline="-2500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N+1</a:t>
            </a:r>
            <a:r>
              <a:rPr lang="en-US"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a:t>
            </a:r>
          </a:p>
        </p:txBody>
      </p:sp>
      <p:pic>
        <p:nvPicPr>
          <p:cNvPr id="3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02482" y="1668199"/>
            <a:ext cx="8096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Title 1"/>
          <p:cNvSpPr txBox="1">
            <a:spLocks/>
          </p:cNvSpPr>
          <p:nvPr/>
        </p:nvSpPr>
        <p:spPr bwMode="gray">
          <a:xfrm>
            <a:off x="4989673" y="6266256"/>
            <a:ext cx="3097053" cy="249008"/>
          </a:xfrm>
          <a:prstGeom prst="rect">
            <a:avLst/>
          </a:prstGeom>
          <a:noFill/>
        </p:spPr>
        <p:txBody>
          <a:bodyPr vert="horz" wrap="square" lIns="0" tIns="0" rIns="0" bIns="18000" rtlCol="0" anchor="b" anchorCtr="0">
            <a:spAutoFit/>
          </a:bodyPr>
          <a:lstStyle>
            <a:lvl1pPr algn="l" defTabSz="685800" rtl="0" eaLnBrk="1" latinLnBrk="0" hangingPunct="1">
              <a:lnSpc>
                <a:spcPts val="1800"/>
              </a:lnSpc>
              <a:spcBef>
                <a:spcPct val="0"/>
              </a:spcBef>
              <a:buNone/>
              <a:defRPr lang="de-DE" sz="1650" b="1"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en-US" sz="1800" b="0" dirty="0"/>
              <a:t>2-3W Sprint Cadence</a:t>
            </a:r>
            <a:endParaRPr lang="en-US" b="0" dirty="0"/>
          </a:p>
        </p:txBody>
      </p:sp>
      <p:cxnSp>
        <p:nvCxnSpPr>
          <p:cNvPr id="4" name="Straight Arrow Connector 3"/>
          <p:cNvCxnSpPr/>
          <p:nvPr/>
        </p:nvCxnSpPr>
        <p:spPr>
          <a:xfrm flipV="1">
            <a:off x="3057902" y="2174541"/>
            <a:ext cx="3655834" cy="2692175"/>
          </a:xfrm>
          <a:prstGeom prst="straightConnector1">
            <a:avLst/>
          </a:prstGeom>
          <a:ln w="28575" cap="flat" cmpd="dbl" algn="ctr">
            <a:solidFill>
              <a:schemeClr val="accent1">
                <a:alpha val="81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42192827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18312" y="685513"/>
            <a:ext cx="9144000" cy="3158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3505200" y="6031469"/>
            <a:ext cx="5327104" cy="307777"/>
          </a:xfrm>
          <a:prstGeom prst="rect">
            <a:avLst/>
          </a:prstGeom>
        </p:spPr>
        <p:txBody>
          <a:bodyPr wrap="square">
            <a:spAutoFit/>
          </a:bodyPr>
          <a:lstStyle/>
          <a:p>
            <a:r>
              <a:rPr lang="en-US" sz="1400" dirty="0">
                <a:hlinkClick r:id="rId3"/>
              </a:rPr>
              <a:t>https://www.youtube.com/watch?v=tdMCAV6Yd0Y</a:t>
            </a:r>
            <a:endParaRPr lang="en-US" sz="1400" dirty="0"/>
          </a:p>
        </p:txBody>
      </p:sp>
      <p:sp>
        <p:nvSpPr>
          <p:cNvPr id="3" name="Rectangle 2"/>
          <p:cNvSpPr/>
          <p:nvPr/>
        </p:nvSpPr>
        <p:spPr>
          <a:xfrm>
            <a:off x="3537612" y="5628861"/>
            <a:ext cx="5942764" cy="338554"/>
          </a:xfrm>
          <a:prstGeom prst="rect">
            <a:avLst/>
          </a:prstGeom>
        </p:spPr>
        <p:txBody>
          <a:bodyPr wrap="square">
            <a:spAutoFit/>
          </a:bodyPr>
          <a:lstStyle/>
          <a:p>
            <a:r>
              <a:rPr lang="en-US" sz="1600" dirty="0">
                <a:hlinkClick r:id="rId4"/>
              </a:rPr>
              <a:t>https://www.youtube.com/watch?v=SUFsL6o8y5s</a:t>
            </a:r>
            <a:endParaRPr lang="en-US" sz="1600" dirty="0"/>
          </a:p>
        </p:txBody>
      </p:sp>
      <p:sp>
        <p:nvSpPr>
          <p:cNvPr id="4" name="Rectangle 3"/>
          <p:cNvSpPr/>
          <p:nvPr/>
        </p:nvSpPr>
        <p:spPr>
          <a:xfrm>
            <a:off x="3537612" y="6349917"/>
            <a:ext cx="5654732" cy="338554"/>
          </a:xfrm>
          <a:prstGeom prst="rect">
            <a:avLst/>
          </a:prstGeom>
        </p:spPr>
        <p:txBody>
          <a:bodyPr wrap="square">
            <a:spAutoFit/>
          </a:bodyPr>
          <a:lstStyle/>
          <a:p>
            <a:r>
              <a:rPr lang="en-US" sz="1600" dirty="0">
                <a:hlinkClick r:id="rId5"/>
              </a:rPr>
              <a:t>https://www.youtube.com/watch?v=kjVqZkDZrgg</a:t>
            </a:r>
            <a:endParaRPr lang="en-US" sz="1600" dirty="0"/>
          </a:p>
        </p:txBody>
      </p:sp>
      <p:sp>
        <p:nvSpPr>
          <p:cNvPr id="5" name="Rectangle 4"/>
          <p:cNvSpPr/>
          <p:nvPr/>
        </p:nvSpPr>
        <p:spPr>
          <a:xfrm>
            <a:off x="4715353" y="76201"/>
            <a:ext cx="3478837" cy="584775"/>
          </a:xfrm>
          <a:prstGeom prst="rect">
            <a:avLst/>
          </a:prstGeom>
        </p:spPr>
        <p:txBody>
          <a:bodyPr wrap="none">
            <a:spAutoFit/>
          </a:bodyPr>
          <a:lstStyle/>
          <a:p>
            <a:r>
              <a:rPr lang="en-US" sz="3200"/>
              <a:t>All Blacks Haka </a:t>
            </a:r>
          </a:p>
        </p:txBody>
      </p:sp>
      <p:sp>
        <p:nvSpPr>
          <p:cNvPr id="6" name="Rectangle 5"/>
          <p:cNvSpPr/>
          <p:nvPr/>
        </p:nvSpPr>
        <p:spPr>
          <a:xfrm>
            <a:off x="1686661" y="3855060"/>
            <a:ext cx="8991600" cy="1323439"/>
          </a:xfrm>
          <a:prstGeom prst="rect">
            <a:avLst/>
          </a:prstGeom>
        </p:spPr>
        <p:txBody>
          <a:bodyPr wrap="square">
            <a:spAutoFit/>
          </a:bodyPr>
          <a:lstStyle/>
          <a:p>
            <a:r>
              <a:rPr lang="en-US" sz="1600" dirty="0">
                <a:latin typeface="Agency FB" panose="020B0503020202020204" pitchFamily="34" charset="0"/>
              </a:rPr>
              <a:t>The Haka is a traditional Maori dance from New Zealand. There are thousands of Haka that are performed by various tribes and cultural groups throughout New Zealand. The best known Haka of them all is called "</a:t>
            </a:r>
            <a:r>
              <a:rPr lang="en-US" sz="1600" dirty="0" err="1">
                <a:latin typeface="Agency FB" panose="020B0503020202020204" pitchFamily="34" charset="0"/>
              </a:rPr>
              <a:t>Ka</a:t>
            </a:r>
            <a:r>
              <a:rPr lang="en-US" sz="1600" dirty="0">
                <a:latin typeface="Agency FB" panose="020B0503020202020204" pitchFamily="34" charset="0"/>
              </a:rPr>
              <a:t> Mate". This particular haka dates back over 200 years. A warrior chief named </a:t>
            </a:r>
            <a:r>
              <a:rPr lang="en-US" sz="1600" dirty="0" err="1">
                <a:latin typeface="Agency FB" panose="020B0503020202020204" pitchFamily="34" charset="0"/>
              </a:rPr>
              <a:t>Te</a:t>
            </a:r>
            <a:r>
              <a:rPr lang="en-US" sz="1600" dirty="0">
                <a:latin typeface="Agency FB" panose="020B0503020202020204" pitchFamily="34" charset="0"/>
              </a:rPr>
              <a:t> </a:t>
            </a:r>
            <a:r>
              <a:rPr lang="en-US" sz="1600" dirty="0" err="1">
                <a:latin typeface="Agency FB" panose="020B0503020202020204" pitchFamily="34" charset="0"/>
              </a:rPr>
              <a:t>Raupahara</a:t>
            </a:r>
            <a:r>
              <a:rPr lang="en-US" sz="1600" dirty="0">
                <a:latin typeface="Agency FB" panose="020B0503020202020204" pitchFamily="34" charset="0"/>
              </a:rPr>
              <a:t> composed it, having just escaped capture by a tribal rival. It was reflective of his relief and excitement at survival. The words, “</a:t>
            </a:r>
            <a:r>
              <a:rPr lang="en-US" sz="1600" dirty="0" err="1">
                <a:latin typeface="Agency FB" panose="020B0503020202020204" pitchFamily="34" charset="0"/>
              </a:rPr>
              <a:t>ka</a:t>
            </a:r>
            <a:r>
              <a:rPr lang="en-US" sz="1600" dirty="0">
                <a:latin typeface="Agency FB" panose="020B0503020202020204" pitchFamily="34" charset="0"/>
              </a:rPr>
              <a:t> mate, </a:t>
            </a:r>
            <a:r>
              <a:rPr lang="en-US" sz="1600" dirty="0" err="1">
                <a:latin typeface="Agency FB" panose="020B0503020202020204" pitchFamily="34" charset="0"/>
              </a:rPr>
              <a:t>ka</a:t>
            </a:r>
            <a:r>
              <a:rPr lang="en-US" sz="1600" dirty="0">
                <a:latin typeface="Agency FB" panose="020B0503020202020204" pitchFamily="34" charset="0"/>
              </a:rPr>
              <a:t> mate, </a:t>
            </a:r>
            <a:r>
              <a:rPr lang="en-US" sz="1600" dirty="0" err="1">
                <a:latin typeface="Agency FB" panose="020B0503020202020204" pitchFamily="34" charset="0"/>
              </a:rPr>
              <a:t>ka</a:t>
            </a:r>
            <a:r>
              <a:rPr lang="en-US" sz="1600" dirty="0">
                <a:latin typeface="Agency FB" panose="020B0503020202020204" pitchFamily="34" charset="0"/>
              </a:rPr>
              <a:t> </a:t>
            </a:r>
            <a:r>
              <a:rPr lang="en-US" sz="1600" dirty="0" err="1">
                <a:latin typeface="Agency FB" panose="020B0503020202020204" pitchFamily="34" charset="0"/>
              </a:rPr>
              <a:t>ora</a:t>
            </a:r>
            <a:r>
              <a:rPr lang="en-US" sz="1600" dirty="0">
                <a:latin typeface="Agency FB" panose="020B0503020202020204" pitchFamily="34" charset="0"/>
              </a:rPr>
              <a:t>, </a:t>
            </a:r>
            <a:r>
              <a:rPr lang="en-US" sz="1600" dirty="0" err="1">
                <a:latin typeface="Agency FB" panose="020B0503020202020204" pitchFamily="34" charset="0"/>
              </a:rPr>
              <a:t>ka</a:t>
            </a:r>
            <a:r>
              <a:rPr lang="en-US" sz="1600" dirty="0">
                <a:latin typeface="Agency FB" panose="020B0503020202020204" pitchFamily="34" charset="0"/>
              </a:rPr>
              <a:t> </a:t>
            </a:r>
            <a:r>
              <a:rPr lang="en-US" sz="1600" dirty="0" err="1">
                <a:latin typeface="Agency FB" panose="020B0503020202020204" pitchFamily="34" charset="0"/>
              </a:rPr>
              <a:t>ora</a:t>
            </a:r>
            <a:r>
              <a:rPr lang="en-US" sz="1600" dirty="0">
                <a:latin typeface="Agency FB" panose="020B0503020202020204" pitchFamily="34" charset="0"/>
              </a:rPr>
              <a:t>” literally means “I die, I die, I live, I live.” </a:t>
            </a:r>
            <a:r>
              <a:rPr lang="en-US" sz="1600" dirty="0" err="1">
                <a:latin typeface="Agency FB" panose="020B0503020202020204" pitchFamily="34" charset="0"/>
              </a:rPr>
              <a:t>Te</a:t>
            </a:r>
            <a:r>
              <a:rPr lang="en-US" sz="1600" dirty="0">
                <a:latin typeface="Agency FB" panose="020B0503020202020204" pitchFamily="34" charset="0"/>
              </a:rPr>
              <a:t> </a:t>
            </a:r>
            <a:r>
              <a:rPr lang="en-US" sz="1600" dirty="0" err="1">
                <a:latin typeface="Agency FB" panose="020B0503020202020204" pitchFamily="34" charset="0"/>
              </a:rPr>
              <a:t>Raupahara</a:t>
            </a:r>
            <a:r>
              <a:rPr lang="en-US" sz="1600" dirty="0">
                <a:latin typeface="Agency FB" panose="020B0503020202020204" pitchFamily="34" charset="0"/>
              </a:rPr>
              <a:t> became something of a heroic figure as a leader and a warrior and his haka was kept alive after his death.</a:t>
            </a:r>
          </a:p>
        </p:txBody>
      </p:sp>
    </p:spTree>
    <p:extLst>
      <p:ext uri="{BB962C8B-B14F-4D97-AF65-F5344CB8AC3E}">
        <p14:creationId xmlns:p14="http://schemas.microsoft.com/office/powerpoint/2010/main" val="320716971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3"/>
          </p:nvPr>
        </p:nvSpPr>
        <p:spPr/>
        <p:txBody>
          <a:bodyPr/>
          <a:lstStyle/>
          <a:p>
            <a:endParaRPr lang="fr-FR"/>
          </a:p>
        </p:txBody>
      </p:sp>
      <p:sp>
        <p:nvSpPr>
          <p:cNvPr id="3" name="Titre 2"/>
          <p:cNvSpPr>
            <a:spLocks noGrp="1"/>
          </p:cNvSpPr>
          <p:nvPr>
            <p:ph type="title"/>
          </p:nvPr>
        </p:nvSpPr>
        <p:spPr>
          <a:xfrm>
            <a:off x="7296000" y="1772816"/>
            <a:ext cx="4272112" cy="488201"/>
          </a:xfrm>
        </p:spPr>
        <p:txBody>
          <a:bodyPr/>
          <a:lstStyle/>
          <a:p>
            <a:r>
              <a:rPr lang="fr-FR" dirty="0" err="1"/>
              <a:t>Ceremonies</a:t>
            </a:r>
            <a:endParaRPr lang="fr-FR" dirty="0"/>
          </a:p>
        </p:txBody>
      </p:sp>
    </p:spTree>
    <p:extLst>
      <p:ext uri="{BB962C8B-B14F-4D97-AF65-F5344CB8AC3E}">
        <p14:creationId xmlns:p14="http://schemas.microsoft.com/office/powerpoint/2010/main" val="303224843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58</a:t>
            </a:fld>
            <a:endParaRPr lang="en-US" dirty="0"/>
          </a:p>
        </p:txBody>
      </p:sp>
      <p:grpSp>
        <p:nvGrpSpPr>
          <p:cNvPr id="7" name="Group 1"/>
          <p:cNvGrpSpPr>
            <a:grpSpLocks/>
          </p:cNvGrpSpPr>
          <p:nvPr/>
        </p:nvGrpSpPr>
        <p:grpSpPr bwMode="auto">
          <a:xfrm>
            <a:off x="2066925" y="1344589"/>
            <a:ext cx="3105150" cy="1533525"/>
            <a:chOff x="0" y="0"/>
            <a:chExt cx="2608" cy="1288"/>
          </a:xfrm>
        </p:grpSpPr>
        <p:sp>
          <p:nvSpPr>
            <p:cNvPr id="8" name="AutoShape 2"/>
            <p:cNvSpPr>
              <a:spLocks/>
            </p:cNvSpPr>
            <p:nvPr/>
          </p:nvSpPr>
          <p:spPr bwMode="auto">
            <a:xfrm>
              <a:off x="8" y="0"/>
              <a:ext cx="2600" cy="1288"/>
            </a:xfrm>
            <a:prstGeom prst="roundRect">
              <a:avLst>
                <a:gd name="adj" fmla="val 14903"/>
              </a:avLst>
            </a:prstGeom>
            <a:solidFill>
              <a:srgbClr val="E6E6E6"/>
            </a:solidFill>
            <a:ln w="25400">
              <a:solidFill>
                <a:srgbClr val="B3B3B3"/>
              </a:solidFill>
              <a:round/>
              <a:headEnd/>
              <a:tailEnd/>
            </a:ln>
            <a:effectLst>
              <a:outerShdw blurRad="114300" dist="63500" dir="2700000" algn="ctr" rotWithShape="0">
                <a:schemeClr val="bg2">
                  <a:alpha val="29999"/>
                </a:schemeClr>
              </a:outerShdw>
            </a:effectLst>
          </p:spPr>
          <p:txBody>
            <a:bodyPr/>
            <a:lstStyle/>
            <a:p>
              <a:pPr algn="ctr" eaLnBrk="1" hangingPunct="1">
                <a:defRPr/>
              </a:pPr>
              <a:endParaRPr lang="en-US" sz="1350">
                <a:latin typeface="Gill Sans" pitchFamily="80" charset="0"/>
                <a:ea typeface="ヒラギノ角ゴ Pro W3" pitchFamily="80" charset="-128"/>
                <a:sym typeface="Gill Sans" pitchFamily="80" charset="0"/>
              </a:endParaRPr>
            </a:p>
          </p:txBody>
        </p:sp>
        <p:sp>
          <p:nvSpPr>
            <p:cNvPr id="9" name="Rectangle 3"/>
            <p:cNvSpPr>
              <a:spLocks/>
            </p:cNvSpPr>
            <p:nvPr/>
          </p:nvSpPr>
          <p:spPr bwMode="auto">
            <a:xfrm>
              <a:off x="96" y="392"/>
              <a:ext cx="1768" cy="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buClr>
                  <a:srgbClr val="B3B3B3"/>
                </a:buClr>
                <a:buSzPct val="125000"/>
                <a:buFont typeface="Lucida Grande" charset="0"/>
                <a:buChar char="•"/>
              </a:pPr>
              <a:r>
                <a:rPr lang="en-US" altLang="en-US" sz="2100" dirty="0">
                  <a:solidFill>
                    <a:srgbClr val="B3B3B3"/>
                  </a:solidFill>
                </a:rPr>
                <a:t>Product owner</a:t>
              </a:r>
            </a:p>
            <a:p>
              <a:pPr algn="l" eaLnBrk="1" hangingPunct="1">
                <a:buClr>
                  <a:srgbClr val="B3B3B3"/>
                </a:buClr>
                <a:buSzPct val="125000"/>
                <a:buFont typeface="Lucida Grande" charset="0"/>
                <a:buChar char="•"/>
              </a:pPr>
              <a:r>
                <a:rPr lang="en-US" altLang="en-US" sz="2100" dirty="0" err="1">
                  <a:solidFill>
                    <a:srgbClr val="B3B3B3"/>
                  </a:solidFill>
                </a:rPr>
                <a:t>ScrumMaster</a:t>
              </a:r>
              <a:endParaRPr lang="en-US" altLang="en-US" sz="2100" dirty="0">
                <a:solidFill>
                  <a:srgbClr val="B3B3B3"/>
                </a:solidFill>
              </a:endParaRPr>
            </a:p>
            <a:p>
              <a:pPr algn="l" eaLnBrk="1" hangingPunct="1">
                <a:buClr>
                  <a:srgbClr val="B3B3B3"/>
                </a:buClr>
                <a:buSzPct val="125000"/>
                <a:buFont typeface="Lucida Grande" charset="0"/>
                <a:buChar char="•"/>
              </a:pPr>
              <a:r>
                <a:rPr lang="en-US" altLang="en-US" sz="2100" dirty="0">
                  <a:solidFill>
                    <a:srgbClr val="B3B3B3"/>
                  </a:solidFill>
                </a:rPr>
                <a:t>Team</a:t>
              </a:r>
            </a:p>
          </p:txBody>
        </p:sp>
        <p:sp>
          <p:nvSpPr>
            <p:cNvPr id="10" name="Rectangle 4"/>
            <p:cNvSpPr>
              <a:spLocks/>
            </p:cNvSpPr>
            <p:nvPr/>
          </p:nvSpPr>
          <p:spPr bwMode="auto">
            <a:xfrm>
              <a:off x="304" y="0"/>
              <a:ext cx="1200" cy="376"/>
            </a:xfrm>
            <a:prstGeom prst="rect">
              <a:avLst/>
            </a:pr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11" name="AutoShape 5"/>
            <p:cNvSpPr>
              <a:spLocks/>
            </p:cNvSpPr>
            <p:nvPr/>
          </p:nvSpPr>
          <p:spPr bwMode="auto">
            <a:xfrm rot="10800000">
              <a:off x="1432" y="88"/>
              <a:ext cx="312"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12" name="AutoShape 6"/>
            <p:cNvSpPr>
              <a:spLocks/>
            </p:cNvSpPr>
            <p:nvPr/>
          </p:nvSpPr>
          <p:spPr bwMode="auto">
            <a:xfrm>
              <a:off x="0" y="0"/>
              <a:ext cx="312"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13" name="Rectangle 7"/>
            <p:cNvSpPr>
              <a:spLocks/>
            </p:cNvSpPr>
            <p:nvPr/>
          </p:nvSpPr>
          <p:spPr bwMode="auto">
            <a:xfrm>
              <a:off x="0" y="216"/>
              <a:ext cx="392" cy="160"/>
            </a:xfrm>
            <a:prstGeom prst="rect">
              <a:avLst/>
            </a:pr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14" name="Rectangle 8"/>
            <p:cNvSpPr>
              <a:spLocks/>
            </p:cNvSpPr>
            <p:nvPr/>
          </p:nvSpPr>
          <p:spPr bwMode="auto">
            <a:xfrm>
              <a:off x="1352" y="0"/>
              <a:ext cx="392" cy="160"/>
            </a:xfrm>
            <a:prstGeom prst="rect">
              <a:avLst/>
            </a:pr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15" name="Rectangle 9"/>
            <p:cNvSpPr>
              <a:spLocks/>
            </p:cNvSpPr>
            <p:nvPr/>
          </p:nvSpPr>
          <p:spPr bwMode="auto">
            <a:xfrm>
              <a:off x="104" y="8"/>
              <a:ext cx="1336"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r>
                <a:rPr lang="en-US" altLang="en-US" sz="2400">
                  <a:solidFill>
                    <a:srgbClr val="FFFFFF"/>
                  </a:solidFill>
                </a:rPr>
                <a:t>Roles</a:t>
              </a:r>
            </a:p>
          </p:txBody>
        </p:sp>
      </p:grpSp>
      <p:sp>
        <p:nvSpPr>
          <p:cNvPr id="16" name="Rectangle 10"/>
          <p:cNvSpPr>
            <a:spLocks noGrp="1" noChangeArrowheads="1"/>
          </p:cNvSpPr>
          <p:nvPr>
            <p:ph type="title"/>
          </p:nvPr>
        </p:nvSpPr>
        <p:spPr>
          <a:xfrm>
            <a:off x="1990724" y="327793"/>
            <a:ext cx="7096125" cy="249008"/>
          </a:xfrm>
        </p:spPr>
        <p:txBody>
          <a:bodyPr/>
          <a:lstStyle/>
          <a:p>
            <a:pPr eaLnBrk="1" hangingPunct="1">
              <a:defRPr/>
            </a:pPr>
            <a:r>
              <a:rPr lang="en-US" b="0" dirty="0"/>
              <a:t>Scrum framework</a:t>
            </a:r>
          </a:p>
        </p:txBody>
      </p:sp>
      <p:grpSp>
        <p:nvGrpSpPr>
          <p:cNvPr id="17" name="Group 11"/>
          <p:cNvGrpSpPr>
            <a:grpSpLocks/>
          </p:cNvGrpSpPr>
          <p:nvPr/>
        </p:nvGrpSpPr>
        <p:grpSpPr bwMode="auto">
          <a:xfrm>
            <a:off x="5353050" y="4364014"/>
            <a:ext cx="3105150" cy="1533525"/>
            <a:chOff x="0" y="0"/>
            <a:chExt cx="2608" cy="1288"/>
          </a:xfrm>
        </p:grpSpPr>
        <p:sp>
          <p:nvSpPr>
            <p:cNvPr id="18" name="AutoShape 12"/>
            <p:cNvSpPr>
              <a:spLocks/>
            </p:cNvSpPr>
            <p:nvPr/>
          </p:nvSpPr>
          <p:spPr bwMode="auto">
            <a:xfrm>
              <a:off x="8" y="0"/>
              <a:ext cx="2600" cy="1288"/>
            </a:xfrm>
            <a:prstGeom prst="roundRect">
              <a:avLst>
                <a:gd name="adj" fmla="val 14903"/>
              </a:avLst>
            </a:prstGeom>
            <a:solidFill>
              <a:srgbClr val="E6E6E6"/>
            </a:solidFill>
            <a:ln w="25400">
              <a:solidFill>
                <a:srgbClr val="B3B3B3"/>
              </a:solidFill>
              <a:round/>
              <a:headEnd/>
              <a:tailEnd/>
            </a:ln>
            <a:effectLst>
              <a:outerShdw blurRad="114300" dist="63500" dir="2700000" algn="ctr" rotWithShape="0">
                <a:schemeClr val="bg2">
                  <a:alpha val="29999"/>
                </a:schemeClr>
              </a:outerShdw>
            </a:effectLst>
          </p:spPr>
          <p:txBody>
            <a:bodyPr/>
            <a:lstStyle/>
            <a:p>
              <a:pPr algn="ctr" eaLnBrk="1" hangingPunct="1">
                <a:defRPr/>
              </a:pPr>
              <a:endParaRPr lang="en-US" sz="1350">
                <a:latin typeface="Gill Sans" pitchFamily="80" charset="0"/>
                <a:ea typeface="ヒラギノ角ゴ Pro W3" pitchFamily="80" charset="-128"/>
                <a:sym typeface="Gill Sans" pitchFamily="80" charset="0"/>
              </a:endParaRPr>
            </a:p>
          </p:txBody>
        </p:sp>
        <p:sp>
          <p:nvSpPr>
            <p:cNvPr id="19" name="Rectangle 13"/>
            <p:cNvSpPr>
              <a:spLocks/>
            </p:cNvSpPr>
            <p:nvPr/>
          </p:nvSpPr>
          <p:spPr bwMode="auto">
            <a:xfrm>
              <a:off x="96" y="392"/>
              <a:ext cx="2376" cy="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buClr>
                  <a:srgbClr val="B3B3B3"/>
                </a:buClr>
                <a:buSzPct val="125000"/>
                <a:buFont typeface="Lucida Grande" charset="0"/>
                <a:buChar char="•"/>
              </a:pPr>
              <a:r>
                <a:rPr lang="en-US" altLang="en-US" sz="2100">
                  <a:solidFill>
                    <a:srgbClr val="B3B3B3"/>
                  </a:solidFill>
                </a:rPr>
                <a:t>Product backlog</a:t>
              </a:r>
            </a:p>
            <a:p>
              <a:pPr algn="l" eaLnBrk="1" hangingPunct="1">
                <a:buClr>
                  <a:srgbClr val="B3B3B3"/>
                </a:buClr>
                <a:buSzPct val="125000"/>
                <a:buFont typeface="Lucida Grande" charset="0"/>
                <a:buChar char="•"/>
              </a:pPr>
              <a:r>
                <a:rPr lang="en-US" altLang="en-US" sz="2100">
                  <a:solidFill>
                    <a:srgbClr val="B3B3B3"/>
                  </a:solidFill>
                </a:rPr>
                <a:t>Sprint backlog</a:t>
              </a:r>
            </a:p>
            <a:p>
              <a:pPr algn="l" eaLnBrk="1" hangingPunct="1">
                <a:buClr>
                  <a:srgbClr val="B3B3B3"/>
                </a:buClr>
                <a:buSzPct val="125000"/>
                <a:buFont typeface="Lucida Grande" charset="0"/>
                <a:buChar char="•"/>
              </a:pPr>
              <a:r>
                <a:rPr lang="en-US" altLang="en-US" sz="2100">
                  <a:solidFill>
                    <a:srgbClr val="B3B3B3"/>
                  </a:solidFill>
                </a:rPr>
                <a:t>Burndown charts</a:t>
              </a:r>
            </a:p>
          </p:txBody>
        </p:sp>
        <p:sp>
          <p:nvSpPr>
            <p:cNvPr id="20" name="Rectangle 14"/>
            <p:cNvSpPr>
              <a:spLocks/>
            </p:cNvSpPr>
            <p:nvPr/>
          </p:nvSpPr>
          <p:spPr bwMode="auto">
            <a:xfrm>
              <a:off x="304" y="0"/>
              <a:ext cx="1200" cy="376"/>
            </a:xfrm>
            <a:prstGeom prst="rect">
              <a:avLst/>
            </a:pr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21" name="AutoShape 15"/>
            <p:cNvSpPr>
              <a:spLocks/>
            </p:cNvSpPr>
            <p:nvPr/>
          </p:nvSpPr>
          <p:spPr bwMode="auto">
            <a:xfrm rot="10800000">
              <a:off x="1432" y="88"/>
              <a:ext cx="312"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22" name="AutoShape 16"/>
            <p:cNvSpPr>
              <a:spLocks/>
            </p:cNvSpPr>
            <p:nvPr/>
          </p:nvSpPr>
          <p:spPr bwMode="auto">
            <a:xfrm>
              <a:off x="0" y="0"/>
              <a:ext cx="312"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23" name="Rectangle 17"/>
            <p:cNvSpPr>
              <a:spLocks/>
            </p:cNvSpPr>
            <p:nvPr/>
          </p:nvSpPr>
          <p:spPr bwMode="auto">
            <a:xfrm>
              <a:off x="0" y="216"/>
              <a:ext cx="392" cy="160"/>
            </a:xfrm>
            <a:prstGeom prst="rect">
              <a:avLst/>
            </a:pr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24" name="Rectangle 18"/>
            <p:cNvSpPr>
              <a:spLocks/>
            </p:cNvSpPr>
            <p:nvPr/>
          </p:nvSpPr>
          <p:spPr bwMode="auto">
            <a:xfrm>
              <a:off x="1352" y="0"/>
              <a:ext cx="392" cy="160"/>
            </a:xfrm>
            <a:prstGeom prst="rect">
              <a:avLst/>
            </a:pr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25" name="Rectangle 19"/>
            <p:cNvSpPr>
              <a:spLocks/>
            </p:cNvSpPr>
            <p:nvPr/>
          </p:nvSpPr>
          <p:spPr bwMode="auto">
            <a:xfrm>
              <a:off x="104" y="8"/>
              <a:ext cx="1336"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r>
                <a:rPr lang="en-US" altLang="en-US" sz="2400">
                  <a:solidFill>
                    <a:srgbClr val="FFFFFF"/>
                  </a:solidFill>
                </a:rPr>
                <a:t>Artifacts</a:t>
              </a:r>
            </a:p>
          </p:txBody>
        </p:sp>
      </p:grpSp>
      <p:grpSp>
        <p:nvGrpSpPr>
          <p:cNvPr id="26" name="Group 20"/>
          <p:cNvGrpSpPr>
            <a:grpSpLocks/>
          </p:cNvGrpSpPr>
          <p:nvPr/>
        </p:nvGrpSpPr>
        <p:grpSpPr bwMode="auto">
          <a:xfrm>
            <a:off x="3990975" y="2649514"/>
            <a:ext cx="3105150" cy="1895475"/>
            <a:chOff x="0" y="0"/>
            <a:chExt cx="2608" cy="1592"/>
          </a:xfrm>
        </p:grpSpPr>
        <p:sp>
          <p:nvSpPr>
            <p:cNvPr id="27" name="AutoShape 21"/>
            <p:cNvSpPr>
              <a:spLocks/>
            </p:cNvSpPr>
            <p:nvPr/>
          </p:nvSpPr>
          <p:spPr bwMode="auto">
            <a:xfrm>
              <a:off x="8" y="0"/>
              <a:ext cx="2600" cy="1592"/>
            </a:xfrm>
            <a:prstGeom prst="roundRect">
              <a:avLst>
                <a:gd name="adj" fmla="val 12060"/>
              </a:avLst>
            </a:prstGeom>
            <a:blipFill dpi="0" rotWithShape="0">
              <a:blip r:embed="rId2"/>
              <a:srcRect/>
              <a:tile tx="0" ty="0" sx="100000" sy="100000" flip="none" algn="tl"/>
            </a:blipFill>
            <a:ln w="25400">
              <a:solidFill>
                <a:srgbClr val="003C83"/>
              </a:solidFill>
              <a:round/>
              <a:headEnd/>
              <a:tailEnd/>
            </a:ln>
            <a:effectLst>
              <a:outerShdw blurRad="114300" dist="63500" dir="2700000" algn="ctr" rotWithShape="0">
                <a:schemeClr val="bg2">
                  <a:alpha val="29999"/>
                </a:schemeClr>
              </a:outerShdw>
            </a:effectLst>
          </p:spPr>
          <p:txBody>
            <a:bodyPr/>
            <a:lstStyle/>
            <a:p>
              <a:pPr algn="ctr" eaLnBrk="1" hangingPunct="1">
                <a:defRPr/>
              </a:pPr>
              <a:endParaRPr lang="en-US" sz="1350">
                <a:latin typeface="Gill Sans" pitchFamily="80" charset="0"/>
                <a:ea typeface="ヒラギノ角ゴ Pro W3" pitchFamily="80" charset="-128"/>
                <a:sym typeface="Gill Sans" pitchFamily="80" charset="0"/>
              </a:endParaRPr>
            </a:p>
          </p:txBody>
        </p:sp>
        <p:sp>
          <p:nvSpPr>
            <p:cNvPr id="28" name="Rectangle 22"/>
            <p:cNvSpPr>
              <a:spLocks/>
            </p:cNvSpPr>
            <p:nvPr/>
          </p:nvSpPr>
          <p:spPr bwMode="auto">
            <a:xfrm>
              <a:off x="96" y="392"/>
              <a:ext cx="2320" cy="1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buClr>
                  <a:srgbClr val="FFFFFF"/>
                </a:buClr>
                <a:buSzPct val="125000"/>
                <a:buFont typeface="Gill Sans" charset="0"/>
                <a:buChar char="•"/>
              </a:pPr>
              <a:r>
                <a:rPr lang="en-US" altLang="en-US" sz="2100">
                  <a:solidFill>
                    <a:srgbClr val="FFFFFF"/>
                  </a:solidFill>
                </a:rPr>
                <a:t>Sprint planning</a:t>
              </a:r>
            </a:p>
            <a:p>
              <a:pPr algn="l" eaLnBrk="1" hangingPunct="1">
                <a:buClr>
                  <a:srgbClr val="FFFFFF"/>
                </a:buClr>
                <a:buSzPct val="125000"/>
                <a:buFont typeface="Gill Sans" charset="0"/>
                <a:buChar char="•"/>
              </a:pPr>
              <a:r>
                <a:rPr lang="en-US" altLang="en-US" sz="2100">
                  <a:solidFill>
                    <a:srgbClr val="FFFFFF"/>
                  </a:solidFill>
                </a:rPr>
                <a:t>Sprint review</a:t>
              </a:r>
            </a:p>
            <a:p>
              <a:pPr algn="l" eaLnBrk="1" hangingPunct="1">
                <a:buClr>
                  <a:srgbClr val="FFFFFF"/>
                </a:buClr>
                <a:buSzPct val="125000"/>
                <a:buFont typeface="Gill Sans" charset="0"/>
                <a:buChar char="•"/>
              </a:pPr>
              <a:r>
                <a:rPr lang="en-US" altLang="en-US" sz="2100">
                  <a:solidFill>
                    <a:srgbClr val="FFFFFF"/>
                  </a:solidFill>
                </a:rPr>
                <a:t>Sprint retrospective</a:t>
              </a:r>
            </a:p>
            <a:p>
              <a:pPr algn="l" eaLnBrk="1" hangingPunct="1">
                <a:buClr>
                  <a:srgbClr val="FFFFFF"/>
                </a:buClr>
                <a:buSzPct val="125000"/>
                <a:buFont typeface="Gill Sans" charset="0"/>
                <a:buChar char="•"/>
              </a:pPr>
              <a:r>
                <a:rPr lang="en-US" altLang="en-US" sz="2100">
                  <a:solidFill>
                    <a:srgbClr val="FFFFFF"/>
                  </a:solidFill>
                </a:rPr>
                <a:t>Daily scrum meeting</a:t>
              </a:r>
            </a:p>
          </p:txBody>
        </p:sp>
        <p:sp>
          <p:nvSpPr>
            <p:cNvPr id="29" name="Rectangle 23"/>
            <p:cNvSpPr>
              <a:spLocks/>
            </p:cNvSpPr>
            <p:nvPr/>
          </p:nvSpPr>
          <p:spPr bwMode="auto">
            <a:xfrm>
              <a:off x="304" y="0"/>
              <a:ext cx="1200" cy="376"/>
            </a:xfrm>
            <a:prstGeom prst="rect">
              <a:avLst/>
            </a:pr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30" name="AutoShape 24"/>
            <p:cNvSpPr>
              <a:spLocks/>
            </p:cNvSpPr>
            <p:nvPr/>
          </p:nvSpPr>
          <p:spPr bwMode="auto">
            <a:xfrm rot="10800000">
              <a:off x="1432" y="88"/>
              <a:ext cx="312"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31" name="AutoShape 25"/>
            <p:cNvSpPr>
              <a:spLocks/>
            </p:cNvSpPr>
            <p:nvPr/>
          </p:nvSpPr>
          <p:spPr bwMode="auto">
            <a:xfrm>
              <a:off x="0" y="0"/>
              <a:ext cx="312"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32" name="Rectangle 26"/>
            <p:cNvSpPr>
              <a:spLocks/>
            </p:cNvSpPr>
            <p:nvPr/>
          </p:nvSpPr>
          <p:spPr bwMode="auto">
            <a:xfrm>
              <a:off x="0" y="216"/>
              <a:ext cx="392" cy="160"/>
            </a:xfrm>
            <a:prstGeom prst="rect">
              <a:avLst/>
            </a:pr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33" name="Rectangle 27"/>
            <p:cNvSpPr>
              <a:spLocks/>
            </p:cNvSpPr>
            <p:nvPr/>
          </p:nvSpPr>
          <p:spPr bwMode="auto">
            <a:xfrm>
              <a:off x="1352" y="0"/>
              <a:ext cx="392" cy="160"/>
            </a:xfrm>
            <a:prstGeom prst="rect">
              <a:avLst/>
            </a:pr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34" name="Rectangle 28"/>
            <p:cNvSpPr>
              <a:spLocks/>
            </p:cNvSpPr>
            <p:nvPr/>
          </p:nvSpPr>
          <p:spPr bwMode="auto">
            <a:xfrm>
              <a:off x="104" y="8"/>
              <a:ext cx="1640"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r>
                <a:rPr lang="en-US" altLang="en-US" sz="2400">
                  <a:solidFill>
                    <a:srgbClr val="FFFFFF"/>
                  </a:solidFill>
                </a:rPr>
                <a:t>Ceremonies</a:t>
              </a:r>
            </a:p>
          </p:txBody>
        </p:sp>
      </p:grpSp>
    </p:spTree>
    <p:extLst>
      <p:ext uri="{BB962C8B-B14F-4D97-AF65-F5344CB8AC3E}">
        <p14:creationId xmlns:p14="http://schemas.microsoft.com/office/powerpoint/2010/main" val="22778061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59</a:t>
            </a:fld>
            <a:endParaRPr lang="en-US" dirty="0"/>
          </a:p>
        </p:txBody>
      </p:sp>
      <p:sp>
        <p:nvSpPr>
          <p:cNvPr id="7" name="AutoShape 1"/>
          <p:cNvSpPr>
            <a:spLocks/>
          </p:cNvSpPr>
          <p:nvPr/>
        </p:nvSpPr>
        <p:spPr bwMode="auto">
          <a:xfrm>
            <a:off x="4024741" y="1268760"/>
            <a:ext cx="3819525" cy="4514850"/>
          </a:xfrm>
          <a:prstGeom prst="roundRect">
            <a:avLst>
              <a:gd name="adj" fmla="val 5981"/>
            </a:avLst>
          </a:prstGeom>
          <a:blipFill dpi="0" rotWithShape="0">
            <a:blip r:embed="rId2"/>
            <a:srcRect/>
            <a:tile tx="0" ty="0" sx="100000" sy="100000" flip="none" algn="tl"/>
          </a:blipFill>
          <a:ln w="25400">
            <a:solidFill>
              <a:srgbClr val="003C83"/>
            </a:solidFill>
            <a:round/>
            <a:headEnd/>
            <a:tailEnd/>
          </a:ln>
          <a:effectLst>
            <a:outerShdw blurRad="114300" dist="63500" dir="2700000" algn="ctr" rotWithShape="0">
              <a:schemeClr val="bg2">
                <a:alpha val="29999"/>
              </a:schemeClr>
            </a:outerShdw>
          </a:effectLst>
        </p:spPr>
        <p:txBody>
          <a:bodyPr/>
          <a:lstStyle/>
          <a:p>
            <a:pPr algn="ctr" eaLnBrk="1" hangingPunct="1">
              <a:defRPr/>
            </a:pPr>
            <a:endParaRPr lang="en-US" sz="1350">
              <a:latin typeface="Gill Sans" pitchFamily="80" charset="0"/>
              <a:ea typeface="ヒラギノ角ゴ Pro W3" pitchFamily="80" charset="-128"/>
              <a:sym typeface="Gill Sans" pitchFamily="80" charset="0"/>
            </a:endParaRPr>
          </a:p>
        </p:txBody>
      </p:sp>
      <p:sp>
        <p:nvSpPr>
          <p:cNvPr id="8" name="Rectangle 2"/>
          <p:cNvSpPr>
            <a:spLocks/>
          </p:cNvSpPr>
          <p:nvPr/>
        </p:nvSpPr>
        <p:spPr bwMode="auto">
          <a:xfrm>
            <a:off x="4377166" y="1268761"/>
            <a:ext cx="2619375" cy="447675"/>
          </a:xfrm>
          <a:prstGeom prst="rect">
            <a:avLst/>
          </a:pr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9" name="AutoShape 3"/>
          <p:cNvSpPr>
            <a:spLocks/>
          </p:cNvSpPr>
          <p:nvPr/>
        </p:nvSpPr>
        <p:spPr bwMode="auto">
          <a:xfrm>
            <a:off x="4015216" y="1268760"/>
            <a:ext cx="371475" cy="342900"/>
          </a:xfrm>
          <a:custGeom>
            <a:avLst/>
            <a:gdLst>
              <a:gd name="T0" fmla="*/ 2147483646 w 21600"/>
              <a:gd name="T1" fmla="*/ 13048806 h 21600"/>
              <a:gd name="T2" fmla="*/ 3870494 w 21600"/>
              <a:gd name="T3" fmla="*/ 2147483646 h 21600"/>
              <a:gd name="T4" fmla="*/ 0 w 21600"/>
              <a:gd name="T5" fmla="*/ 2147483646 h 21600"/>
              <a:gd name="T6" fmla="*/ 2147483646 w 21600"/>
              <a:gd name="T7" fmla="*/ 2147483646 h 21600"/>
              <a:gd name="T8" fmla="*/ 2147483646 w 21600"/>
              <a:gd name="T9" fmla="*/ 0 h 21600"/>
              <a:gd name="T10" fmla="*/ 2147483646 w 21600"/>
              <a:gd name="T11" fmla="*/ 13048806 h 21600"/>
              <a:gd name="T12" fmla="*/ 2147483646 w 21600"/>
              <a:gd name="T13" fmla="*/ 13048806 h 21600"/>
              <a:gd name="T14" fmla="*/ 2147483646 w 21600"/>
              <a:gd name="T15" fmla="*/ 13048806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10" name="Rectangle 4"/>
          <p:cNvSpPr>
            <a:spLocks/>
          </p:cNvSpPr>
          <p:nvPr/>
        </p:nvSpPr>
        <p:spPr bwMode="auto">
          <a:xfrm>
            <a:off x="4015216" y="1525935"/>
            <a:ext cx="466725" cy="190500"/>
          </a:xfrm>
          <a:prstGeom prst="rect">
            <a:avLst/>
          </a:pr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grpSp>
        <p:nvGrpSpPr>
          <p:cNvPr id="11" name="Group 5"/>
          <p:cNvGrpSpPr>
            <a:grpSpLocks/>
          </p:cNvGrpSpPr>
          <p:nvPr/>
        </p:nvGrpSpPr>
        <p:grpSpPr bwMode="auto">
          <a:xfrm>
            <a:off x="6853666" y="1268761"/>
            <a:ext cx="466725" cy="447675"/>
            <a:chOff x="0" y="0"/>
            <a:chExt cx="392" cy="376"/>
          </a:xfrm>
        </p:grpSpPr>
        <p:sp>
          <p:nvSpPr>
            <p:cNvPr id="12" name="AutoShape 6"/>
            <p:cNvSpPr>
              <a:spLocks/>
            </p:cNvSpPr>
            <p:nvPr/>
          </p:nvSpPr>
          <p:spPr bwMode="auto">
            <a:xfrm rot="10800000">
              <a:off x="80" y="88"/>
              <a:ext cx="312"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13" name="Rectangle 7"/>
            <p:cNvSpPr>
              <a:spLocks/>
            </p:cNvSpPr>
            <p:nvPr/>
          </p:nvSpPr>
          <p:spPr bwMode="auto">
            <a:xfrm>
              <a:off x="0" y="0"/>
              <a:ext cx="392" cy="160"/>
            </a:xfrm>
            <a:prstGeom prst="rect">
              <a:avLst/>
            </a:pr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grpSp>
      <p:sp>
        <p:nvSpPr>
          <p:cNvPr id="14" name="Rectangle 8"/>
          <p:cNvSpPr>
            <a:spLocks/>
          </p:cNvSpPr>
          <p:nvPr/>
        </p:nvSpPr>
        <p:spPr bwMode="auto">
          <a:xfrm>
            <a:off x="4139040" y="1268760"/>
            <a:ext cx="31813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r>
              <a:rPr lang="en-US" altLang="en-US" sz="2100">
                <a:solidFill>
                  <a:srgbClr val="FFFFFF"/>
                </a:solidFill>
              </a:rPr>
              <a:t>Sprint planning meeting</a:t>
            </a:r>
          </a:p>
        </p:txBody>
      </p:sp>
      <p:grpSp>
        <p:nvGrpSpPr>
          <p:cNvPr id="15" name="Group 9"/>
          <p:cNvGrpSpPr>
            <a:grpSpLocks/>
          </p:cNvGrpSpPr>
          <p:nvPr/>
        </p:nvGrpSpPr>
        <p:grpSpPr bwMode="auto">
          <a:xfrm>
            <a:off x="4215241" y="1868836"/>
            <a:ext cx="3495675" cy="1400175"/>
            <a:chOff x="0" y="0"/>
            <a:chExt cx="2936" cy="1176"/>
          </a:xfrm>
        </p:grpSpPr>
        <p:sp>
          <p:nvSpPr>
            <p:cNvPr id="16" name="AutoShape 10"/>
            <p:cNvSpPr>
              <a:spLocks/>
            </p:cNvSpPr>
            <p:nvPr/>
          </p:nvSpPr>
          <p:spPr bwMode="auto">
            <a:xfrm>
              <a:off x="0" y="0"/>
              <a:ext cx="2936" cy="1176"/>
            </a:xfrm>
            <a:prstGeom prst="roundRect">
              <a:avLst>
                <a:gd name="adj" fmla="val 16324"/>
              </a:avLst>
            </a:prstGeom>
            <a:blipFill dpi="0" rotWithShape="0">
              <a:blip r:embed="rId3"/>
              <a:srcRect/>
              <a:tile tx="0" ty="0" sx="100000" sy="100000" flip="none" algn="tl"/>
            </a:blipFill>
            <a:ln w="25400">
              <a:solidFill>
                <a:srgbClr val="00531C"/>
              </a:solidFill>
              <a:round/>
              <a:headEnd/>
              <a:tailEnd/>
            </a:ln>
            <a:effectLst>
              <a:outerShdw blurRad="114300" dist="63500" dir="2700000" algn="ctr" rotWithShape="0">
                <a:schemeClr val="bg2">
                  <a:alpha val="29999"/>
                </a:schemeClr>
              </a:outerShdw>
            </a:effectLst>
          </p:spPr>
          <p:txBody>
            <a:bodyPr/>
            <a:lstStyle/>
            <a:p>
              <a:pPr algn="ctr" eaLnBrk="1" hangingPunct="1">
                <a:defRPr/>
              </a:pPr>
              <a:endParaRPr lang="en-US" sz="1350">
                <a:latin typeface="Gill Sans" pitchFamily="80" charset="0"/>
                <a:ea typeface="ヒラギノ角ゴ Pro W3" pitchFamily="80" charset="-128"/>
                <a:sym typeface="Gill Sans" pitchFamily="80" charset="0"/>
              </a:endParaRPr>
            </a:p>
          </p:txBody>
        </p:sp>
        <p:sp>
          <p:nvSpPr>
            <p:cNvPr id="17" name="Rectangle 11"/>
            <p:cNvSpPr>
              <a:spLocks/>
            </p:cNvSpPr>
            <p:nvPr/>
          </p:nvSpPr>
          <p:spPr bwMode="auto">
            <a:xfrm>
              <a:off x="304" y="0"/>
              <a:ext cx="1432" cy="288"/>
            </a:xfrm>
            <a:prstGeom prst="rect">
              <a:avLst/>
            </a:prstGeom>
            <a:solidFill>
              <a:srgbClr val="00531C"/>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18" name="AutoShape 12"/>
            <p:cNvSpPr>
              <a:spLocks/>
            </p:cNvSpPr>
            <p:nvPr/>
          </p:nvSpPr>
          <p:spPr bwMode="auto">
            <a:xfrm rot="10800000">
              <a:off x="1656" y="0"/>
              <a:ext cx="312"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531C"/>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19" name="AutoShape 13"/>
            <p:cNvSpPr>
              <a:spLocks/>
            </p:cNvSpPr>
            <p:nvPr/>
          </p:nvSpPr>
          <p:spPr bwMode="auto">
            <a:xfrm>
              <a:off x="0" y="0"/>
              <a:ext cx="312"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531C"/>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20" name="Rectangle 14"/>
            <p:cNvSpPr>
              <a:spLocks/>
            </p:cNvSpPr>
            <p:nvPr/>
          </p:nvSpPr>
          <p:spPr bwMode="auto">
            <a:xfrm>
              <a:off x="104" y="0"/>
              <a:ext cx="1864"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r>
                <a:rPr lang="en-US" altLang="en-US" sz="1800">
                  <a:solidFill>
                    <a:srgbClr val="FFFFFF"/>
                  </a:solidFill>
                </a:rPr>
                <a:t>Sprint prioritization</a:t>
              </a:r>
            </a:p>
          </p:txBody>
        </p:sp>
        <p:sp>
          <p:nvSpPr>
            <p:cNvPr id="21" name="Rectangle 15"/>
            <p:cNvSpPr>
              <a:spLocks/>
            </p:cNvSpPr>
            <p:nvPr/>
          </p:nvSpPr>
          <p:spPr bwMode="auto">
            <a:xfrm>
              <a:off x="40" y="336"/>
              <a:ext cx="2720" cy="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marL="280988" indent="-280988"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buClr>
                  <a:srgbClr val="FFFFFF"/>
                </a:buClr>
                <a:buSzPct val="125000"/>
                <a:buFont typeface="Gill Sans" charset="0"/>
                <a:buChar char="•"/>
              </a:pPr>
              <a:r>
                <a:rPr lang="en-US" altLang="en-US" sz="1725">
                  <a:solidFill>
                    <a:srgbClr val="FFFFFF"/>
                  </a:solidFill>
                </a:rPr>
                <a:t>Analyze and evaluate product backlog</a:t>
              </a:r>
            </a:p>
            <a:p>
              <a:pPr algn="l" eaLnBrk="1" hangingPunct="1">
                <a:buClr>
                  <a:srgbClr val="FFFFFF"/>
                </a:buClr>
                <a:buSzPct val="125000"/>
                <a:buFont typeface="Gill Sans" charset="0"/>
                <a:buChar char="•"/>
              </a:pPr>
              <a:r>
                <a:rPr lang="en-US" altLang="en-US" sz="1725">
                  <a:solidFill>
                    <a:srgbClr val="FFFFFF"/>
                  </a:solidFill>
                </a:rPr>
                <a:t>Select sprint goal</a:t>
              </a:r>
            </a:p>
          </p:txBody>
        </p:sp>
      </p:grpSp>
      <p:grpSp>
        <p:nvGrpSpPr>
          <p:cNvPr id="22" name="Group 16"/>
          <p:cNvGrpSpPr>
            <a:grpSpLocks/>
          </p:cNvGrpSpPr>
          <p:nvPr/>
        </p:nvGrpSpPr>
        <p:grpSpPr bwMode="auto">
          <a:xfrm>
            <a:off x="4215241" y="3402361"/>
            <a:ext cx="3495675" cy="2324100"/>
            <a:chOff x="0" y="0"/>
            <a:chExt cx="2936" cy="1952"/>
          </a:xfrm>
        </p:grpSpPr>
        <p:sp>
          <p:nvSpPr>
            <p:cNvPr id="23" name="AutoShape 17"/>
            <p:cNvSpPr>
              <a:spLocks/>
            </p:cNvSpPr>
            <p:nvPr/>
          </p:nvSpPr>
          <p:spPr bwMode="auto">
            <a:xfrm>
              <a:off x="0" y="0"/>
              <a:ext cx="2936" cy="1848"/>
            </a:xfrm>
            <a:prstGeom prst="roundRect">
              <a:avLst>
                <a:gd name="adj" fmla="val 10389"/>
              </a:avLst>
            </a:prstGeom>
            <a:blipFill dpi="0" rotWithShape="0">
              <a:blip r:embed="rId3"/>
              <a:srcRect/>
              <a:tile tx="0" ty="0" sx="100000" sy="100000" flip="none" algn="tl"/>
            </a:blipFill>
            <a:ln w="25400">
              <a:solidFill>
                <a:srgbClr val="00531C"/>
              </a:solidFill>
              <a:round/>
              <a:headEnd/>
              <a:tailEnd/>
            </a:ln>
            <a:effectLst>
              <a:outerShdw blurRad="114300" dist="63500" dir="2700000" algn="ctr" rotWithShape="0">
                <a:schemeClr val="bg2">
                  <a:alpha val="29999"/>
                </a:schemeClr>
              </a:outerShdw>
            </a:effectLst>
          </p:spPr>
          <p:txBody>
            <a:bodyPr/>
            <a:lstStyle/>
            <a:p>
              <a:pPr algn="ctr" eaLnBrk="1" hangingPunct="1">
                <a:defRPr/>
              </a:pPr>
              <a:endParaRPr lang="en-US" sz="1350">
                <a:latin typeface="Gill Sans" pitchFamily="80" charset="0"/>
                <a:ea typeface="ヒラギノ角ゴ Pro W3" pitchFamily="80" charset="-128"/>
                <a:sym typeface="Gill Sans" pitchFamily="80" charset="0"/>
              </a:endParaRPr>
            </a:p>
          </p:txBody>
        </p:sp>
        <p:sp>
          <p:nvSpPr>
            <p:cNvPr id="24" name="Rectangle 18"/>
            <p:cNvSpPr>
              <a:spLocks/>
            </p:cNvSpPr>
            <p:nvPr/>
          </p:nvSpPr>
          <p:spPr bwMode="auto">
            <a:xfrm>
              <a:off x="304" y="0"/>
              <a:ext cx="1432" cy="288"/>
            </a:xfrm>
            <a:prstGeom prst="rect">
              <a:avLst/>
            </a:prstGeom>
            <a:solidFill>
              <a:srgbClr val="00531C"/>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25" name="AutoShape 19"/>
            <p:cNvSpPr>
              <a:spLocks/>
            </p:cNvSpPr>
            <p:nvPr/>
          </p:nvSpPr>
          <p:spPr bwMode="auto">
            <a:xfrm rot="10800000">
              <a:off x="1656" y="0"/>
              <a:ext cx="312"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531C"/>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26" name="AutoShape 20"/>
            <p:cNvSpPr>
              <a:spLocks/>
            </p:cNvSpPr>
            <p:nvPr/>
          </p:nvSpPr>
          <p:spPr bwMode="auto">
            <a:xfrm>
              <a:off x="0" y="0"/>
              <a:ext cx="312"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531C"/>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27" name="Rectangle 21"/>
            <p:cNvSpPr>
              <a:spLocks/>
            </p:cNvSpPr>
            <p:nvPr/>
          </p:nvSpPr>
          <p:spPr bwMode="auto">
            <a:xfrm>
              <a:off x="104" y="0"/>
              <a:ext cx="160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r>
                <a:rPr lang="en-US" altLang="en-US" sz="1800">
                  <a:solidFill>
                    <a:srgbClr val="FFFFFF"/>
                  </a:solidFill>
                </a:rPr>
                <a:t>Sprint planning</a:t>
              </a:r>
            </a:p>
          </p:txBody>
        </p:sp>
        <p:sp>
          <p:nvSpPr>
            <p:cNvPr id="28" name="Rectangle 22"/>
            <p:cNvSpPr>
              <a:spLocks/>
            </p:cNvSpPr>
            <p:nvPr/>
          </p:nvSpPr>
          <p:spPr bwMode="auto">
            <a:xfrm>
              <a:off x="40" y="336"/>
              <a:ext cx="289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marL="280988" indent="-280988"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buClr>
                  <a:srgbClr val="FFFFFF"/>
                </a:buClr>
                <a:buSzPct val="125000"/>
                <a:buFont typeface="Gill Sans" charset="0"/>
                <a:buChar char="•"/>
              </a:pPr>
              <a:r>
                <a:rPr lang="en-US" altLang="en-US" sz="1600" dirty="0">
                  <a:solidFill>
                    <a:srgbClr val="FFFFFF"/>
                  </a:solidFill>
                </a:rPr>
                <a:t>Decide how to achieve sprint goal (design)</a:t>
              </a:r>
            </a:p>
            <a:p>
              <a:pPr algn="l" eaLnBrk="1" hangingPunct="1">
                <a:buClr>
                  <a:srgbClr val="FFFFFF"/>
                </a:buClr>
                <a:buSzPct val="125000"/>
                <a:buFont typeface="Gill Sans" charset="0"/>
                <a:buChar char="•"/>
              </a:pPr>
              <a:r>
                <a:rPr lang="en-US" altLang="en-US" sz="1600" dirty="0">
                  <a:solidFill>
                    <a:srgbClr val="FFFFFF"/>
                  </a:solidFill>
                </a:rPr>
                <a:t>Create sprint backlog (tasks) from product backlog items (user stories / features)</a:t>
              </a:r>
            </a:p>
            <a:p>
              <a:pPr algn="l" eaLnBrk="1" hangingPunct="1">
                <a:buClr>
                  <a:srgbClr val="FFFFFF"/>
                </a:buClr>
                <a:buSzPct val="125000"/>
                <a:buFont typeface="Gill Sans" charset="0"/>
                <a:buChar char="•"/>
              </a:pPr>
              <a:r>
                <a:rPr lang="en-US" altLang="en-US" sz="1600" dirty="0">
                  <a:solidFill>
                    <a:srgbClr val="FFFFFF"/>
                  </a:solidFill>
                </a:rPr>
                <a:t>Estimate sprint backlog in hours</a:t>
              </a:r>
            </a:p>
          </p:txBody>
        </p:sp>
      </p:grpSp>
      <p:grpSp>
        <p:nvGrpSpPr>
          <p:cNvPr id="29" name="Group 23"/>
          <p:cNvGrpSpPr>
            <a:grpSpLocks/>
          </p:cNvGrpSpPr>
          <p:nvPr/>
        </p:nvGrpSpPr>
        <p:grpSpPr bwMode="auto">
          <a:xfrm>
            <a:off x="7710916" y="2135536"/>
            <a:ext cx="1895475" cy="866775"/>
            <a:chOff x="0" y="0"/>
            <a:chExt cx="1592" cy="728"/>
          </a:xfrm>
        </p:grpSpPr>
        <p:sp>
          <p:nvSpPr>
            <p:cNvPr id="30" name="Line 24"/>
            <p:cNvSpPr>
              <a:spLocks noChangeShapeType="1"/>
            </p:cNvSpPr>
            <p:nvPr/>
          </p:nvSpPr>
          <p:spPr bwMode="auto">
            <a:xfrm flipH="1">
              <a:off x="0" y="363"/>
              <a:ext cx="520" cy="0"/>
            </a:xfrm>
            <a:prstGeom prst="line">
              <a:avLst/>
            </a:prstGeom>
            <a:noFill/>
            <a:ln w="38100">
              <a:solidFill>
                <a:schemeClr val="tx1"/>
              </a:solidFill>
              <a:round/>
              <a:headEnd type="stealth" w="med" len="med"/>
              <a:tailEnd/>
            </a:ln>
            <a:extLst>
              <a:ext uri="{909E8E84-426E-40DD-AFC4-6F175D3DCCD1}">
                <a14:hiddenFill xmlns:a14="http://schemas.microsoft.com/office/drawing/2010/main">
                  <a:noFill/>
                </a14:hiddenFill>
              </a:ext>
            </a:extLst>
          </p:spPr>
          <p:txBody>
            <a:bodyPr/>
            <a:lstStyle/>
            <a:p>
              <a:endParaRPr lang="en-US" sz="1350"/>
            </a:p>
          </p:txBody>
        </p:sp>
        <p:sp>
          <p:nvSpPr>
            <p:cNvPr id="31" name="AutoShape 25"/>
            <p:cNvSpPr>
              <a:spLocks/>
            </p:cNvSpPr>
            <p:nvPr/>
          </p:nvSpPr>
          <p:spPr bwMode="auto">
            <a:xfrm>
              <a:off x="528" y="0"/>
              <a:ext cx="1064" cy="728"/>
            </a:xfrm>
            <a:prstGeom prst="roundRect">
              <a:avLst>
                <a:gd name="adj" fmla="val 26370"/>
              </a:avLst>
            </a:prstGeom>
            <a:blipFill dpi="0" rotWithShape="0">
              <a:blip r:embed="rId4"/>
              <a:srcRect/>
              <a:tile tx="0" ty="0" sx="100000" sy="100000" flip="none" algn="tl"/>
            </a:blipFill>
            <a:ln w="25400">
              <a:solidFill>
                <a:srgbClr val="910000"/>
              </a:solidFill>
              <a:round/>
              <a:headEnd/>
              <a:tailEnd/>
            </a:ln>
            <a:effectLst>
              <a:outerShdw blurRad="114300" dist="63500" dir="2700000" algn="ctr" rotWithShape="0">
                <a:schemeClr val="bg2">
                  <a:alpha val="29999"/>
                </a:schemeClr>
              </a:outerShdw>
            </a:effectLst>
          </p:spPr>
          <p:txBody>
            <a:bodyPr lIns="0" tIns="0" rIns="0" bIns="0" anchor="ctr"/>
            <a:lstStyle/>
            <a:p>
              <a:pPr algn="ctr">
                <a:tabLst>
                  <a:tab pos="800100" algn="l"/>
                </a:tabLst>
                <a:defRPr/>
              </a:pPr>
              <a:r>
                <a:rPr lang="en-US" sz="1350">
                  <a:solidFill>
                    <a:srgbClr val="E3F0FF"/>
                  </a:solidFill>
                  <a:latin typeface="Gill Sans" pitchFamily="80" charset="0"/>
                  <a:ea typeface="Gill Sans" pitchFamily="80" charset="0"/>
                  <a:cs typeface="Gill Sans" pitchFamily="80" charset="0"/>
                  <a:sym typeface="Gill Sans" pitchFamily="80" charset="0"/>
                </a:rPr>
                <a:t>Sprint</a:t>
              </a:r>
            </a:p>
            <a:p>
              <a:pPr algn="ctr">
                <a:tabLst>
                  <a:tab pos="800100" algn="l"/>
                </a:tabLst>
                <a:defRPr/>
              </a:pPr>
              <a:r>
                <a:rPr lang="en-US" sz="1350">
                  <a:solidFill>
                    <a:srgbClr val="E3F0FF"/>
                  </a:solidFill>
                  <a:latin typeface="Gill Sans" pitchFamily="80" charset="0"/>
                  <a:ea typeface="Gill Sans" pitchFamily="80" charset="0"/>
                  <a:cs typeface="Gill Sans" pitchFamily="80" charset="0"/>
                  <a:sym typeface="Gill Sans" pitchFamily="80" charset="0"/>
                </a:rPr>
                <a:t>goal</a:t>
              </a:r>
            </a:p>
          </p:txBody>
        </p:sp>
      </p:grpSp>
      <p:sp>
        <p:nvSpPr>
          <p:cNvPr id="32" name="Line 26"/>
          <p:cNvSpPr>
            <a:spLocks noChangeShapeType="1"/>
          </p:cNvSpPr>
          <p:nvPr/>
        </p:nvSpPr>
        <p:spPr bwMode="auto">
          <a:xfrm flipH="1">
            <a:off x="3534202" y="1717626"/>
            <a:ext cx="490538" cy="0"/>
          </a:xfrm>
          <a:prstGeom prst="line">
            <a:avLst/>
          </a:prstGeom>
          <a:noFill/>
          <a:ln w="38100">
            <a:solidFill>
              <a:schemeClr val="tx1"/>
            </a:solidFill>
            <a:round/>
            <a:headEnd type="stealth" w="med" len="med"/>
            <a:tailEnd/>
          </a:ln>
          <a:extLst>
            <a:ext uri="{909E8E84-426E-40DD-AFC4-6F175D3DCCD1}">
              <a14:hiddenFill xmlns:a14="http://schemas.microsoft.com/office/drawing/2010/main">
                <a:noFill/>
              </a14:hiddenFill>
            </a:ext>
          </a:extLst>
        </p:spPr>
        <p:txBody>
          <a:bodyPr/>
          <a:lstStyle/>
          <a:p>
            <a:endParaRPr lang="en-US" sz="1350"/>
          </a:p>
        </p:txBody>
      </p:sp>
      <p:grpSp>
        <p:nvGrpSpPr>
          <p:cNvPr id="33" name="Group 27"/>
          <p:cNvGrpSpPr>
            <a:grpSpLocks/>
          </p:cNvGrpSpPr>
          <p:nvPr/>
        </p:nvGrpSpPr>
        <p:grpSpPr bwMode="auto">
          <a:xfrm>
            <a:off x="7710916" y="4059586"/>
            <a:ext cx="1895475" cy="866775"/>
            <a:chOff x="0" y="0"/>
            <a:chExt cx="1592" cy="728"/>
          </a:xfrm>
        </p:grpSpPr>
        <p:sp>
          <p:nvSpPr>
            <p:cNvPr id="34" name="AutoShape 28"/>
            <p:cNvSpPr>
              <a:spLocks/>
            </p:cNvSpPr>
            <p:nvPr/>
          </p:nvSpPr>
          <p:spPr bwMode="auto">
            <a:xfrm>
              <a:off x="528" y="0"/>
              <a:ext cx="1064" cy="728"/>
            </a:xfrm>
            <a:prstGeom prst="roundRect">
              <a:avLst>
                <a:gd name="adj" fmla="val 26370"/>
              </a:avLst>
            </a:prstGeom>
            <a:blipFill dpi="0" rotWithShape="0">
              <a:blip r:embed="rId4"/>
              <a:srcRect/>
              <a:tile tx="0" ty="0" sx="100000" sy="100000" flip="none" algn="tl"/>
            </a:blipFill>
            <a:ln w="25400">
              <a:solidFill>
                <a:srgbClr val="910000"/>
              </a:solidFill>
              <a:round/>
              <a:headEnd/>
              <a:tailEnd/>
            </a:ln>
            <a:effectLst>
              <a:outerShdw blurRad="114300" dist="63500" dir="2700000" algn="ctr" rotWithShape="0">
                <a:schemeClr val="bg2">
                  <a:alpha val="29999"/>
                </a:schemeClr>
              </a:outerShdw>
            </a:effectLst>
          </p:spPr>
          <p:txBody>
            <a:bodyPr lIns="0" tIns="0" rIns="0" bIns="0" anchor="ctr"/>
            <a:lstStyle/>
            <a:p>
              <a:pPr algn="ctr">
                <a:tabLst>
                  <a:tab pos="800100" algn="l"/>
                </a:tabLst>
                <a:defRPr/>
              </a:pPr>
              <a:r>
                <a:rPr lang="en-US" sz="1350">
                  <a:solidFill>
                    <a:srgbClr val="E3F0FF"/>
                  </a:solidFill>
                  <a:latin typeface="Gill Sans" pitchFamily="80" charset="0"/>
                  <a:ea typeface="Gill Sans" pitchFamily="80" charset="0"/>
                  <a:cs typeface="Gill Sans" pitchFamily="80" charset="0"/>
                  <a:sym typeface="Gill Sans" pitchFamily="80" charset="0"/>
                </a:rPr>
                <a:t>Sprint</a:t>
              </a:r>
            </a:p>
            <a:p>
              <a:pPr algn="ctr">
                <a:tabLst>
                  <a:tab pos="800100" algn="l"/>
                </a:tabLst>
                <a:defRPr/>
              </a:pPr>
              <a:r>
                <a:rPr lang="en-US" sz="1350">
                  <a:solidFill>
                    <a:srgbClr val="E3F0FF"/>
                  </a:solidFill>
                  <a:latin typeface="Gill Sans" pitchFamily="80" charset="0"/>
                  <a:ea typeface="Gill Sans" pitchFamily="80" charset="0"/>
                  <a:cs typeface="Gill Sans" pitchFamily="80" charset="0"/>
                  <a:sym typeface="Gill Sans" pitchFamily="80" charset="0"/>
                </a:rPr>
                <a:t>backlog</a:t>
              </a:r>
            </a:p>
          </p:txBody>
        </p:sp>
        <p:sp>
          <p:nvSpPr>
            <p:cNvPr id="35" name="Line 29"/>
            <p:cNvSpPr>
              <a:spLocks noChangeShapeType="1"/>
            </p:cNvSpPr>
            <p:nvPr/>
          </p:nvSpPr>
          <p:spPr bwMode="auto">
            <a:xfrm flipH="1">
              <a:off x="0" y="363"/>
              <a:ext cx="520" cy="0"/>
            </a:xfrm>
            <a:prstGeom prst="line">
              <a:avLst/>
            </a:prstGeom>
            <a:noFill/>
            <a:ln w="38100">
              <a:solidFill>
                <a:schemeClr val="tx1"/>
              </a:solidFill>
              <a:round/>
              <a:headEnd type="stealth" w="med" len="med"/>
              <a:tailEnd/>
            </a:ln>
            <a:extLst>
              <a:ext uri="{909E8E84-426E-40DD-AFC4-6F175D3DCCD1}">
                <a14:hiddenFill xmlns:a14="http://schemas.microsoft.com/office/drawing/2010/main">
                  <a:noFill/>
                </a14:hiddenFill>
              </a:ext>
            </a:extLst>
          </p:spPr>
          <p:txBody>
            <a:bodyPr/>
            <a:lstStyle/>
            <a:p>
              <a:endParaRPr lang="en-US" sz="1350"/>
            </a:p>
          </p:txBody>
        </p:sp>
      </p:grpSp>
      <p:sp>
        <p:nvSpPr>
          <p:cNvPr id="36" name="AutoShape 30"/>
          <p:cNvSpPr>
            <a:spLocks/>
          </p:cNvSpPr>
          <p:nvPr/>
        </p:nvSpPr>
        <p:spPr bwMode="auto">
          <a:xfrm>
            <a:off x="2395965" y="3154710"/>
            <a:ext cx="1143000" cy="762000"/>
          </a:xfrm>
          <a:prstGeom prst="roundRect">
            <a:avLst>
              <a:gd name="adj" fmla="val 30000"/>
            </a:avLst>
          </a:prstGeom>
          <a:blipFill dpi="0" rotWithShape="0">
            <a:blip r:embed="rId5"/>
            <a:srcRect/>
            <a:tile tx="0" ty="0" sx="100000" sy="100000" flip="none" algn="tl"/>
          </a:blipFill>
          <a:ln w="25400">
            <a:solidFill>
              <a:srgbClr val="750083"/>
            </a:solidFill>
            <a:round/>
            <a:headEnd/>
            <a:tailEnd/>
          </a:ln>
          <a:effectLst>
            <a:outerShdw blurRad="114300" dist="63500" dir="2700000" algn="ctr" rotWithShape="0">
              <a:schemeClr val="bg2">
                <a:alpha val="29999"/>
              </a:schemeClr>
            </a:outerShdw>
          </a:effectLst>
        </p:spPr>
        <p:txBody>
          <a:bodyPr lIns="0" tIns="0" rIns="0" bIns="0" anchor="ctr"/>
          <a:lstStyle/>
          <a:p>
            <a:pPr algn="ctr">
              <a:tabLst>
                <a:tab pos="800100" algn="l"/>
              </a:tabLst>
              <a:defRPr/>
            </a:pPr>
            <a:r>
              <a:rPr lang="en-US" sz="1500">
                <a:solidFill>
                  <a:srgbClr val="E3F0FF"/>
                </a:solidFill>
                <a:latin typeface="Gill Sans" pitchFamily="80" charset="0"/>
                <a:ea typeface="Gill Sans" pitchFamily="80" charset="0"/>
                <a:cs typeface="Gill Sans" pitchFamily="80" charset="0"/>
                <a:sym typeface="Gill Sans" pitchFamily="80" charset="0"/>
              </a:rPr>
              <a:t>Business conditions</a:t>
            </a:r>
          </a:p>
        </p:txBody>
      </p:sp>
      <p:sp>
        <p:nvSpPr>
          <p:cNvPr id="37" name="AutoShape 31"/>
          <p:cNvSpPr>
            <a:spLocks/>
          </p:cNvSpPr>
          <p:nvPr/>
        </p:nvSpPr>
        <p:spPr bwMode="auto">
          <a:xfrm>
            <a:off x="2395965" y="1344960"/>
            <a:ext cx="1143000" cy="762000"/>
          </a:xfrm>
          <a:prstGeom prst="roundRect">
            <a:avLst>
              <a:gd name="adj" fmla="val 30000"/>
            </a:avLst>
          </a:prstGeom>
          <a:blipFill dpi="0" rotWithShape="0">
            <a:blip r:embed="rId5"/>
            <a:srcRect/>
            <a:tile tx="0" ty="0" sx="100000" sy="100000" flip="none" algn="tl"/>
          </a:blipFill>
          <a:ln w="25400">
            <a:solidFill>
              <a:srgbClr val="750083"/>
            </a:solidFill>
            <a:round/>
            <a:headEnd/>
            <a:tailEnd/>
          </a:ln>
          <a:effectLst>
            <a:outerShdw blurRad="114300" dist="63500" dir="2700000" algn="ctr" rotWithShape="0">
              <a:schemeClr val="bg2">
                <a:alpha val="29999"/>
              </a:schemeClr>
            </a:outerShdw>
          </a:effectLst>
        </p:spPr>
        <p:txBody>
          <a:bodyPr lIns="0" tIns="0" rIns="0" bIns="0" anchor="ctr"/>
          <a:lstStyle/>
          <a:p>
            <a:pPr algn="ctr">
              <a:tabLst>
                <a:tab pos="800100" algn="l"/>
              </a:tabLst>
              <a:defRPr/>
            </a:pPr>
            <a:r>
              <a:rPr lang="en-US" sz="1500">
                <a:solidFill>
                  <a:srgbClr val="E3F0FF"/>
                </a:solidFill>
                <a:latin typeface="Gill Sans" pitchFamily="80" charset="0"/>
                <a:ea typeface="Gill Sans" pitchFamily="80" charset="0"/>
                <a:cs typeface="Gill Sans" pitchFamily="80" charset="0"/>
                <a:sym typeface="Gill Sans" pitchFamily="80" charset="0"/>
              </a:rPr>
              <a:t>Team capacity</a:t>
            </a:r>
          </a:p>
        </p:txBody>
      </p:sp>
      <p:sp>
        <p:nvSpPr>
          <p:cNvPr id="38" name="AutoShape 32"/>
          <p:cNvSpPr>
            <a:spLocks/>
          </p:cNvSpPr>
          <p:nvPr/>
        </p:nvSpPr>
        <p:spPr bwMode="auto">
          <a:xfrm>
            <a:off x="2395965" y="2249835"/>
            <a:ext cx="1143000" cy="762000"/>
          </a:xfrm>
          <a:prstGeom prst="roundRect">
            <a:avLst>
              <a:gd name="adj" fmla="val 30000"/>
            </a:avLst>
          </a:prstGeom>
          <a:blipFill dpi="0" rotWithShape="0">
            <a:blip r:embed="rId5"/>
            <a:srcRect/>
            <a:tile tx="0" ty="0" sx="100000" sy="100000" flip="none" algn="tl"/>
          </a:blipFill>
          <a:ln w="25400">
            <a:solidFill>
              <a:srgbClr val="750083"/>
            </a:solidFill>
            <a:round/>
            <a:headEnd/>
            <a:tailEnd/>
          </a:ln>
          <a:effectLst>
            <a:outerShdw blurRad="114300" dist="63500" dir="2700000" algn="ctr" rotWithShape="0">
              <a:schemeClr val="bg2">
                <a:alpha val="29999"/>
              </a:schemeClr>
            </a:outerShdw>
          </a:effectLst>
        </p:spPr>
        <p:txBody>
          <a:bodyPr lIns="0" tIns="0" rIns="0" bIns="0" anchor="ctr"/>
          <a:lstStyle/>
          <a:p>
            <a:pPr algn="ctr">
              <a:tabLst>
                <a:tab pos="800100" algn="l"/>
              </a:tabLst>
              <a:defRPr/>
            </a:pPr>
            <a:r>
              <a:rPr lang="en-US" sz="1500">
                <a:solidFill>
                  <a:srgbClr val="E3F0FF"/>
                </a:solidFill>
                <a:latin typeface="Gill Sans" pitchFamily="80" charset="0"/>
                <a:ea typeface="Gill Sans" pitchFamily="80" charset="0"/>
                <a:cs typeface="Gill Sans" pitchFamily="80" charset="0"/>
                <a:sym typeface="Gill Sans" pitchFamily="80" charset="0"/>
              </a:rPr>
              <a:t>Product backlog</a:t>
            </a:r>
          </a:p>
        </p:txBody>
      </p:sp>
      <p:sp>
        <p:nvSpPr>
          <p:cNvPr id="39" name="AutoShape 33"/>
          <p:cNvSpPr>
            <a:spLocks/>
          </p:cNvSpPr>
          <p:nvPr/>
        </p:nvSpPr>
        <p:spPr bwMode="auto">
          <a:xfrm>
            <a:off x="2395965" y="4964460"/>
            <a:ext cx="1143000" cy="762000"/>
          </a:xfrm>
          <a:prstGeom prst="roundRect">
            <a:avLst>
              <a:gd name="adj" fmla="val 30000"/>
            </a:avLst>
          </a:prstGeom>
          <a:blipFill dpi="0" rotWithShape="0">
            <a:blip r:embed="rId5"/>
            <a:srcRect/>
            <a:tile tx="0" ty="0" sx="100000" sy="100000" flip="none" algn="tl"/>
          </a:blipFill>
          <a:ln w="25400">
            <a:solidFill>
              <a:srgbClr val="750083"/>
            </a:solidFill>
            <a:round/>
            <a:headEnd/>
            <a:tailEnd/>
          </a:ln>
          <a:effectLst>
            <a:outerShdw blurRad="114300" dist="63500" dir="2700000" algn="ctr" rotWithShape="0">
              <a:schemeClr val="bg2">
                <a:alpha val="29999"/>
              </a:schemeClr>
            </a:outerShdw>
          </a:effectLst>
        </p:spPr>
        <p:txBody>
          <a:bodyPr lIns="0" tIns="0" rIns="0" bIns="0" anchor="ctr"/>
          <a:lstStyle/>
          <a:p>
            <a:pPr algn="ctr">
              <a:tabLst>
                <a:tab pos="800100" algn="l"/>
              </a:tabLst>
              <a:defRPr/>
            </a:pPr>
            <a:r>
              <a:rPr lang="en-US" sz="1500" dirty="0">
                <a:solidFill>
                  <a:srgbClr val="E3F0FF"/>
                </a:solidFill>
                <a:latin typeface="Gill Sans" pitchFamily="80" charset="0"/>
                <a:ea typeface="Gill Sans" pitchFamily="80" charset="0"/>
                <a:cs typeface="Gill Sans" pitchFamily="80" charset="0"/>
                <a:sym typeface="Gill Sans" pitchFamily="80" charset="0"/>
              </a:rPr>
              <a:t>Technology</a:t>
            </a:r>
          </a:p>
        </p:txBody>
      </p:sp>
      <p:sp>
        <p:nvSpPr>
          <p:cNvPr id="40" name="AutoShape 34"/>
          <p:cNvSpPr>
            <a:spLocks/>
          </p:cNvSpPr>
          <p:nvPr/>
        </p:nvSpPr>
        <p:spPr bwMode="auto">
          <a:xfrm>
            <a:off x="2395965" y="4059585"/>
            <a:ext cx="1143000" cy="762000"/>
          </a:xfrm>
          <a:prstGeom prst="roundRect">
            <a:avLst>
              <a:gd name="adj" fmla="val 30000"/>
            </a:avLst>
          </a:prstGeom>
          <a:blipFill dpi="0" rotWithShape="0">
            <a:blip r:embed="rId5"/>
            <a:srcRect/>
            <a:tile tx="0" ty="0" sx="100000" sy="100000" flip="none" algn="tl"/>
          </a:blipFill>
          <a:ln w="25400">
            <a:solidFill>
              <a:srgbClr val="750083"/>
            </a:solidFill>
            <a:round/>
            <a:headEnd/>
            <a:tailEnd/>
          </a:ln>
          <a:effectLst>
            <a:outerShdw blurRad="114300" dist="63500" dir="2700000" algn="ctr" rotWithShape="0">
              <a:schemeClr val="bg2">
                <a:alpha val="29999"/>
              </a:schemeClr>
            </a:outerShdw>
          </a:effectLst>
        </p:spPr>
        <p:txBody>
          <a:bodyPr lIns="0" tIns="0" rIns="0" bIns="0" anchor="ctr"/>
          <a:lstStyle/>
          <a:p>
            <a:pPr algn="ctr">
              <a:tabLst>
                <a:tab pos="800100" algn="l"/>
              </a:tabLst>
              <a:defRPr/>
            </a:pPr>
            <a:r>
              <a:rPr lang="en-US" sz="1500">
                <a:solidFill>
                  <a:srgbClr val="E3F0FF"/>
                </a:solidFill>
                <a:latin typeface="Gill Sans" pitchFamily="80" charset="0"/>
                <a:ea typeface="Gill Sans" pitchFamily="80" charset="0"/>
                <a:cs typeface="Gill Sans" pitchFamily="80" charset="0"/>
                <a:sym typeface="Gill Sans" pitchFamily="80" charset="0"/>
              </a:rPr>
              <a:t>Current product</a:t>
            </a:r>
          </a:p>
        </p:txBody>
      </p:sp>
      <p:sp>
        <p:nvSpPr>
          <p:cNvPr id="41" name="Line 35"/>
          <p:cNvSpPr>
            <a:spLocks noChangeShapeType="1"/>
          </p:cNvSpPr>
          <p:nvPr/>
        </p:nvSpPr>
        <p:spPr bwMode="auto">
          <a:xfrm flipH="1">
            <a:off x="3534202" y="2622501"/>
            <a:ext cx="490538" cy="0"/>
          </a:xfrm>
          <a:prstGeom prst="line">
            <a:avLst/>
          </a:prstGeom>
          <a:noFill/>
          <a:ln w="38100">
            <a:solidFill>
              <a:schemeClr val="tx1"/>
            </a:solidFill>
            <a:round/>
            <a:headEnd type="stealth" w="med" len="med"/>
            <a:tailEnd/>
          </a:ln>
          <a:extLst>
            <a:ext uri="{909E8E84-426E-40DD-AFC4-6F175D3DCCD1}">
              <a14:hiddenFill xmlns:a14="http://schemas.microsoft.com/office/drawing/2010/main">
                <a:noFill/>
              </a14:hiddenFill>
            </a:ext>
          </a:extLst>
        </p:spPr>
        <p:txBody>
          <a:bodyPr/>
          <a:lstStyle/>
          <a:p>
            <a:endParaRPr lang="en-US" sz="1350"/>
          </a:p>
        </p:txBody>
      </p:sp>
      <p:sp>
        <p:nvSpPr>
          <p:cNvPr id="42" name="Line 36"/>
          <p:cNvSpPr>
            <a:spLocks noChangeShapeType="1"/>
          </p:cNvSpPr>
          <p:nvPr/>
        </p:nvSpPr>
        <p:spPr bwMode="auto">
          <a:xfrm flipH="1">
            <a:off x="3534202" y="3527376"/>
            <a:ext cx="490538" cy="0"/>
          </a:xfrm>
          <a:prstGeom prst="line">
            <a:avLst/>
          </a:prstGeom>
          <a:noFill/>
          <a:ln w="38100">
            <a:solidFill>
              <a:schemeClr val="tx1"/>
            </a:solidFill>
            <a:round/>
            <a:headEnd type="stealth" w="med" len="med"/>
            <a:tailEnd/>
          </a:ln>
          <a:extLst>
            <a:ext uri="{909E8E84-426E-40DD-AFC4-6F175D3DCCD1}">
              <a14:hiddenFill xmlns:a14="http://schemas.microsoft.com/office/drawing/2010/main">
                <a:noFill/>
              </a14:hiddenFill>
            </a:ext>
          </a:extLst>
        </p:spPr>
        <p:txBody>
          <a:bodyPr/>
          <a:lstStyle/>
          <a:p>
            <a:endParaRPr lang="en-US" sz="1350"/>
          </a:p>
        </p:txBody>
      </p:sp>
      <p:sp>
        <p:nvSpPr>
          <p:cNvPr id="43" name="Line 37"/>
          <p:cNvSpPr>
            <a:spLocks noChangeShapeType="1"/>
          </p:cNvSpPr>
          <p:nvPr/>
        </p:nvSpPr>
        <p:spPr bwMode="auto">
          <a:xfrm flipH="1">
            <a:off x="3534202" y="4432251"/>
            <a:ext cx="490538" cy="0"/>
          </a:xfrm>
          <a:prstGeom prst="line">
            <a:avLst/>
          </a:prstGeom>
          <a:noFill/>
          <a:ln w="38100">
            <a:solidFill>
              <a:schemeClr val="tx1"/>
            </a:solidFill>
            <a:round/>
            <a:headEnd type="stealth" w="med" len="med"/>
            <a:tailEnd/>
          </a:ln>
          <a:extLst>
            <a:ext uri="{909E8E84-426E-40DD-AFC4-6F175D3DCCD1}">
              <a14:hiddenFill xmlns:a14="http://schemas.microsoft.com/office/drawing/2010/main">
                <a:noFill/>
              </a14:hiddenFill>
            </a:ext>
          </a:extLst>
        </p:spPr>
        <p:txBody>
          <a:bodyPr/>
          <a:lstStyle/>
          <a:p>
            <a:endParaRPr lang="en-US" sz="1350"/>
          </a:p>
        </p:txBody>
      </p:sp>
      <p:sp>
        <p:nvSpPr>
          <p:cNvPr id="44" name="Line 38"/>
          <p:cNvSpPr>
            <a:spLocks noChangeShapeType="1"/>
          </p:cNvSpPr>
          <p:nvPr/>
        </p:nvSpPr>
        <p:spPr bwMode="auto">
          <a:xfrm flipH="1">
            <a:off x="3534202" y="5337126"/>
            <a:ext cx="490538" cy="0"/>
          </a:xfrm>
          <a:prstGeom prst="line">
            <a:avLst/>
          </a:prstGeom>
          <a:noFill/>
          <a:ln w="38100">
            <a:solidFill>
              <a:schemeClr val="tx1"/>
            </a:solidFill>
            <a:round/>
            <a:headEnd type="stealth" w="med" len="med"/>
            <a:tailEnd/>
          </a:ln>
          <a:extLst>
            <a:ext uri="{909E8E84-426E-40DD-AFC4-6F175D3DCCD1}">
              <a14:hiddenFill xmlns:a14="http://schemas.microsoft.com/office/drawing/2010/main">
                <a:noFill/>
              </a14:hiddenFill>
            </a:ext>
          </a:extLst>
        </p:spPr>
        <p:txBody>
          <a:bodyPr/>
          <a:lstStyle/>
          <a:p>
            <a:endParaRPr lang="en-US" sz="1350"/>
          </a:p>
        </p:txBody>
      </p:sp>
    </p:spTree>
    <p:extLst>
      <p:ext uri="{BB962C8B-B14F-4D97-AF65-F5344CB8AC3E}">
        <p14:creationId xmlns:p14="http://schemas.microsoft.com/office/powerpoint/2010/main" val="31448440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6</a:t>
            </a:fld>
            <a:endParaRPr lang="en-US" dirty="0"/>
          </a:p>
        </p:txBody>
      </p:sp>
      <p:sp>
        <p:nvSpPr>
          <p:cNvPr id="6" name="Title 5"/>
          <p:cNvSpPr>
            <a:spLocks noGrp="1"/>
          </p:cNvSpPr>
          <p:nvPr>
            <p:ph type="title"/>
          </p:nvPr>
        </p:nvSpPr>
        <p:spPr>
          <a:xfrm>
            <a:off x="2783632" y="476672"/>
            <a:ext cx="10944225" cy="249008"/>
          </a:xfrm>
        </p:spPr>
        <p:txBody>
          <a:bodyPr/>
          <a:lstStyle/>
          <a:p>
            <a:r>
              <a:rPr lang="en-US" b="0" dirty="0"/>
              <a:t>What is Agile?</a:t>
            </a:r>
          </a:p>
        </p:txBody>
      </p:sp>
      <p:sp>
        <p:nvSpPr>
          <p:cNvPr id="9" name="Rectangle 3"/>
          <p:cNvSpPr>
            <a:spLocks/>
          </p:cNvSpPr>
          <p:nvPr/>
        </p:nvSpPr>
        <p:spPr bwMode="auto">
          <a:xfrm>
            <a:off x="2783632" y="1760456"/>
            <a:ext cx="6498722" cy="3774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25425" indent="-225425"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a:spcBef>
                <a:spcPts val="450"/>
              </a:spcBef>
              <a:buClr>
                <a:srgbClr val="ABA69F"/>
              </a:buClr>
              <a:buSzPct val="80000"/>
              <a:defRPr/>
            </a:pPr>
            <a:r>
              <a:rPr lang="en-US" sz="1600" kern="0" dirty="0"/>
              <a:t>Agile is </a:t>
            </a:r>
            <a:r>
              <a:rPr lang="en-US" sz="1600" u="sng" kern="0" dirty="0"/>
              <a:t>simple</a:t>
            </a:r>
            <a:r>
              <a:rPr lang="en-US" sz="1600" kern="0" dirty="0"/>
              <a:t> (not easy) </a:t>
            </a:r>
          </a:p>
          <a:p>
            <a:pPr>
              <a:spcBef>
                <a:spcPts val="450"/>
              </a:spcBef>
              <a:buClr>
                <a:srgbClr val="ABA69F"/>
              </a:buClr>
              <a:buSzPct val="80000"/>
              <a:defRPr/>
            </a:pPr>
            <a:endParaRPr lang="en-AU" sz="1600" kern="0" dirty="0"/>
          </a:p>
          <a:p>
            <a:pPr>
              <a:spcBef>
                <a:spcPts val="450"/>
              </a:spcBef>
              <a:buClr>
                <a:srgbClr val="ABA69F"/>
              </a:buClr>
              <a:buSzPct val="80000"/>
              <a:defRPr/>
            </a:pPr>
            <a:r>
              <a:rPr lang="en-US" sz="1600" kern="0" dirty="0"/>
              <a:t>Doing the </a:t>
            </a:r>
            <a:r>
              <a:rPr lang="en-US" sz="1600" u="sng" kern="0" dirty="0"/>
              <a:t>important things first</a:t>
            </a:r>
            <a:r>
              <a:rPr lang="en-US" sz="1600" kern="0" dirty="0"/>
              <a:t>  - (Highest Business Value)</a:t>
            </a:r>
          </a:p>
          <a:p>
            <a:pPr>
              <a:spcBef>
                <a:spcPts val="450"/>
              </a:spcBef>
              <a:buClr>
                <a:srgbClr val="ABA69F"/>
              </a:buClr>
              <a:buSzPct val="80000"/>
              <a:defRPr/>
            </a:pPr>
            <a:endParaRPr lang="en-US" sz="1600" kern="0" dirty="0"/>
          </a:p>
          <a:p>
            <a:pPr>
              <a:spcBef>
                <a:spcPts val="450"/>
              </a:spcBef>
              <a:buClr>
                <a:srgbClr val="ABA69F"/>
              </a:buClr>
              <a:buSzPct val="80000"/>
              <a:defRPr/>
            </a:pPr>
            <a:r>
              <a:rPr lang="en-US" sz="1600" kern="0" dirty="0"/>
              <a:t>It’s about </a:t>
            </a:r>
            <a:r>
              <a:rPr lang="en-US" sz="1600" u="sng" kern="0" dirty="0"/>
              <a:t>people</a:t>
            </a:r>
            <a:r>
              <a:rPr lang="en-US" sz="1600" kern="0" dirty="0"/>
              <a:t>, values, principles and practices</a:t>
            </a:r>
          </a:p>
          <a:p>
            <a:pPr>
              <a:spcBef>
                <a:spcPts val="450"/>
              </a:spcBef>
              <a:buClr>
                <a:srgbClr val="ABA69F"/>
              </a:buClr>
              <a:buSzPct val="80000"/>
              <a:defRPr/>
            </a:pPr>
            <a:endParaRPr lang="en-US" sz="1600" kern="0" dirty="0"/>
          </a:p>
          <a:p>
            <a:pPr>
              <a:spcBef>
                <a:spcPts val="450"/>
              </a:spcBef>
              <a:buClr>
                <a:srgbClr val="ABA69F"/>
              </a:buClr>
              <a:buSzPct val="80000"/>
              <a:defRPr/>
            </a:pPr>
            <a:r>
              <a:rPr lang="en-US" sz="1600" kern="0" dirty="0"/>
              <a:t>Focused on </a:t>
            </a:r>
            <a:r>
              <a:rPr lang="en-US" sz="1600" u="sng" kern="0" dirty="0"/>
              <a:t>team communication</a:t>
            </a:r>
            <a:r>
              <a:rPr lang="en-US" sz="1600" kern="0" dirty="0"/>
              <a:t> </a:t>
            </a:r>
          </a:p>
          <a:p>
            <a:pPr>
              <a:spcBef>
                <a:spcPts val="450"/>
              </a:spcBef>
              <a:buClr>
                <a:srgbClr val="ABA69F"/>
              </a:buClr>
              <a:buSzPct val="80000"/>
              <a:defRPr/>
            </a:pPr>
            <a:endParaRPr lang="en-US" sz="1600" kern="0" dirty="0"/>
          </a:p>
          <a:p>
            <a:pPr>
              <a:spcBef>
                <a:spcPts val="450"/>
              </a:spcBef>
              <a:buClr>
                <a:srgbClr val="ABA69F"/>
              </a:buClr>
              <a:buSzPct val="80000"/>
              <a:defRPr/>
            </a:pPr>
            <a:r>
              <a:rPr lang="en-US" sz="1600" kern="0" dirty="0"/>
              <a:t> </a:t>
            </a:r>
            <a:r>
              <a:rPr lang="en-US" sz="1600" u="sng" kern="0" dirty="0"/>
              <a:t>regularly delivering</a:t>
            </a:r>
            <a:r>
              <a:rPr lang="en-US" sz="1600" kern="0" dirty="0"/>
              <a:t> </a:t>
            </a:r>
            <a:r>
              <a:rPr lang="en-US" sz="1600" u="sng" kern="0" dirty="0"/>
              <a:t>value</a:t>
            </a:r>
            <a:r>
              <a:rPr lang="en-US" sz="1600" kern="0" dirty="0"/>
              <a:t> through </a:t>
            </a:r>
            <a:r>
              <a:rPr lang="en-US" sz="1600" u="sng" kern="0" dirty="0"/>
              <a:t>working software</a:t>
            </a:r>
          </a:p>
          <a:p>
            <a:pPr>
              <a:spcBef>
                <a:spcPts val="450"/>
              </a:spcBef>
              <a:buClr>
                <a:srgbClr val="ABA69F"/>
              </a:buClr>
              <a:buSzPct val="80000"/>
              <a:defRPr/>
            </a:pPr>
            <a:endParaRPr lang="en-US" sz="1600" u="sng" kern="0" dirty="0"/>
          </a:p>
          <a:p>
            <a:pPr>
              <a:spcBef>
                <a:spcPts val="450"/>
              </a:spcBef>
              <a:buClr>
                <a:srgbClr val="ABA69F"/>
              </a:buClr>
              <a:buSzPct val="80000"/>
              <a:defRPr/>
            </a:pPr>
            <a:r>
              <a:rPr lang="en-US" altLang="en-US" sz="1600" dirty="0">
                <a:solidFill>
                  <a:schemeClr val="tx1"/>
                </a:solidFill>
              </a:rPr>
              <a:t>rapidly and </a:t>
            </a:r>
            <a:r>
              <a:rPr lang="en-US" altLang="en-US" sz="1600" u="sng" dirty="0">
                <a:solidFill>
                  <a:schemeClr val="tx1"/>
                </a:solidFill>
              </a:rPr>
              <a:t>repeatedly inspect </a:t>
            </a:r>
            <a:r>
              <a:rPr lang="en-US" altLang="en-US" sz="1600" dirty="0">
                <a:solidFill>
                  <a:schemeClr val="tx1"/>
                </a:solidFill>
              </a:rPr>
              <a:t>actual working software</a:t>
            </a:r>
            <a:endParaRPr lang="en-US" sz="1600" kern="0" dirty="0"/>
          </a:p>
          <a:p>
            <a:pPr marL="0" indent="0" algn="l">
              <a:buSzPct val="125000"/>
            </a:pPr>
            <a:r>
              <a:rPr lang="en-US" altLang="en-US" sz="1600" dirty="0">
                <a:solidFill>
                  <a:schemeClr val="tx1"/>
                </a:solidFill>
              </a:rPr>
              <a:t>.</a:t>
            </a:r>
          </a:p>
        </p:txBody>
      </p:sp>
    </p:spTree>
    <p:extLst>
      <p:ext uri="{BB962C8B-B14F-4D97-AF65-F5344CB8AC3E}">
        <p14:creationId xmlns:p14="http://schemas.microsoft.com/office/powerpoint/2010/main" val="26949219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60</a:t>
            </a:fld>
            <a:endParaRPr lang="en-US" dirty="0"/>
          </a:p>
        </p:txBody>
      </p:sp>
      <p:sp>
        <p:nvSpPr>
          <p:cNvPr id="7" name="Rectangle 1"/>
          <p:cNvSpPr>
            <a:spLocks noGrp="1" noChangeArrowheads="1"/>
          </p:cNvSpPr>
          <p:nvPr>
            <p:ph type="title"/>
          </p:nvPr>
        </p:nvSpPr>
        <p:spPr>
          <a:xfrm>
            <a:off x="1837192" y="331854"/>
            <a:ext cx="7096125" cy="249008"/>
          </a:xfrm>
        </p:spPr>
        <p:txBody>
          <a:bodyPr/>
          <a:lstStyle/>
          <a:p>
            <a:pPr eaLnBrk="1" hangingPunct="1">
              <a:defRPr/>
            </a:pPr>
            <a:r>
              <a:rPr lang="en-US" b="0" dirty="0"/>
              <a:t>Sprint planning</a:t>
            </a:r>
          </a:p>
        </p:txBody>
      </p:sp>
      <p:sp>
        <p:nvSpPr>
          <p:cNvPr id="8" name="Rectangle 2"/>
          <p:cNvSpPr>
            <a:spLocks noGrp="1" noChangeArrowheads="1"/>
          </p:cNvSpPr>
          <p:nvPr>
            <p:ph type="body" idx="4294967295"/>
          </p:nvPr>
        </p:nvSpPr>
        <p:spPr>
          <a:xfrm>
            <a:off x="1829527" y="1518310"/>
            <a:ext cx="7096125" cy="2525315"/>
          </a:xfrm>
          <a:prstGeom prst="rect">
            <a:avLst/>
          </a:prstGeom>
        </p:spPr>
        <p:txBody>
          <a:bodyPr/>
          <a:lstStyle/>
          <a:p>
            <a:pPr marL="523875">
              <a:lnSpc>
                <a:spcPct val="80000"/>
              </a:lnSpc>
              <a:defRPr/>
            </a:pPr>
            <a:r>
              <a:rPr lang="en-US" sz="1500" dirty="0"/>
              <a:t>Team selects items from the product backlog they can commit to completing</a:t>
            </a:r>
          </a:p>
          <a:p>
            <a:pPr marL="523875">
              <a:lnSpc>
                <a:spcPct val="80000"/>
              </a:lnSpc>
              <a:spcBef>
                <a:spcPts val="1050"/>
              </a:spcBef>
              <a:defRPr/>
            </a:pPr>
            <a:r>
              <a:rPr lang="en-US" sz="1500" dirty="0"/>
              <a:t>Sprint backlog is created</a:t>
            </a:r>
          </a:p>
          <a:p>
            <a:pPr marL="781050" lvl="1">
              <a:lnSpc>
                <a:spcPct val="80000"/>
              </a:lnSpc>
              <a:spcBef>
                <a:spcPts val="1050"/>
              </a:spcBef>
              <a:defRPr/>
            </a:pPr>
            <a:r>
              <a:rPr lang="en-US" dirty="0"/>
              <a:t>Tasks are identified and each is estimated (1-16 hours)</a:t>
            </a:r>
          </a:p>
          <a:p>
            <a:pPr marL="781050" lvl="1">
              <a:lnSpc>
                <a:spcPct val="80000"/>
              </a:lnSpc>
              <a:spcBef>
                <a:spcPts val="1050"/>
              </a:spcBef>
              <a:defRPr/>
            </a:pPr>
            <a:r>
              <a:rPr lang="en-US" dirty="0"/>
              <a:t>Collaboratively, not done alone by the Scrum Master</a:t>
            </a:r>
          </a:p>
          <a:p>
            <a:pPr marL="781050" lvl="1">
              <a:lnSpc>
                <a:spcPct val="80000"/>
              </a:lnSpc>
              <a:spcBef>
                <a:spcPts val="1050"/>
              </a:spcBef>
              <a:defRPr/>
            </a:pPr>
            <a:r>
              <a:rPr lang="en-US" dirty="0"/>
              <a:t>High-level design is considered</a:t>
            </a:r>
          </a:p>
        </p:txBody>
      </p:sp>
      <p:sp>
        <p:nvSpPr>
          <p:cNvPr id="9" name="Line 3"/>
          <p:cNvSpPr>
            <a:spLocks noChangeShapeType="1"/>
          </p:cNvSpPr>
          <p:nvPr/>
        </p:nvSpPr>
        <p:spPr bwMode="auto">
          <a:xfrm flipH="1">
            <a:off x="5297668" y="4525231"/>
            <a:ext cx="479822" cy="0"/>
          </a:xfrm>
          <a:prstGeom prst="line">
            <a:avLst/>
          </a:prstGeom>
          <a:noFill/>
          <a:ln w="50800">
            <a:solidFill>
              <a:srgbClr val="577AB1">
                <a:alpha val="50195"/>
              </a:srgbClr>
            </a:solidFill>
            <a:round/>
            <a:headEnd type="stealth" w="med" len="med"/>
            <a:tailEnd/>
          </a:ln>
          <a:extLst>
            <a:ext uri="{909E8E84-426E-40DD-AFC4-6F175D3DCCD1}">
              <a14:hiddenFill xmlns:a14="http://schemas.microsoft.com/office/drawing/2010/main">
                <a:noFill/>
              </a14:hiddenFill>
            </a:ext>
          </a:extLst>
        </p:spPr>
        <p:txBody>
          <a:bodyPr/>
          <a:lstStyle/>
          <a:p>
            <a:endParaRPr lang="en-US" sz="1350"/>
          </a:p>
        </p:txBody>
      </p:sp>
      <p:sp>
        <p:nvSpPr>
          <p:cNvPr id="10" name="Rectangle 4"/>
          <p:cNvSpPr>
            <a:spLocks/>
          </p:cNvSpPr>
          <p:nvPr/>
        </p:nvSpPr>
        <p:spPr bwMode="auto">
          <a:xfrm>
            <a:off x="2379447" y="3537013"/>
            <a:ext cx="2924175" cy="1952625"/>
          </a:xfrm>
          <a:prstGeom prst="rect">
            <a:avLst/>
          </a:prstGeom>
          <a:blipFill dpi="0" rotWithShape="0">
            <a:blip r:embed="rId2"/>
            <a:srcRect/>
            <a:tile tx="0" ty="0" sx="100000" sy="100000" flip="none" algn="tl"/>
          </a:blipFill>
          <a:ln>
            <a:noFill/>
          </a:ln>
          <a:effectLst>
            <a:outerShdw blurRad="127000" dist="101599" dir="3119987" algn="ctr" rotWithShape="0">
              <a:schemeClr val="bg2">
                <a:alpha val="74997"/>
              </a:schemeClr>
            </a:outerShdw>
          </a:effectLst>
          <a:extLst>
            <a:ext uri="{91240B29-F687-4F45-9708-019B960494DF}">
              <a14:hiddenLine xmlns:a14="http://schemas.microsoft.com/office/drawing/2010/main" w="9525">
                <a:solidFill>
                  <a:srgbClr val="333333"/>
                </a:solidFill>
                <a:miter lim="800000"/>
                <a:headEnd/>
                <a:tailEnd/>
              </a14:hiddenLine>
            </a:ext>
          </a:extLst>
        </p:spPr>
        <p:txBody>
          <a:bodyPr lIns="114300" tIns="114300" rIns="114300" bIns="114300"/>
          <a:lstStyle/>
          <a:p>
            <a:pPr>
              <a:lnSpc>
                <a:spcPct val="90000"/>
              </a:lnSpc>
              <a:tabLst>
                <a:tab pos="342900" algn="l"/>
              </a:tabLst>
              <a:defRPr/>
            </a:pPr>
            <a:r>
              <a:rPr lang="en-US" sz="1350" dirty="0">
                <a:latin typeface="Comic Sans MS" pitchFamily="80" charset="0"/>
                <a:ea typeface="Comic Sans MS" pitchFamily="80" charset="0"/>
                <a:cs typeface="Comic Sans MS" pitchFamily="80" charset="0"/>
                <a:sym typeface="Comic Sans MS" pitchFamily="80" charset="0"/>
              </a:rPr>
              <a:t>As a vacation planner, I want to see photos of the hotels.</a:t>
            </a:r>
          </a:p>
          <a:p>
            <a:pPr>
              <a:lnSpc>
                <a:spcPct val="90000"/>
              </a:lnSpc>
              <a:tabLst>
                <a:tab pos="342900" algn="l"/>
              </a:tabLst>
              <a:defRPr/>
            </a:pPr>
            <a:endParaRPr lang="en-US" sz="1350" dirty="0">
              <a:latin typeface="Comic Sans MS" pitchFamily="80" charset="0"/>
              <a:ea typeface="Comic Sans MS" pitchFamily="80" charset="0"/>
              <a:cs typeface="Comic Sans MS" pitchFamily="80" charset="0"/>
              <a:sym typeface="Comic Sans MS" pitchFamily="80" charset="0"/>
            </a:endParaRPr>
          </a:p>
        </p:txBody>
      </p:sp>
      <p:grpSp>
        <p:nvGrpSpPr>
          <p:cNvPr id="11" name="Group 5"/>
          <p:cNvGrpSpPr>
            <a:grpSpLocks/>
          </p:cNvGrpSpPr>
          <p:nvPr/>
        </p:nvGrpSpPr>
        <p:grpSpPr bwMode="auto">
          <a:xfrm>
            <a:off x="5783442" y="3667981"/>
            <a:ext cx="3390900" cy="1714500"/>
            <a:chOff x="0" y="0"/>
            <a:chExt cx="2848" cy="1440"/>
          </a:xfrm>
        </p:grpSpPr>
        <p:sp>
          <p:nvSpPr>
            <p:cNvPr id="12" name="AutoShape 6"/>
            <p:cNvSpPr>
              <a:spLocks/>
            </p:cNvSpPr>
            <p:nvPr/>
          </p:nvSpPr>
          <p:spPr bwMode="auto">
            <a:xfrm>
              <a:off x="0" y="0"/>
              <a:ext cx="2848" cy="1440"/>
            </a:xfrm>
            <a:prstGeom prst="roundRect">
              <a:avLst>
                <a:gd name="adj" fmla="val 13333"/>
              </a:avLst>
            </a:prstGeom>
            <a:blipFill dpi="0" rotWithShape="0">
              <a:blip r:embed="rId3"/>
              <a:srcRect/>
              <a:tile tx="0" ty="0" sx="100000" sy="100000" flip="none" algn="tl"/>
            </a:blipFill>
            <a:ln w="25400">
              <a:solidFill>
                <a:srgbClr val="003C83"/>
              </a:solidFill>
              <a:round/>
              <a:headEnd/>
              <a:tailEnd/>
            </a:ln>
            <a:effectLst>
              <a:outerShdw blurRad="114300" dist="63500" dir="2700000" algn="ctr" rotWithShape="0">
                <a:schemeClr val="bg2">
                  <a:alpha val="29999"/>
                </a:schemeClr>
              </a:outerShdw>
            </a:effectLst>
          </p:spPr>
          <p:txBody>
            <a:bodyPr/>
            <a:lstStyle/>
            <a:p>
              <a:pPr algn="ctr" eaLnBrk="1" hangingPunct="1">
                <a:defRPr/>
              </a:pPr>
              <a:endParaRPr lang="en-US" sz="1350">
                <a:latin typeface="Gill Sans" pitchFamily="80" charset="0"/>
                <a:ea typeface="ヒラギノ角ゴ Pro W3" pitchFamily="80" charset="-128"/>
                <a:sym typeface="Gill Sans" pitchFamily="80" charset="0"/>
              </a:endParaRPr>
            </a:p>
          </p:txBody>
        </p:sp>
        <p:sp>
          <p:nvSpPr>
            <p:cNvPr id="13" name="Rectangle 7"/>
            <p:cNvSpPr>
              <a:spLocks/>
            </p:cNvSpPr>
            <p:nvPr/>
          </p:nvSpPr>
          <p:spPr bwMode="auto">
            <a:xfrm>
              <a:off x="40" y="48"/>
              <a:ext cx="2760" cy="1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spcBef>
                  <a:spcPts val="1800"/>
                </a:spcBef>
                <a:buClr>
                  <a:srgbClr val="5F7BAE"/>
                </a:buClr>
                <a:buSzPct val="150000"/>
                <a:buFont typeface="Lucida Grande" charset="0"/>
                <a:buChar char="•"/>
                <a:tabLst>
                  <a:tab pos="1066800" algn="l"/>
                </a:tabLst>
                <a:defRPr sz="3600">
                  <a:solidFill>
                    <a:schemeClr val="tx1"/>
                  </a:solidFill>
                  <a:latin typeface="Gill Sans" charset="0"/>
                  <a:ea typeface="ヒラギノ角ゴ Pro W3" charset="-128"/>
                  <a:sym typeface="Gill Sans" charset="0"/>
                </a:defRPr>
              </a:lvl1pPr>
              <a:lvl2pPr marL="742950" indent="-285750">
                <a:spcBef>
                  <a:spcPts val="1800"/>
                </a:spcBef>
                <a:buSzPct val="150000"/>
                <a:buFont typeface="Lucida Grande" charset="0"/>
                <a:buChar char="•"/>
                <a:tabLst>
                  <a:tab pos="1066800" algn="l"/>
                </a:tabLst>
                <a:defRPr sz="3200">
                  <a:solidFill>
                    <a:schemeClr val="tx1"/>
                  </a:solidFill>
                  <a:latin typeface="Gill Sans" charset="0"/>
                  <a:ea typeface="ヒラギノ角ゴ Pro W3" charset="-128"/>
                  <a:sym typeface="Gill Sans" charset="0"/>
                </a:defRPr>
              </a:lvl2pPr>
              <a:lvl3pPr marL="1143000" indent="-228600">
                <a:spcBef>
                  <a:spcPts val="1800"/>
                </a:spcBef>
                <a:buSzPct val="150000"/>
                <a:buFont typeface="Lucida Grande" charset="0"/>
                <a:buChar char="•"/>
                <a:tabLst>
                  <a:tab pos="1066800" algn="l"/>
                </a:tabLst>
                <a:defRPr sz="2800">
                  <a:solidFill>
                    <a:schemeClr val="tx1"/>
                  </a:solidFill>
                  <a:latin typeface="Gill Sans" charset="0"/>
                  <a:ea typeface="ヒラギノ角ゴ Pro W3" charset="-128"/>
                  <a:sym typeface="Gill Sans" charset="0"/>
                </a:defRPr>
              </a:lvl3pPr>
              <a:lvl4pPr marL="1600200" indent="-228600">
                <a:spcBef>
                  <a:spcPts val="1800"/>
                </a:spcBef>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4pPr>
              <a:lvl5pPr marL="2057400" indent="-228600">
                <a:spcBef>
                  <a:spcPts val="1800"/>
                </a:spcBef>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5pPr>
              <a:lvl6pPr marL="25146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6pPr>
              <a:lvl7pPr marL="29718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7pPr>
              <a:lvl8pPr marL="34290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8pPr>
              <a:lvl9pPr marL="38862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9pPr>
            </a:lstStyle>
            <a:p>
              <a:pPr eaLnBrk="1" hangingPunct="1">
                <a:spcBef>
                  <a:spcPct val="0"/>
                </a:spcBef>
                <a:buClrTx/>
                <a:buSzTx/>
                <a:buFontTx/>
                <a:buNone/>
              </a:pPr>
              <a:r>
                <a:rPr lang="en-US" altLang="en-US" sz="1650">
                  <a:solidFill>
                    <a:srgbClr val="FFFFFF"/>
                  </a:solidFill>
                </a:rPr>
                <a:t>Code the middle tier (8 hours)</a:t>
              </a:r>
            </a:p>
            <a:p>
              <a:pPr eaLnBrk="1" hangingPunct="1">
                <a:spcBef>
                  <a:spcPct val="0"/>
                </a:spcBef>
                <a:buClrTx/>
                <a:buSzTx/>
                <a:buFontTx/>
                <a:buNone/>
              </a:pPr>
              <a:r>
                <a:rPr lang="en-US" altLang="en-US" sz="1650">
                  <a:solidFill>
                    <a:srgbClr val="FFFFFF"/>
                  </a:solidFill>
                </a:rPr>
                <a:t>Code the user interface (4)</a:t>
              </a:r>
            </a:p>
            <a:p>
              <a:pPr eaLnBrk="1" hangingPunct="1">
                <a:spcBef>
                  <a:spcPct val="0"/>
                </a:spcBef>
                <a:buClrTx/>
                <a:buSzTx/>
                <a:buFontTx/>
                <a:buNone/>
              </a:pPr>
              <a:r>
                <a:rPr lang="en-US" altLang="en-US" sz="1650">
                  <a:solidFill>
                    <a:srgbClr val="FFFFFF"/>
                  </a:solidFill>
                </a:rPr>
                <a:t>Write test fixtures (4)</a:t>
              </a:r>
            </a:p>
            <a:p>
              <a:pPr eaLnBrk="1" hangingPunct="1">
                <a:spcBef>
                  <a:spcPct val="0"/>
                </a:spcBef>
                <a:buClrTx/>
                <a:buSzTx/>
                <a:buFontTx/>
                <a:buNone/>
              </a:pPr>
              <a:r>
                <a:rPr lang="en-US" altLang="en-US" sz="1650">
                  <a:solidFill>
                    <a:srgbClr val="FFFFFF"/>
                  </a:solidFill>
                </a:rPr>
                <a:t>Code the foo class (6)</a:t>
              </a:r>
            </a:p>
            <a:p>
              <a:pPr eaLnBrk="1" hangingPunct="1">
                <a:spcBef>
                  <a:spcPct val="0"/>
                </a:spcBef>
                <a:buClrTx/>
                <a:buSzTx/>
                <a:buFontTx/>
                <a:buNone/>
              </a:pPr>
              <a:r>
                <a:rPr lang="en-US" altLang="en-US" sz="1650">
                  <a:solidFill>
                    <a:srgbClr val="FFFFFF"/>
                  </a:solidFill>
                </a:rPr>
                <a:t>Update performance tests (4)</a:t>
              </a:r>
            </a:p>
          </p:txBody>
        </p:sp>
      </p:grpSp>
    </p:spTree>
    <p:extLst>
      <p:ext uri="{BB962C8B-B14F-4D97-AF65-F5344CB8AC3E}">
        <p14:creationId xmlns:p14="http://schemas.microsoft.com/office/powerpoint/2010/main" val="301699742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61</a:t>
            </a:fld>
            <a:endParaRPr lang="en-US" dirty="0"/>
          </a:p>
        </p:txBody>
      </p:sp>
      <p:sp>
        <p:nvSpPr>
          <p:cNvPr id="7" name="Rectangle 1"/>
          <p:cNvSpPr>
            <a:spLocks noGrp="1" noChangeArrowheads="1"/>
          </p:cNvSpPr>
          <p:nvPr>
            <p:ph type="title"/>
          </p:nvPr>
        </p:nvSpPr>
        <p:spPr>
          <a:xfrm>
            <a:off x="1751113" y="332656"/>
            <a:ext cx="7096125" cy="249008"/>
          </a:xfrm>
        </p:spPr>
        <p:txBody>
          <a:bodyPr/>
          <a:lstStyle/>
          <a:p>
            <a:pPr eaLnBrk="1" hangingPunct="1">
              <a:defRPr/>
            </a:pPr>
            <a:r>
              <a:rPr lang="en-US" b="0" dirty="0"/>
              <a:t>Key Meeting Parameters</a:t>
            </a:r>
          </a:p>
        </p:txBody>
      </p:sp>
      <p:sp>
        <p:nvSpPr>
          <p:cNvPr id="8" name="Rectangle 2"/>
          <p:cNvSpPr>
            <a:spLocks noGrp="1" noChangeArrowheads="1"/>
          </p:cNvSpPr>
          <p:nvPr>
            <p:ph type="body" idx="4294967295"/>
          </p:nvPr>
        </p:nvSpPr>
        <p:spPr>
          <a:xfrm>
            <a:off x="1781176" y="2057401"/>
            <a:ext cx="8059240" cy="4105275"/>
          </a:xfrm>
          <a:prstGeom prst="rect">
            <a:avLst/>
          </a:prstGeom>
        </p:spPr>
        <p:txBody>
          <a:bodyPr/>
          <a:lstStyle/>
          <a:p>
            <a:pPr marL="781050" lvl="1">
              <a:lnSpc>
                <a:spcPct val="80000"/>
              </a:lnSpc>
              <a:spcBef>
                <a:spcPts val="1125"/>
              </a:spcBef>
              <a:defRPr/>
            </a:pPr>
            <a:r>
              <a:rPr lang="en-US" dirty="0">
                <a:latin typeface="Gill Sans"/>
              </a:rPr>
              <a:t>Daily</a:t>
            </a:r>
          </a:p>
          <a:p>
            <a:pPr marL="781050" lvl="1">
              <a:lnSpc>
                <a:spcPct val="80000"/>
              </a:lnSpc>
              <a:spcBef>
                <a:spcPts val="1125"/>
              </a:spcBef>
              <a:defRPr/>
            </a:pPr>
            <a:r>
              <a:rPr lang="en-US" dirty="0">
                <a:latin typeface="Gill Sans"/>
              </a:rPr>
              <a:t>15-minutes</a:t>
            </a:r>
          </a:p>
          <a:p>
            <a:pPr marL="781050" lvl="1">
              <a:lnSpc>
                <a:spcPct val="80000"/>
              </a:lnSpc>
              <a:spcBef>
                <a:spcPts val="1125"/>
              </a:spcBef>
              <a:defRPr/>
            </a:pPr>
            <a:r>
              <a:rPr lang="en-US" dirty="0">
                <a:latin typeface="Gill Sans"/>
              </a:rPr>
              <a:t>Stand-up</a:t>
            </a:r>
          </a:p>
          <a:p>
            <a:pPr marL="523875">
              <a:lnSpc>
                <a:spcPct val="80000"/>
              </a:lnSpc>
              <a:spcBef>
                <a:spcPts val="1125"/>
              </a:spcBef>
              <a:defRPr/>
            </a:pPr>
            <a:r>
              <a:rPr lang="en-US" dirty="0">
                <a:latin typeface="Gill Sans"/>
              </a:rPr>
              <a:t>Not for problem solving</a:t>
            </a:r>
          </a:p>
          <a:p>
            <a:pPr marL="781050" lvl="1">
              <a:lnSpc>
                <a:spcPct val="80000"/>
              </a:lnSpc>
              <a:spcBef>
                <a:spcPts val="1125"/>
              </a:spcBef>
              <a:defRPr/>
            </a:pPr>
            <a:r>
              <a:rPr lang="en-US" dirty="0">
                <a:latin typeface="Gill Sans"/>
              </a:rPr>
              <a:t>Whole world is invited</a:t>
            </a:r>
          </a:p>
          <a:p>
            <a:pPr marL="781050" lvl="1">
              <a:lnSpc>
                <a:spcPct val="80000"/>
              </a:lnSpc>
              <a:spcBef>
                <a:spcPts val="1125"/>
              </a:spcBef>
              <a:defRPr/>
            </a:pPr>
            <a:r>
              <a:rPr lang="en-US" dirty="0">
                <a:latin typeface="Gill Sans"/>
              </a:rPr>
              <a:t>Only team members, Scrum Master, product owner, can talk</a:t>
            </a:r>
          </a:p>
          <a:p>
            <a:pPr marL="523875">
              <a:lnSpc>
                <a:spcPct val="80000"/>
              </a:lnSpc>
              <a:spcBef>
                <a:spcPts val="1125"/>
              </a:spcBef>
              <a:defRPr/>
            </a:pPr>
            <a:r>
              <a:rPr lang="en-US" dirty="0">
                <a:latin typeface="Gill Sans"/>
              </a:rPr>
              <a:t>Helps avoid other unnecessary meetings</a:t>
            </a:r>
          </a:p>
        </p:txBody>
      </p:sp>
      <p:pic>
        <p:nvPicPr>
          <p:cNvPr id="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96200" y="1124744"/>
            <a:ext cx="3599681" cy="2696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5537191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62</a:t>
            </a:fld>
            <a:endParaRPr lang="en-US" dirty="0"/>
          </a:p>
        </p:txBody>
      </p:sp>
      <p:sp>
        <p:nvSpPr>
          <p:cNvPr id="7" name="Rectangle 1"/>
          <p:cNvSpPr>
            <a:spLocks noGrp="1" noChangeArrowheads="1"/>
          </p:cNvSpPr>
          <p:nvPr>
            <p:ph type="title"/>
          </p:nvPr>
        </p:nvSpPr>
        <p:spPr>
          <a:xfrm>
            <a:off x="1631504" y="245672"/>
            <a:ext cx="7096125" cy="249008"/>
          </a:xfrm>
        </p:spPr>
        <p:txBody>
          <a:bodyPr/>
          <a:lstStyle/>
          <a:p>
            <a:pPr eaLnBrk="1" hangingPunct="1">
              <a:defRPr/>
            </a:pPr>
            <a:r>
              <a:rPr lang="en-US" b="0" dirty="0"/>
              <a:t>Everyone answers 3 questions</a:t>
            </a:r>
          </a:p>
        </p:txBody>
      </p:sp>
      <p:sp>
        <p:nvSpPr>
          <p:cNvPr id="8" name="Rectangle 2"/>
          <p:cNvSpPr>
            <a:spLocks noGrp="1" noChangeArrowheads="1"/>
          </p:cNvSpPr>
          <p:nvPr>
            <p:ph type="body" idx="4294967295"/>
          </p:nvPr>
        </p:nvSpPr>
        <p:spPr>
          <a:xfrm>
            <a:off x="1991544" y="5445224"/>
            <a:ext cx="7096125" cy="858017"/>
          </a:xfrm>
          <a:prstGeom prst="rect">
            <a:avLst/>
          </a:prstGeom>
        </p:spPr>
        <p:txBody>
          <a:bodyPr/>
          <a:lstStyle/>
          <a:p>
            <a:pPr marL="523875">
              <a:lnSpc>
                <a:spcPct val="70000"/>
              </a:lnSpc>
              <a:defRPr/>
            </a:pPr>
            <a:r>
              <a:rPr lang="en-US" dirty="0"/>
              <a:t>These are </a:t>
            </a:r>
            <a:r>
              <a:rPr lang="en-US" i="1" dirty="0">
                <a:solidFill>
                  <a:srgbClr val="FF0000"/>
                </a:solidFill>
              </a:rPr>
              <a:t>not</a:t>
            </a:r>
            <a:r>
              <a:rPr lang="en-US" dirty="0"/>
              <a:t> status for the </a:t>
            </a:r>
            <a:r>
              <a:rPr lang="en-US" dirty="0" err="1"/>
              <a:t>ScrumMaster</a:t>
            </a:r>
            <a:r>
              <a:rPr lang="en-US" dirty="0"/>
              <a:t> or Management</a:t>
            </a:r>
          </a:p>
          <a:p>
            <a:pPr marL="781050" lvl="1">
              <a:lnSpc>
                <a:spcPct val="70000"/>
              </a:lnSpc>
              <a:defRPr/>
            </a:pPr>
            <a:r>
              <a:rPr lang="en-US" dirty="0"/>
              <a:t>They are commitments in front of peers</a:t>
            </a:r>
          </a:p>
        </p:txBody>
      </p:sp>
      <p:grpSp>
        <p:nvGrpSpPr>
          <p:cNvPr id="9" name="Group 3"/>
          <p:cNvGrpSpPr>
            <a:grpSpLocks/>
          </p:cNvGrpSpPr>
          <p:nvPr/>
        </p:nvGrpSpPr>
        <p:grpSpPr bwMode="auto">
          <a:xfrm>
            <a:off x="2781301" y="1322767"/>
            <a:ext cx="5153025" cy="1144023"/>
            <a:chOff x="0" y="0"/>
            <a:chExt cx="4328" cy="960"/>
          </a:xfrm>
        </p:grpSpPr>
        <p:sp>
          <p:nvSpPr>
            <p:cNvPr id="10" name="AutoShape 4"/>
            <p:cNvSpPr>
              <a:spLocks/>
            </p:cNvSpPr>
            <p:nvPr/>
          </p:nvSpPr>
          <p:spPr bwMode="auto">
            <a:xfrm>
              <a:off x="0" y="312"/>
              <a:ext cx="4264" cy="648"/>
            </a:xfrm>
            <a:prstGeom prst="roundRect">
              <a:avLst>
                <a:gd name="adj" fmla="val 29630"/>
              </a:avLst>
            </a:prstGeom>
            <a:blipFill dpi="0" rotWithShape="0">
              <a:blip r:embed="rId2"/>
              <a:srcRect/>
              <a:tile tx="0" ty="0" sx="100000" sy="100000" flip="none" algn="tl"/>
            </a:blipFill>
            <a:ln w="25400">
              <a:solidFill>
                <a:srgbClr val="00531C"/>
              </a:solidFill>
              <a:round/>
              <a:headEnd/>
              <a:tailEnd/>
            </a:ln>
            <a:effectLst>
              <a:outerShdw blurRad="114300" dist="63500" dir="2700000" algn="ctr" rotWithShape="0">
                <a:schemeClr val="bg2">
                  <a:alpha val="29999"/>
                </a:schemeClr>
              </a:outerShdw>
            </a:effectLst>
          </p:spPr>
          <p:txBody>
            <a:bodyPr lIns="0" tIns="0" rIns="0" bIns="0" anchor="ctr"/>
            <a:lstStyle/>
            <a:p>
              <a:pPr>
                <a:tabLst>
                  <a:tab pos="800100" algn="l"/>
                </a:tabLst>
                <a:defRPr/>
              </a:pPr>
              <a:r>
                <a:rPr lang="en-US" sz="2700">
                  <a:solidFill>
                    <a:srgbClr val="FFFFFF"/>
                  </a:solidFill>
                  <a:latin typeface="Arial" charset="0"/>
                  <a:ea typeface="ヒラギノ角ゴ Pro W3" pitchFamily="80" charset="-128"/>
                  <a:cs typeface="Arial" charset="0"/>
                  <a:sym typeface="Arial" charset="0"/>
                </a:rPr>
                <a:t>What did you do yesterday?</a:t>
              </a:r>
            </a:p>
          </p:txBody>
        </p:sp>
        <p:grpSp>
          <p:nvGrpSpPr>
            <p:cNvPr id="11" name="Group 5"/>
            <p:cNvGrpSpPr>
              <a:grpSpLocks/>
            </p:cNvGrpSpPr>
            <p:nvPr/>
          </p:nvGrpSpPr>
          <p:grpSpPr bwMode="auto">
            <a:xfrm>
              <a:off x="3728" y="0"/>
              <a:ext cx="600" cy="600"/>
              <a:chOff x="0" y="0"/>
              <a:chExt cx="600" cy="600"/>
            </a:xfrm>
          </p:grpSpPr>
          <p:pic>
            <p:nvPicPr>
              <p:cNvPr id="12" name="Picture 6"/>
              <p:cNvPicPr>
                <a:picLocks noChangeAspect="1" noChangeArrowheads="1"/>
              </p:cNvPicPr>
              <p:nvPr/>
            </p:nvPicPr>
            <p:blipFill>
              <a:blip r:embed="rId3"/>
              <a:srcRect/>
              <a:stretch>
                <a:fillRect/>
              </a:stretch>
            </p:blipFill>
            <p:spPr bwMode="auto">
              <a:xfrm>
                <a:off x="0" y="0"/>
                <a:ext cx="600" cy="600"/>
              </a:xfrm>
              <a:prstGeom prst="rect">
                <a:avLst/>
              </a:prstGeom>
              <a:noFill/>
              <a:ln>
                <a:noFill/>
              </a:ln>
              <a:effectLst>
                <a:outerShdw blurRad="127000" dist="101600" dir="2700000" algn="ctr" rotWithShape="0">
                  <a:schemeClr val="bg2">
                    <a:alpha val="7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FFFFFF"/>
                    </a:solidFill>
                    <a:miter lim="800000"/>
                    <a:headEnd/>
                    <a:tailEnd/>
                  </a14:hiddenLine>
                </a:ext>
              </a:extLst>
            </p:spPr>
          </p:pic>
          <p:sp>
            <p:nvSpPr>
              <p:cNvPr id="13" name="Rectangle 7"/>
              <p:cNvSpPr>
                <a:spLocks/>
              </p:cNvSpPr>
              <p:nvPr/>
            </p:nvSpPr>
            <p:spPr bwMode="auto">
              <a:xfrm>
                <a:off x="123" y="40"/>
                <a:ext cx="336" cy="528"/>
              </a:xfrm>
              <a:prstGeom prst="rect">
                <a:avLst/>
              </a:prstGeom>
              <a:noFill/>
              <a:ln>
                <a:noFill/>
              </a:ln>
              <a:effectLst>
                <a:outerShdw blurRad="50800" dist="25399" dir="13500000" algn="ctr" rotWithShape="0">
                  <a:schemeClr val="bg2">
                    <a:alpha val="74997"/>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p>
                <a:pPr algn="ctr">
                  <a:tabLst>
                    <a:tab pos="800100" algn="l"/>
                  </a:tabLst>
                  <a:defRPr/>
                </a:pPr>
                <a:r>
                  <a:rPr lang="en-US" sz="3750">
                    <a:solidFill>
                      <a:srgbClr val="FFFFFF"/>
                    </a:solidFill>
                    <a:latin typeface="Arial Rounded MT Bold" pitchFamily="80" charset="0"/>
                    <a:ea typeface="Arial Rounded MT Bold" pitchFamily="80" charset="0"/>
                    <a:cs typeface="Arial Rounded MT Bold" pitchFamily="80" charset="0"/>
                    <a:sym typeface="Arial Rounded MT Bold" pitchFamily="80" charset="0"/>
                  </a:rPr>
                  <a:t>1</a:t>
                </a:r>
              </a:p>
            </p:txBody>
          </p:sp>
        </p:grpSp>
      </p:grpSp>
      <p:grpSp>
        <p:nvGrpSpPr>
          <p:cNvPr id="14" name="Group 8"/>
          <p:cNvGrpSpPr>
            <a:grpSpLocks/>
          </p:cNvGrpSpPr>
          <p:nvPr/>
        </p:nvGrpSpPr>
        <p:grpSpPr bwMode="auto">
          <a:xfrm>
            <a:off x="2781301" y="2475292"/>
            <a:ext cx="5153025" cy="1144023"/>
            <a:chOff x="0" y="0"/>
            <a:chExt cx="4328" cy="960"/>
          </a:xfrm>
        </p:grpSpPr>
        <p:sp>
          <p:nvSpPr>
            <p:cNvPr id="15" name="AutoShape 9"/>
            <p:cNvSpPr>
              <a:spLocks/>
            </p:cNvSpPr>
            <p:nvPr/>
          </p:nvSpPr>
          <p:spPr bwMode="auto">
            <a:xfrm>
              <a:off x="0" y="312"/>
              <a:ext cx="4264" cy="648"/>
            </a:xfrm>
            <a:prstGeom prst="roundRect">
              <a:avLst>
                <a:gd name="adj" fmla="val 29630"/>
              </a:avLst>
            </a:prstGeom>
            <a:blipFill dpi="0" rotWithShape="0">
              <a:blip r:embed="rId2"/>
              <a:srcRect/>
              <a:tile tx="0" ty="0" sx="100000" sy="100000" flip="none" algn="tl"/>
            </a:blipFill>
            <a:ln w="25400">
              <a:solidFill>
                <a:srgbClr val="00531C"/>
              </a:solidFill>
              <a:round/>
              <a:headEnd/>
              <a:tailEnd/>
            </a:ln>
            <a:effectLst>
              <a:outerShdw blurRad="114300" dist="63500" dir="2700000" algn="ctr" rotWithShape="0">
                <a:schemeClr val="bg2">
                  <a:alpha val="29999"/>
                </a:schemeClr>
              </a:outerShdw>
            </a:effectLst>
          </p:spPr>
          <p:txBody>
            <a:bodyPr lIns="0" tIns="0" rIns="0" bIns="0" anchor="ctr"/>
            <a:lstStyle/>
            <a:p>
              <a:pPr>
                <a:tabLst>
                  <a:tab pos="800100" algn="l"/>
                </a:tabLst>
                <a:defRPr/>
              </a:pPr>
              <a:r>
                <a:rPr lang="en-US" sz="2700">
                  <a:solidFill>
                    <a:srgbClr val="FFFFFF"/>
                  </a:solidFill>
                  <a:latin typeface="Arial" charset="0"/>
                  <a:ea typeface="ヒラギノ角ゴ Pro W3" pitchFamily="80" charset="-128"/>
                  <a:cs typeface="Arial" charset="0"/>
                  <a:sym typeface="Arial" charset="0"/>
                </a:rPr>
                <a:t>What will you do today?</a:t>
              </a:r>
            </a:p>
          </p:txBody>
        </p:sp>
        <p:grpSp>
          <p:nvGrpSpPr>
            <p:cNvPr id="16" name="Group 10"/>
            <p:cNvGrpSpPr>
              <a:grpSpLocks/>
            </p:cNvGrpSpPr>
            <p:nvPr/>
          </p:nvGrpSpPr>
          <p:grpSpPr bwMode="auto">
            <a:xfrm>
              <a:off x="3728" y="0"/>
              <a:ext cx="600" cy="600"/>
              <a:chOff x="0" y="0"/>
              <a:chExt cx="600" cy="600"/>
            </a:xfrm>
          </p:grpSpPr>
          <p:pic>
            <p:nvPicPr>
              <p:cNvPr id="17" name="Picture 11"/>
              <p:cNvPicPr>
                <a:picLocks noChangeAspect="1" noChangeArrowheads="1"/>
              </p:cNvPicPr>
              <p:nvPr/>
            </p:nvPicPr>
            <p:blipFill>
              <a:blip r:embed="rId3"/>
              <a:srcRect/>
              <a:stretch>
                <a:fillRect/>
              </a:stretch>
            </p:blipFill>
            <p:spPr bwMode="auto">
              <a:xfrm>
                <a:off x="0" y="0"/>
                <a:ext cx="600" cy="600"/>
              </a:xfrm>
              <a:prstGeom prst="rect">
                <a:avLst/>
              </a:prstGeom>
              <a:noFill/>
              <a:ln>
                <a:noFill/>
              </a:ln>
              <a:effectLst>
                <a:outerShdw blurRad="127000" dist="101600" dir="2700000" algn="ctr" rotWithShape="0">
                  <a:schemeClr val="bg2">
                    <a:alpha val="7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FFFFFF"/>
                    </a:solidFill>
                    <a:miter lim="800000"/>
                    <a:headEnd/>
                    <a:tailEnd/>
                  </a14:hiddenLine>
                </a:ext>
              </a:extLst>
            </p:spPr>
          </p:pic>
          <p:sp>
            <p:nvSpPr>
              <p:cNvPr id="18" name="Rectangle 12"/>
              <p:cNvSpPr>
                <a:spLocks/>
              </p:cNvSpPr>
              <p:nvPr/>
            </p:nvSpPr>
            <p:spPr bwMode="auto">
              <a:xfrm>
                <a:off x="123" y="40"/>
                <a:ext cx="336" cy="528"/>
              </a:xfrm>
              <a:prstGeom prst="rect">
                <a:avLst/>
              </a:prstGeom>
              <a:noFill/>
              <a:ln>
                <a:noFill/>
              </a:ln>
              <a:effectLst>
                <a:outerShdw blurRad="50800" dist="25399" dir="13500000" algn="ctr" rotWithShape="0">
                  <a:schemeClr val="bg2">
                    <a:alpha val="74997"/>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p>
                <a:pPr algn="ctr">
                  <a:tabLst>
                    <a:tab pos="800100" algn="l"/>
                  </a:tabLst>
                  <a:defRPr/>
                </a:pPr>
                <a:r>
                  <a:rPr lang="en-US" sz="3750">
                    <a:solidFill>
                      <a:srgbClr val="FFFFFF"/>
                    </a:solidFill>
                    <a:latin typeface="Arial Rounded MT Bold" pitchFamily="80" charset="0"/>
                    <a:ea typeface="Arial Rounded MT Bold" pitchFamily="80" charset="0"/>
                    <a:cs typeface="Arial Rounded MT Bold" pitchFamily="80" charset="0"/>
                    <a:sym typeface="Arial Rounded MT Bold" pitchFamily="80" charset="0"/>
                  </a:rPr>
                  <a:t>2</a:t>
                </a:r>
              </a:p>
            </p:txBody>
          </p:sp>
        </p:grpSp>
      </p:grpSp>
      <p:grpSp>
        <p:nvGrpSpPr>
          <p:cNvPr id="19" name="Group 13"/>
          <p:cNvGrpSpPr>
            <a:grpSpLocks/>
          </p:cNvGrpSpPr>
          <p:nvPr/>
        </p:nvGrpSpPr>
        <p:grpSpPr bwMode="auto">
          <a:xfrm>
            <a:off x="2781301" y="3627817"/>
            <a:ext cx="5153025" cy="1144023"/>
            <a:chOff x="0" y="0"/>
            <a:chExt cx="4328" cy="960"/>
          </a:xfrm>
        </p:grpSpPr>
        <p:sp>
          <p:nvSpPr>
            <p:cNvPr id="20" name="AutoShape 14"/>
            <p:cNvSpPr>
              <a:spLocks/>
            </p:cNvSpPr>
            <p:nvPr/>
          </p:nvSpPr>
          <p:spPr bwMode="auto">
            <a:xfrm>
              <a:off x="0" y="312"/>
              <a:ext cx="4264" cy="648"/>
            </a:xfrm>
            <a:prstGeom prst="roundRect">
              <a:avLst>
                <a:gd name="adj" fmla="val 29630"/>
              </a:avLst>
            </a:prstGeom>
            <a:blipFill dpi="0" rotWithShape="0">
              <a:blip r:embed="rId2"/>
              <a:srcRect/>
              <a:tile tx="0" ty="0" sx="100000" sy="100000" flip="none" algn="tl"/>
            </a:blipFill>
            <a:ln w="25400">
              <a:solidFill>
                <a:srgbClr val="00531C"/>
              </a:solidFill>
              <a:round/>
              <a:headEnd/>
              <a:tailEnd/>
            </a:ln>
            <a:effectLst>
              <a:outerShdw blurRad="114300" dist="63500" dir="2700000" algn="ctr" rotWithShape="0">
                <a:schemeClr val="bg2">
                  <a:alpha val="29999"/>
                </a:schemeClr>
              </a:outerShdw>
            </a:effectLst>
          </p:spPr>
          <p:txBody>
            <a:bodyPr lIns="0" tIns="0" rIns="0" bIns="0" anchor="ctr"/>
            <a:lstStyle/>
            <a:p>
              <a:pPr>
                <a:tabLst>
                  <a:tab pos="800100" algn="l"/>
                </a:tabLst>
                <a:defRPr/>
              </a:pPr>
              <a:r>
                <a:rPr lang="en-US" sz="2700" dirty="0">
                  <a:solidFill>
                    <a:srgbClr val="FFFFFF"/>
                  </a:solidFill>
                  <a:latin typeface="Arial" charset="0"/>
                  <a:ea typeface="ヒラギノ角ゴ Pro W3" pitchFamily="80" charset="-128"/>
                  <a:cs typeface="Arial" charset="0"/>
                  <a:sym typeface="Arial" charset="0"/>
                </a:rPr>
                <a:t>Is anything in your way? </a:t>
              </a:r>
              <a:r>
                <a:rPr lang="en-US" sz="1500" i="1" dirty="0">
                  <a:solidFill>
                    <a:srgbClr val="FF0000"/>
                  </a:solidFill>
                  <a:latin typeface="Arial" charset="0"/>
                  <a:ea typeface="ヒラギノ角ゴ Pro W3" pitchFamily="80" charset="-128"/>
                  <a:cs typeface="Arial" charset="0"/>
                  <a:sym typeface="Arial" charset="0"/>
                </a:rPr>
                <a:t>Impediments</a:t>
              </a:r>
            </a:p>
          </p:txBody>
        </p:sp>
        <p:grpSp>
          <p:nvGrpSpPr>
            <p:cNvPr id="21" name="Group 15"/>
            <p:cNvGrpSpPr>
              <a:grpSpLocks/>
            </p:cNvGrpSpPr>
            <p:nvPr/>
          </p:nvGrpSpPr>
          <p:grpSpPr bwMode="auto">
            <a:xfrm>
              <a:off x="3728" y="0"/>
              <a:ext cx="600" cy="600"/>
              <a:chOff x="0" y="0"/>
              <a:chExt cx="600" cy="600"/>
            </a:xfrm>
          </p:grpSpPr>
          <p:pic>
            <p:nvPicPr>
              <p:cNvPr id="22" name="Picture 16"/>
              <p:cNvPicPr>
                <a:picLocks noChangeAspect="1" noChangeArrowheads="1"/>
              </p:cNvPicPr>
              <p:nvPr/>
            </p:nvPicPr>
            <p:blipFill>
              <a:blip r:embed="rId3"/>
              <a:srcRect/>
              <a:stretch>
                <a:fillRect/>
              </a:stretch>
            </p:blipFill>
            <p:spPr bwMode="auto">
              <a:xfrm>
                <a:off x="0" y="0"/>
                <a:ext cx="600" cy="600"/>
              </a:xfrm>
              <a:prstGeom prst="rect">
                <a:avLst/>
              </a:prstGeom>
              <a:noFill/>
              <a:ln>
                <a:noFill/>
              </a:ln>
              <a:effectLst>
                <a:outerShdw blurRad="127000" dist="101600" dir="2700000" algn="ctr" rotWithShape="0">
                  <a:schemeClr val="bg2">
                    <a:alpha val="7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FFFFFF"/>
                    </a:solidFill>
                    <a:miter lim="800000"/>
                    <a:headEnd/>
                    <a:tailEnd/>
                  </a14:hiddenLine>
                </a:ext>
              </a:extLst>
            </p:spPr>
          </p:pic>
          <p:sp>
            <p:nvSpPr>
              <p:cNvPr id="23" name="Rectangle 17"/>
              <p:cNvSpPr>
                <a:spLocks/>
              </p:cNvSpPr>
              <p:nvPr/>
            </p:nvSpPr>
            <p:spPr bwMode="auto">
              <a:xfrm>
                <a:off x="123" y="40"/>
                <a:ext cx="336" cy="528"/>
              </a:xfrm>
              <a:prstGeom prst="rect">
                <a:avLst/>
              </a:prstGeom>
              <a:noFill/>
              <a:ln>
                <a:noFill/>
              </a:ln>
              <a:effectLst>
                <a:outerShdw blurRad="50800" dist="25399" dir="13500000" algn="ctr" rotWithShape="0">
                  <a:schemeClr val="bg2">
                    <a:alpha val="74997"/>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p>
                <a:pPr algn="ctr">
                  <a:tabLst>
                    <a:tab pos="800100" algn="l"/>
                  </a:tabLst>
                  <a:defRPr/>
                </a:pPr>
                <a:r>
                  <a:rPr lang="en-US" sz="3750">
                    <a:solidFill>
                      <a:srgbClr val="FFFFFF"/>
                    </a:solidFill>
                    <a:latin typeface="Arial Rounded MT Bold" pitchFamily="80" charset="0"/>
                    <a:ea typeface="Arial Rounded MT Bold" pitchFamily="80" charset="0"/>
                    <a:cs typeface="Arial Rounded MT Bold" pitchFamily="80" charset="0"/>
                    <a:sym typeface="Arial Rounded MT Bold" pitchFamily="80" charset="0"/>
                  </a:rPr>
                  <a:t>3</a:t>
                </a:r>
              </a:p>
            </p:txBody>
          </p:sp>
        </p:grpSp>
      </p:grpSp>
      <p:pic>
        <p:nvPicPr>
          <p:cNvPr id="28676" name="Picture 4" descr="Image result for rugby scrum one team"/>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28248" y="831372"/>
            <a:ext cx="3656533" cy="24337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62472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63</a:t>
            </a:fld>
            <a:endParaRPr lang="en-US" dirty="0"/>
          </a:p>
        </p:txBody>
      </p:sp>
      <p:sp>
        <p:nvSpPr>
          <p:cNvPr id="7" name="Rectangle 1"/>
          <p:cNvSpPr>
            <a:spLocks noGrp="1" noChangeArrowheads="1"/>
          </p:cNvSpPr>
          <p:nvPr>
            <p:ph type="title"/>
          </p:nvPr>
        </p:nvSpPr>
        <p:spPr>
          <a:xfrm>
            <a:off x="2349624" y="366342"/>
            <a:ext cx="7096125" cy="249008"/>
          </a:xfrm>
        </p:spPr>
        <p:txBody>
          <a:bodyPr/>
          <a:lstStyle/>
          <a:p>
            <a:pPr eaLnBrk="1" hangingPunct="1">
              <a:defRPr/>
            </a:pPr>
            <a:r>
              <a:rPr lang="en-US" b="0" dirty="0"/>
              <a:t>The sprint review ( Show/Tell)</a:t>
            </a:r>
          </a:p>
        </p:txBody>
      </p:sp>
      <p:sp>
        <p:nvSpPr>
          <p:cNvPr id="8" name="Rectangle 2"/>
          <p:cNvSpPr>
            <a:spLocks noGrp="1" noChangeArrowheads="1"/>
          </p:cNvSpPr>
          <p:nvPr>
            <p:ph type="body" idx="4294967295"/>
          </p:nvPr>
        </p:nvSpPr>
        <p:spPr>
          <a:xfrm>
            <a:off x="2349625" y="1701102"/>
            <a:ext cx="7096125" cy="3810000"/>
          </a:xfrm>
          <a:prstGeom prst="rect">
            <a:avLst/>
          </a:prstGeom>
        </p:spPr>
        <p:txBody>
          <a:bodyPr/>
          <a:lstStyle/>
          <a:p>
            <a:pPr marL="523875">
              <a:lnSpc>
                <a:spcPct val="80000"/>
              </a:lnSpc>
              <a:defRPr/>
            </a:pPr>
            <a:r>
              <a:rPr lang="en-US" dirty="0"/>
              <a:t>Team presents what it accomplished during the sprint</a:t>
            </a:r>
          </a:p>
          <a:p>
            <a:pPr marL="523875">
              <a:lnSpc>
                <a:spcPct val="80000"/>
              </a:lnSpc>
              <a:spcBef>
                <a:spcPts val="1125"/>
              </a:spcBef>
              <a:defRPr/>
            </a:pPr>
            <a:r>
              <a:rPr lang="en-US" dirty="0"/>
              <a:t>Typically takes the form of a demo of new features or underlying architecture</a:t>
            </a:r>
          </a:p>
          <a:p>
            <a:pPr marL="523875">
              <a:lnSpc>
                <a:spcPct val="80000"/>
              </a:lnSpc>
              <a:spcBef>
                <a:spcPts val="1125"/>
              </a:spcBef>
              <a:defRPr/>
            </a:pPr>
            <a:r>
              <a:rPr lang="en-US" dirty="0"/>
              <a:t>Informal</a:t>
            </a:r>
          </a:p>
          <a:p>
            <a:pPr marL="781050" lvl="1">
              <a:lnSpc>
                <a:spcPct val="80000"/>
              </a:lnSpc>
              <a:spcBef>
                <a:spcPts val="1125"/>
              </a:spcBef>
              <a:defRPr/>
            </a:pPr>
            <a:r>
              <a:rPr lang="en-US" dirty="0"/>
              <a:t>2-hour prep time rule</a:t>
            </a:r>
          </a:p>
          <a:p>
            <a:pPr marL="781050" lvl="1">
              <a:lnSpc>
                <a:spcPct val="80000"/>
              </a:lnSpc>
              <a:spcBef>
                <a:spcPts val="1125"/>
              </a:spcBef>
              <a:defRPr/>
            </a:pPr>
            <a:r>
              <a:rPr lang="en-US" dirty="0"/>
              <a:t>No slides</a:t>
            </a:r>
          </a:p>
          <a:p>
            <a:pPr marL="781050" lvl="1">
              <a:lnSpc>
                <a:spcPct val="80000"/>
              </a:lnSpc>
              <a:spcBef>
                <a:spcPts val="1125"/>
              </a:spcBef>
              <a:defRPr/>
            </a:pPr>
            <a:r>
              <a:rPr lang="en-US" dirty="0"/>
              <a:t>Actual working software</a:t>
            </a:r>
          </a:p>
          <a:p>
            <a:pPr marL="646050" lvl="1" indent="0">
              <a:lnSpc>
                <a:spcPct val="80000"/>
              </a:lnSpc>
              <a:spcBef>
                <a:spcPts val="1125"/>
              </a:spcBef>
              <a:buNone/>
              <a:defRPr/>
            </a:pPr>
            <a:endParaRPr lang="en-US" dirty="0"/>
          </a:p>
          <a:p>
            <a:pPr marL="523875">
              <a:lnSpc>
                <a:spcPct val="80000"/>
              </a:lnSpc>
              <a:spcBef>
                <a:spcPts val="1125"/>
              </a:spcBef>
              <a:defRPr/>
            </a:pPr>
            <a:r>
              <a:rPr lang="en-US" sz="1800" dirty="0"/>
              <a:t>Whole team participates</a:t>
            </a:r>
          </a:p>
          <a:p>
            <a:pPr marL="523875">
              <a:lnSpc>
                <a:spcPct val="80000"/>
              </a:lnSpc>
              <a:spcBef>
                <a:spcPts val="1125"/>
              </a:spcBef>
              <a:defRPr/>
            </a:pPr>
            <a:r>
              <a:rPr lang="en-US" sz="1800" dirty="0"/>
              <a:t>Invite the world</a:t>
            </a:r>
          </a:p>
        </p:txBody>
      </p:sp>
      <p:pic>
        <p:nvPicPr>
          <p:cNvPr id="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3664" y="4019179"/>
            <a:ext cx="2090738" cy="139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28289" y="2780929"/>
            <a:ext cx="2090738" cy="139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8067178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64</a:t>
            </a:fld>
            <a:endParaRPr lang="en-US" dirty="0"/>
          </a:p>
        </p:txBody>
      </p:sp>
      <p:sp>
        <p:nvSpPr>
          <p:cNvPr id="7" name="Rectangle 1"/>
          <p:cNvSpPr>
            <a:spLocks noGrp="1" noChangeArrowheads="1"/>
          </p:cNvSpPr>
          <p:nvPr>
            <p:ph type="title"/>
          </p:nvPr>
        </p:nvSpPr>
        <p:spPr>
          <a:xfrm>
            <a:off x="1398073" y="424458"/>
            <a:ext cx="7096125" cy="249008"/>
          </a:xfrm>
        </p:spPr>
        <p:txBody>
          <a:bodyPr/>
          <a:lstStyle/>
          <a:p>
            <a:pPr eaLnBrk="1" hangingPunct="1">
              <a:defRPr/>
            </a:pPr>
            <a:r>
              <a:rPr lang="en-US" b="0" dirty="0"/>
              <a:t>Continuous Improvement..</a:t>
            </a:r>
          </a:p>
        </p:txBody>
      </p:sp>
      <p:sp>
        <p:nvSpPr>
          <p:cNvPr id="8" name="Rectangle 2"/>
          <p:cNvSpPr>
            <a:spLocks noGrp="1" noChangeArrowheads="1"/>
          </p:cNvSpPr>
          <p:nvPr>
            <p:ph type="body" idx="4294967295"/>
          </p:nvPr>
        </p:nvSpPr>
        <p:spPr>
          <a:xfrm>
            <a:off x="1343472" y="1700808"/>
            <a:ext cx="7096125" cy="709512"/>
          </a:xfrm>
          <a:prstGeom prst="rect">
            <a:avLst/>
          </a:prstGeom>
        </p:spPr>
        <p:txBody>
          <a:bodyPr/>
          <a:lstStyle/>
          <a:p>
            <a:pPr marL="523875">
              <a:defRPr/>
            </a:pPr>
            <a:r>
              <a:rPr lang="en-US" dirty="0"/>
              <a:t>Whole team gathers and discusses what they</a:t>
            </a:r>
            <a:r>
              <a:rPr lang="ja-JP" altLang="en-US" dirty="0"/>
              <a:t>’</a:t>
            </a:r>
            <a:r>
              <a:rPr lang="en-US" altLang="ja-JP" dirty="0"/>
              <a:t>d like to: </a:t>
            </a:r>
            <a:r>
              <a:rPr lang="en-US" altLang="ja-JP" sz="1500" u="sng" dirty="0">
                <a:solidFill>
                  <a:schemeClr val="accent5">
                    <a:lumMod val="75000"/>
                  </a:schemeClr>
                </a:solidFill>
              </a:rPr>
              <a:t>Inspect &amp; Adapt</a:t>
            </a:r>
            <a:endParaRPr lang="en-US" u="sng" dirty="0">
              <a:solidFill>
                <a:schemeClr val="accent5">
                  <a:lumMod val="75000"/>
                </a:schemeClr>
              </a:solidFill>
            </a:endParaRPr>
          </a:p>
        </p:txBody>
      </p:sp>
      <p:sp>
        <p:nvSpPr>
          <p:cNvPr id="9" name="AutoShape 3"/>
          <p:cNvSpPr>
            <a:spLocks/>
          </p:cNvSpPr>
          <p:nvPr/>
        </p:nvSpPr>
        <p:spPr bwMode="auto">
          <a:xfrm>
            <a:off x="3374064" y="2316325"/>
            <a:ext cx="2867025" cy="496658"/>
          </a:xfrm>
          <a:prstGeom prst="roundRect">
            <a:avLst>
              <a:gd name="adj" fmla="val 31167"/>
            </a:avLst>
          </a:prstGeom>
          <a:blipFill dpi="0" rotWithShape="0">
            <a:blip r:embed="rId2"/>
            <a:srcRect/>
            <a:tile tx="0" ty="0" sx="100000" sy="100000" flip="none" algn="tl"/>
          </a:blipFill>
          <a:ln w="25400">
            <a:solidFill>
              <a:srgbClr val="003C83"/>
            </a:solidFill>
            <a:round/>
            <a:headEnd/>
            <a:tailEnd/>
          </a:ln>
          <a:effectLst>
            <a:outerShdw blurRad="114300" dist="63500" dir="2700000" algn="ctr" rotWithShape="0">
              <a:schemeClr val="bg2">
                <a:alpha val="29999"/>
              </a:schemeClr>
            </a:outerShdw>
          </a:effectLst>
        </p:spPr>
        <p:txBody>
          <a:bodyPr lIns="0" tIns="0" rIns="0" bIns="0" anchor="ctr"/>
          <a:lstStyle/>
          <a:p>
            <a:pPr algn="ctr">
              <a:tabLst>
                <a:tab pos="800100" algn="l"/>
              </a:tabLst>
              <a:defRPr/>
            </a:pPr>
            <a:r>
              <a:rPr lang="en-US" sz="3000">
                <a:solidFill>
                  <a:srgbClr val="FFFFFF"/>
                </a:solidFill>
                <a:latin typeface="Gill Sans" pitchFamily="80" charset="0"/>
                <a:ea typeface="Gill Sans" pitchFamily="80" charset="0"/>
                <a:cs typeface="Gill Sans" pitchFamily="80" charset="0"/>
                <a:sym typeface="Gill Sans" pitchFamily="80" charset="0"/>
              </a:rPr>
              <a:t>Start doing</a:t>
            </a:r>
            <a:endParaRPr lang="en-US" sz="2700">
              <a:solidFill>
                <a:srgbClr val="FFFFFF"/>
              </a:solidFill>
              <a:effectLst>
                <a:outerShdw blurRad="38100" dist="38100" dir="2700000" algn="tl">
                  <a:srgbClr val="C0C0C0"/>
                </a:outerShdw>
              </a:effectLst>
              <a:latin typeface="Gill Sans" pitchFamily="80" charset="0"/>
              <a:ea typeface="Gill Sans" pitchFamily="80" charset="0"/>
              <a:cs typeface="Gill Sans" pitchFamily="80" charset="0"/>
              <a:sym typeface="Gill Sans" pitchFamily="80" charset="0"/>
            </a:endParaRPr>
          </a:p>
        </p:txBody>
      </p:sp>
      <p:sp>
        <p:nvSpPr>
          <p:cNvPr id="10" name="AutoShape 4"/>
          <p:cNvSpPr>
            <a:spLocks/>
          </p:cNvSpPr>
          <p:nvPr/>
        </p:nvSpPr>
        <p:spPr bwMode="auto">
          <a:xfrm>
            <a:off x="4621839" y="3240250"/>
            <a:ext cx="2867025" cy="496658"/>
          </a:xfrm>
          <a:prstGeom prst="roundRect">
            <a:avLst>
              <a:gd name="adj" fmla="val 31167"/>
            </a:avLst>
          </a:prstGeom>
          <a:blipFill dpi="0" rotWithShape="0">
            <a:blip r:embed="rId2"/>
            <a:srcRect/>
            <a:tile tx="0" ty="0" sx="100000" sy="100000" flip="none" algn="tl"/>
          </a:blipFill>
          <a:ln w="25400">
            <a:solidFill>
              <a:srgbClr val="003C83"/>
            </a:solidFill>
            <a:round/>
            <a:headEnd/>
            <a:tailEnd/>
          </a:ln>
          <a:effectLst>
            <a:outerShdw blurRad="114300" dist="63500" dir="2700000" algn="ctr" rotWithShape="0">
              <a:schemeClr val="bg2">
                <a:alpha val="29999"/>
              </a:schemeClr>
            </a:outerShdw>
          </a:effectLst>
        </p:spPr>
        <p:txBody>
          <a:bodyPr lIns="0" tIns="0" rIns="0" bIns="0" anchor="ctr"/>
          <a:lstStyle/>
          <a:p>
            <a:pPr algn="ctr">
              <a:tabLst>
                <a:tab pos="800100" algn="l"/>
              </a:tabLst>
              <a:defRPr/>
            </a:pPr>
            <a:r>
              <a:rPr lang="en-US" sz="3000">
                <a:solidFill>
                  <a:srgbClr val="FFFFFF"/>
                </a:solidFill>
                <a:latin typeface="Gill Sans" pitchFamily="80" charset="0"/>
                <a:ea typeface="Gill Sans" pitchFamily="80" charset="0"/>
                <a:cs typeface="Gill Sans" pitchFamily="80" charset="0"/>
                <a:sym typeface="Gill Sans" pitchFamily="80" charset="0"/>
              </a:rPr>
              <a:t>Stop doing</a:t>
            </a:r>
          </a:p>
        </p:txBody>
      </p:sp>
      <p:sp>
        <p:nvSpPr>
          <p:cNvPr id="11" name="AutoShape 5"/>
          <p:cNvSpPr>
            <a:spLocks/>
          </p:cNvSpPr>
          <p:nvPr/>
        </p:nvSpPr>
        <p:spPr bwMode="auto">
          <a:xfrm>
            <a:off x="5869614" y="4164175"/>
            <a:ext cx="2867025" cy="496658"/>
          </a:xfrm>
          <a:prstGeom prst="roundRect">
            <a:avLst>
              <a:gd name="adj" fmla="val 31167"/>
            </a:avLst>
          </a:prstGeom>
          <a:blipFill dpi="0" rotWithShape="0">
            <a:blip r:embed="rId2"/>
            <a:srcRect/>
            <a:tile tx="0" ty="0" sx="100000" sy="100000" flip="none" algn="tl"/>
          </a:blipFill>
          <a:ln w="25400">
            <a:solidFill>
              <a:srgbClr val="003C83"/>
            </a:solidFill>
            <a:round/>
            <a:headEnd/>
            <a:tailEnd/>
          </a:ln>
          <a:effectLst>
            <a:outerShdw blurRad="114300" dist="63500" dir="2700000" algn="ctr" rotWithShape="0">
              <a:schemeClr val="bg2">
                <a:alpha val="29999"/>
              </a:schemeClr>
            </a:outerShdw>
          </a:effectLst>
        </p:spPr>
        <p:txBody>
          <a:bodyPr lIns="0" tIns="0" rIns="0" bIns="0" anchor="ctr"/>
          <a:lstStyle/>
          <a:p>
            <a:pPr algn="ctr">
              <a:tabLst>
                <a:tab pos="800100" algn="l"/>
              </a:tabLst>
              <a:defRPr/>
            </a:pPr>
            <a:r>
              <a:rPr lang="en-US" sz="3000">
                <a:solidFill>
                  <a:srgbClr val="FFFFFF"/>
                </a:solidFill>
                <a:latin typeface="Gill Sans" pitchFamily="80" charset="0"/>
                <a:ea typeface="Gill Sans" pitchFamily="80" charset="0"/>
                <a:cs typeface="Gill Sans" pitchFamily="80" charset="0"/>
                <a:sym typeface="Gill Sans" pitchFamily="80" charset="0"/>
              </a:rPr>
              <a:t>Continue doing</a:t>
            </a:r>
            <a:endParaRPr lang="en-US" sz="2700">
              <a:solidFill>
                <a:srgbClr val="FFFFFF"/>
              </a:solidFill>
              <a:effectLst>
                <a:outerShdw blurRad="38100" dist="38100" dir="2700000" algn="tl">
                  <a:srgbClr val="C0C0C0"/>
                </a:outerShdw>
              </a:effectLst>
              <a:latin typeface="Gill Sans" pitchFamily="80" charset="0"/>
              <a:ea typeface="Gill Sans" pitchFamily="80" charset="0"/>
              <a:cs typeface="Gill Sans" pitchFamily="80" charset="0"/>
              <a:sym typeface="Gill Sans" pitchFamily="80" charset="0"/>
            </a:endParaRPr>
          </a:p>
        </p:txBody>
      </p:sp>
      <p:grpSp>
        <p:nvGrpSpPr>
          <p:cNvPr id="12" name="Group 6"/>
          <p:cNvGrpSpPr>
            <a:grpSpLocks/>
          </p:cNvGrpSpPr>
          <p:nvPr/>
        </p:nvGrpSpPr>
        <p:grpSpPr bwMode="auto">
          <a:xfrm>
            <a:off x="2063552" y="4869160"/>
            <a:ext cx="2324100" cy="1190045"/>
            <a:chOff x="0" y="0"/>
            <a:chExt cx="1951" cy="1476"/>
          </a:xfrm>
        </p:grpSpPr>
        <p:pic>
          <p:nvPicPr>
            <p:cNvPr id="13"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951" cy="1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FFFFFF"/>
                  </a:solidFill>
                  <a:miter lim="800000"/>
                  <a:headEnd/>
                  <a:tailEnd/>
                </a14:hiddenLine>
              </a:ext>
            </a:extLst>
          </p:spPr>
        </p:pic>
        <p:sp>
          <p:nvSpPr>
            <p:cNvPr id="14" name="Rectangle 8"/>
            <p:cNvSpPr>
              <a:spLocks/>
            </p:cNvSpPr>
            <p:nvPr/>
          </p:nvSpPr>
          <p:spPr bwMode="auto">
            <a:xfrm>
              <a:off x="102" y="144"/>
              <a:ext cx="1576" cy="1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spcBef>
                  <a:spcPts val="1800"/>
                </a:spcBef>
                <a:buClr>
                  <a:srgbClr val="5F7BAE"/>
                </a:buClr>
                <a:buSzPct val="150000"/>
                <a:buFont typeface="Lucida Grande" charset="0"/>
                <a:buChar char="•"/>
                <a:defRPr sz="3600">
                  <a:solidFill>
                    <a:schemeClr val="tx1"/>
                  </a:solidFill>
                  <a:latin typeface="Gill Sans" charset="0"/>
                  <a:ea typeface="ヒラギノ角ゴ Pro W3" charset="-128"/>
                  <a:sym typeface="Gill Sans" charset="0"/>
                </a:defRPr>
              </a:lvl1pPr>
              <a:lvl2pPr marL="742950" indent="-285750">
                <a:spcBef>
                  <a:spcPts val="1800"/>
                </a:spcBef>
                <a:buSzPct val="150000"/>
                <a:buFont typeface="Lucida Grande" charset="0"/>
                <a:buChar char="•"/>
                <a:defRPr sz="3200">
                  <a:solidFill>
                    <a:schemeClr val="tx1"/>
                  </a:solidFill>
                  <a:latin typeface="Gill Sans" charset="0"/>
                  <a:ea typeface="ヒラギノ角ゴ Pro W3" charset="-128"/>
                  <a:sym typeface="Gill Sans" charset="0"/>
                </a:defRPr>
              </a:lvl2pPr>
              <a:lvl3pPr marL="1143000" indent="-228600">
                <a:spcBef>
                  <a:spcPts val="1800"/>
                </a:spcBef>
                <a:buSzPct val="150000"/>
                <a:buFont typeface="Lucida Grande" charset="0"/>
                <a:buChar char="•"/>
                <a:defRPr sz="2800">
                  <a:solidFill>
                    <a:schemeClr val="tx1"/>
                  </a:solidFill>
                  <a:latin typeface="Gill Sans" charset="0"/>
                  <a:ea typeface="ヒラギノ角ゴ Pro W3" charset="-128"/>
                  <a:sym typeface="Gill Sans" charset="0"/>
                </a:defRPr>
              </a:lvl3pPr>
              <a:lvl4pPr marL="1600200" indent="-228600">
                <a:spcBef>
                  <a:spcPts val="1800"/>
                </a:spcBef>
                <a:buSzPct val="150000"/>
                <a:buFont typeface="Lucida Grande" charset="0"/>
                <a:buChar char="•"/>
                <a:defRPr sz="2400">
                  <a:solidFill>
                    <a:schemeClr val="tx1"/>
                  </a:solidFill>
                  <a:latin typeface="Gill Sans" charset="0"/>
                  <a:ea typeface="ヒラギノ角ゴ Pro W3" charset="-128"/>
                  <a:sym typeface="Gill Sans" charset="0"/>
                </a:defRPr>
              </a:lvl4pPr>
              <a:lvl5pPr marL="2057400" indent="-228600">
                <a:spcBef>
                  <a:spcPts val="1800"/>
                </a:spcBef>
                <a:buSzPct val="150000"/>
                <a:buFont typeface="Lucida Grande" charset="0"/>
                <a:buChar char="•"/>
                <a:defRPr sz="2400">
                  <a:solidFill>
                    <a:schemeClr val="tx1"/>
                  </a:solidFill>
                  <a:latin typeface="Gill Sans" charset="0"/>
                  <a:ea typeface="ヒラギノ角ゴ Pro W3" charset="-128"/>
                  <a:sym typeface="Gill Sans" charset="0"/>
                </a:defRPr>
              </a:lvl5pPr>
              <a:lvl6pPr marL="25146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6pPr>
              <a:lvl7pPr marL="29718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7pPr>
              <a:lvl8pPr marL="34290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8pPr>
              <a:lvl9pPr marL="38862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9pPr>
            </a:lstStyle>
            <a:p>
              <a:pPr algn="ctr" eaLnBrk="1" hangingPunct="1">
                <a:lnSpc>
                  <a:spcPct val="80000"/>
                </a:lnSpc>
                <a:spcBef>
                  <a:spcPct val="0"/>
                </a:spcBef>
                <a:buClrTx/>
                <a:buSzTx/>
                <a:buFontTx/>
                <a:buNone/>
              </a:pPr>
              <a:r>
                <a:rPr lang="en-US" altLang="en-US" sz="1600" dirty="0">
                  <a:solidFill>
                    <a:srgbClr val="FF0000"/>
                  </a:solidFill>
                  <a:latin typeface="Comic Sans MS" panose="030F0702030302020204" pitchFamily="66" charset="0"/>
                  <a:sym typeface="Comic Sans MS" panose="030F0702030302020204" pitchFamily="66" charset="0"/>
                </a:rPr>
                <a:t>This is just one of many ways to do a sprint retrospective.</a:t>
              </a:r>
            </a:p>
          </p:txBody>
        </p:sp>
      </p:grpSp>
      <p:sp>
        <p:nvSpPr>
          <p:cNvPr id="15" name="Rectangle 2"/>
          <p:cNvSpPr>
            <a:spLocks noGrp="1" noChangeArrowheads="1"/>
          </p:cNvSpPr>
          <p:nvPr>
            <p:ph type="body" idx="4294967295"/>
          </p:nvPr>
        </p:nvSpPr>
        <p:spPr>
          <a:xfrm>
            <a:off x="9393421" y="1226276"/>
            <a:ext cx="2579922" cy="4506980"/>
          </a:xfrm>
          <a:prstGeom prst="rect">
            <a:avLst/>
          </a:prstGeom>
        </p:spPr>
        <p:txBody>
          <a:bodyPr/>
          <a:lstStyle/>
          <a:p>
            <a:pPr marL="738188" indent="-214313">
              <a:lnSpc>
                <a:spcPct val="80000"/>
              </a:lnSpc>
              <a:buFont typeface="Arial" panose="020B0604020202020204" pitchFamily="34" charset="0"/>
              <a:buChar char="•"/>
              <a:defRPr/>
            </a:pPr>
            <a:r>
              <a:rPr lang="en-US" dirty="0"/>
              <a:t>Periodically take a look at what is and is not working</a:t>
            </a:r>
          </a:p>
          <a:p>
            <a:pPr marL="738188" indent="-214313">
              <a:lnSpc>
                <a:spcPct val="80000"/>
              </a:lnSpc>
              <a:spcBef>
                <a:spcPts val="975"/>
              </a:spcBef>
              <a:buFont typeface="Arial" panose="020B0604020202020204" pitchFamily="34" charset="0"/>
              <a:buChar char="•"/>
              <a:defRPr/>
            </a:pPr>
            <a:r>
              <a:rPr lang="en-US" dirty="0"/>
              <a:t>Done after every sprint</a:t>
            </a:r>
          </a:p>
          <a:p>
            <a:pPr marL="738188" indent="-214313">
              <a:lnSpc>
                <a:spcPct val="80000"/>
              </a:lnSpc>
              <a:spcBef>
                <a:spcPts val="975"/>
              </a:spcBef>
              <a:buFont typeface="Arial" panose="020B0604020202020204" pitchFamily="34" charset="0"/>
              <a:buChar char="•"/>
              <a:defRPr/>
            </a:pPr>
            <a:r>
              <a:rPr lang="en-US" dirty="0"/>
              <a:t>Whole team participates</a:t>
            </a:r>
          </a:p>
          <a:p>
            <a:pPr marL="916050" lvl="2">
              <a:lnSpc>
                <a:spcPct val="80000"/>
              </a:lnSpc>
              <a:spcBef>
                <a:spcPts val="975"/>
              </a:spcBef>
              <a:defRPr/>
            </a:pPr>
            <a:r>
              <a:rPr lang="en-US" dirty="0"/>
              <a:t>Scrum Master</a:t>
            </a:r>
          </a:p>
          <a:p>
            <a:pPr marL="916050" lvl="2">
              <a:lnSpc>
                <a:spcPct val="80000"/>
              </a:lnSpc>
              <a:spcBef>
                <a:spcPts val="975"/>
              </a:spcBef>
              <a:defRPr/>
            </a:pPr>
            <a:r>
              <a:rPr lang="en-US" dirty="0"/>
              <a:t>Product owner</a:t>
            </a:r>
          </a:p>
          <a:p>
            <a:pPr marL="916050" lvl="2">
              <a:lnSpc>
                <a:spcPct val="80000"/>
              </a:lnSpc>
              <a:spcBef>
                <a:spcPts val="975"/>
              </a:spcBef>
              <a:defRPr/>
            </a:pPr>
            <a:r>
              <a:rPr lang="en-US" dirty="0"/>
              <a:t>Team</a:t>
            </a:r>
          </a:p>
          <a:p>
            <a:pPr marL="916050" lvl="2">
              <a:lnSpc>
                <a:spcPct val="80000"/>
              </a:lnSpc>
              <a:spcBef>
                <a:spcPts val="975"/>
              </a:spcBef>
              <a:defRPr/>
            </a:pPr>
            <a:r>
              <a:rPr lang="en-US" i="1" dirty="0">
                <a:solidFill>
                  <a:srgbClr val="FF0000"/>
                </a:solidFill>
              </a:rPr>
              <a:t>Possibly customers and others</a:t>
            </a:r>
          </a:p>
        </p:txBody>
      </p:sp>
    </p:spTree>
    <p:extLst>
      <p:ext uri="{BB962C8B-B14F-4D97-AF65-F5344CB8AC3E}">
        <p14:creationId xmlns:p14="http://schemas.microsoft.com/office/powerpoint/2010/main" val="261024113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3"/>
          </p:nvPr>
        </p:nvSpPr>
        <p:spPr/>
        <p:txBody>
          <a:bodyPr/>
          <a:lstStyle/>
          <a:p>
            <a:endParaRPr lang="fr-FR"/>
          </a:p>
        </p:txBody>
      </p:sp>
      <p:sp>
        <p:nvSpPr>
          <p:cNvPr id="3" name="Titre 2"/>
          <p:cNvSpPr>
            <a:spLocks noGrp="1"/>
          </p:cNvSpPr>
          <p:nvPr>
            <p:ph type="title"/>
          </p:nvPr>
        </p:nvSpPr>
        <p:spPr>
          <a:xfrm>
            <a:off x="7296000" y="1772816"/>
            <a:ext cx="4272112" cy="488201"/>
          </a:xfrm>
        </p:spPr>
        <p:txBody>
          <a:bodyPr/>
          <a:lstStyle/>
          <a:p>
            <a:r>
              <a:rPr lang="fr-FR" dirty="0" err="1"/>
              <a:t>Artifacts</a:t>
            </a:r>
            <a:endParaRPr lang="fr-FR" dirty="0"/>
          </a:p>
        </p:txBody>
      </p:sp>
    </p:spTree>
    <p:extLst>
      <p:ext uri="{BB962C8B-B14F-4D97-AF65-F5344CB8AC3E}">
        <p14:creationId xmlns:p14="http://schemas.microsoft.com/office/powerpoint/2010/main" val="203682289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66</a:t>
            </a:fld>
            <a:endParaRPr lang="en-US" dirty="0"/>
          </a:p>
        </p:txBody>
      </p:sp>
      <p:grpSp>
        <p:nvGrpSpPr>
          <p:cNvPr id="7" name="Group 1"/>
          <p:cNvGrpSpPr>
            <a:grpSpLocks/>
          </p:cNvGrpSpPr>
          <p:nvPr/>
        </p:nvGrpSpPr>
        <p:grpSpPr bwMode="auto">
          <a:xfrm>
            <a:off x="2405026" y="1522346"/>
            <a:ext cx="2988897" cy="1512407"/>
            <a:chOff x="0" y="0"/>
            <a:chExt cx="2608" cy="1288"/>
          </a:xfrm>
        </p:grpSpPr>
        <p:sp>
          <p:nvSpPr>
            <p:cNvPr id="8" name="AutoShape 2"/>
            <p:cNvSpPr>
              <a:spLocks/>
            </p:cNvSpPr>
            <p:nvPr/>
          </p:nvSpPr>
          <p:spPr bwMode="auto">
            <a:xfrm>
              <a:off x="8" y="0"/>
              <a:ext cx="2600" cy="1288"/>
            </a:xfrm>
            <a:prstGeom prst="roundRect">
              <a:avLst>
                <a:gd name="adj" fmla="val 14903"/>
              </a:avLst>
            </a:prstGeom>
            <a:solidFill>
              <a:srgbClr val="E6E6E6"/>
            </a:solidFill>
            <a:ln w="25400">
              <a:solidFill>
                <a:srgbClr val="B3B3B3"/>
              </a:solidFill>
              <a:round/>
              <a:headEnd/>
              <a:tailEnd/>
            </a:ln>
            <a:effectLst>
              <a:outerShdw blurRad="114300" dist="63500" dir="2700000" algn="ctr" rotWithShape="0">
                <a:schemeClr val="bg2">
                  <a:alpha val="29999"/>
                </a:schemeClr>
              </a:outerShdw>
            </a:effectLst>
          </p:spPr>
          <p:txBody>
            <a:bodyPr/>
            <a:lstStyle/>
            <a:p>
              <a:pPr algn="ctr" eaLnBrk="1" hangingPunct="1">
                <a:defRPr/>
              </a:pPr>
              <a:endParaRPr lang="en-US" sz="1350">
                <a:latin typeface="Gill Sans" pitchFamily="80" charset="0"/>
                <a:ea typeface="ヒラギノ角ゴ Pro W3" pitchFamily="80" charset="-128"/>
                <a:sym typeface="Gill Sans" pitchFamily="80" charset="0"/>
              </a:endParaRPr>
            </a:p>
          </p:txBody>
        </p:sp>
        <p:sp>
          <p:nvSpPr>
            <p:cNvPr id="9" name="Rectangle 3"/>
            <p:cNvSpPr>
              <a:spLocks/>
            </p:cNvSpPr>
            <p:nvPr/>
          </p:nvSpPr>
          <p:spPr bwMode="auto">
            <a:xfrm>
              <a:off x="96" y="392"/>
              <a:ext cx="1768" cy="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buClr>
                  <a:srgbClr val="B3B3B3"/>
                </a:buClr>
                <a:buSzPct val="125000"/>
                <a:buFont typeface="Lucida Grande" charset="0"/>
                <a:buChar char="•"/>
              </a:pPr>
              <a:r>
                <a:rPr lang="en-US" altLang="en-US" sz="2100" dirty="0">
                  <a:solidFill>
                    <a:srgbClr val="B3B3B3"/>
                  </a:solidFill>
                </a:rPr>
                <a:t>Product owner</a:t>
              </a:r>
            </a:p>
            <a:p>
              <a:pPr algn="l" eaLnBrk="1" hangingPunct="1">
                <a:buClr>
                  <a:srgbClr val="B3B3B3"/>
                </a:buClr>
                <a:buSzPct val="125000"/>
                <a:buFont typeface="Lucida Grande" charset="0"/>
                <a:buChar char="•"/>
              </a:pPr>
              <a:r>
                <a:rPr lang="en-US" altLang="en-US" sz="2100" dirty="0" err="1">
                  <a:solidFill>
                    <a:srgbClr val="B3B3B3"/>
                  </a:solidFill>
                </a:rPr>
                <a:t>ScrumMaster</a:t>
              </a:r>
              <a:endParaRPr lang="en-US" altLang="en-US" sz="2100" dirty="0">
                <a:solidFill>
                  <a:srgbClr val="B3B3B3"/>
                </a:solidFill>
              </a:endParaRPr>
            </a:p>
            <a:p>
              <a:pPr algn="l" eaLnBrk="1" hangingPunct="1">
                <a:buClr>
                  <a:srgbClr val="B3B3B3"/>
                </a:buClr>
                <a:buSzPct val="125000"/>
                <a:buFont typeface="Lucida Grande" charset="0"/>
                <a:buChar char="•"/>
              </a:pPr>
              <a:r>
                <a:rPr lang="en-US" altLang="en-US" sz="2100" dirty="0">
                  <a:solidFill>
                    <a:srgbClr val="B3B3B3"/>
                  </a:solidFill>
                </a:rPr>
                <a:t>Team</a:t>
              </a:r>
            </a:p>
          </p:txBody>
        </p:sp>
        <p:sp>
          <p:nvSpPr>
            <p:cNvPr id="10" name="Rectangle 4"/>
            <p:cNvSpPr>
              <a:spLocks/>
            </p:cNvSpPr>
            <p:nvPr/>
          </p:nvSpPr>
          <p:spPr bwMode="auto">
            <a:xfrm>
              <a:off x="304" y="0"/>
              <a:ext cx="1200" cy="376"/>
            </a:xfrm>
            <a:prstGeom prst="rect">
              <a:avLst/>
            </a:pr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11" name="AutoShape 5"/>
            <p:cNvSpPr>
              <a:spLocks/>
            </p:cNvSpPr>
            <p:nvPr/>
          </p:nvSpPr>
          <p:spPr bwMode="auto">
            <a:xfrm rot="10800000">
              <a:off x="1432" y="88"/>
              <a:ext cx="312"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12" name="AutoShape 6"/>
            <p:cNvSpPr>
              <a:spLocks/>
            </p:cNvSpPr>
            <p:nvPr/>
          </p:nvSpPr>
          <p:spPr bwMode="auto">
            <a:xfrm>
              <a:off x="0" y="0"/>
              <a:ext cx="312"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13" name="Rectangle 7"/>
            <p:cNvSpPr>
              <a:spLocks/>
            </p:cNvSpPr>
            <p:nvPr/>
          </p:nvSpPr>
          <p:spPr bwMode="auto">
            <a:xfrm>
              <a:off x="0" y="216"/>
              <a:ext cx="392" cy="160"/>
            </a:xfrm>
            <a:prstGeom prst="rect">
              <a:avLst/>
            </a:pr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14" name="Rectangle 8"/>
            <p:cNvSpPr>
              <a:spLocks/>
            </p:cNvSpPr>
            <p:nvPr/>
          </p:nvSpPr>
          <p:spPr bwMode="auto">
            <a:xfrm>
              <a:off x="1352" y="0"/>
              <a:ext cx="392" cy="160"/>
            </a:xfrm>
            <a:prstGeom prst="rect">
              <a:avLst/>
            </a:pr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15" name="Rectangle 9"/>
            <p:cNvSpPr>
              <a:spLocks/>
            </p:cNvSpPr>
            <p:nvPr/>
          </p:nvSpPr>
          <p:spPr bwMode="auto">
            <a:xfrm>
              <a:off x="104" y="8"/>
              <a:ext cx="1336"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r>
                <a:rPr lang="en-US" altLang="en-US" sz="2400">
                  <a:solidFill>
                    <a:srgbClr val="FFFFFF"/>
                  </a:solidFill>
                </a:rPr>
                <a:t>Roles</a:t>
              </a:r>
            </a:p>
          </p:txBody>
        </p:sp>
      </p:grpSp>
      <p:sp>
        <p:nvSpPr>
          <p:cNvPr id="16" name="Rectangle 10"/>
          <p:cNvSpPr>
            <a:spLocks noGrp="1" noChangeArrowheads="1"/>
          </p:cNvSpPr>
          <p:nvPr>
            <p:ph type="title"/>
          </p:nvPr>
        </p:nvSpPr>
        <p:spPr>
          <a:xfrm>
            <a:off x="1272001" y="430032"/>
            <a:ext cx="7096125" cy="249008"/>
          </a:xfrm>
        </p:spPr>
        <p:txBody>
          <a:bodyPr/>
          <a:lstStyle/>
          <a:p>
            <a:pPr eaLnBrk="1" hangingPunct="1">
              <a:defRPr/>
            </a:pPr>
            <a:r>
              <a:rPr lang="en-US" b="0" dirty="0"/>
              <a:t>Scrum framework</a:t>
            </a:r>
          </a:p>
        </p:txBody>
      </p:sp>
      <p:grpSp>
        <p:nvGrpSpPr>
          <p:cNvPr id="17" name="Group 11"/>
          <p:cNvGrpSpPr>
            <a:grpSpLocks/>
          </p:cNvGrpSpPr>
          <p:nvPr/>
        </p:nvGrpSpPr>
        <p:grpSpPr bwMode="auto">
          <a:xfrm>
            <a:off x="4233826" y="2732020"/>
            <a:ext cx="3011055" cy="1840083"/>
            <a:chOff x="0" y="0"/>
            <a:chExt cx="2608" cy="1592"/>
          </a:xfrm>
        </p:grpSpPr>
        <p:sp>
          <p:nvSpPr>
            <p:cNvPr id="18" name="AutoShape 12"/>
            <p:cNvSpPr>
              <a:spLocks/>
            </p:cNvSpPr>
            <p:nvPr/>
          </p:nvSpPr>
          <p:spPr bwMode="auto">
            <a:xfrm>
              <a:off x="8" y="0"/>
              <a:ext cx="2600" cy="1592"/>
            </a:xfrm>
            <a:prstGeom prst="roundRect">
              <a:avLst>
                <a:gd name="adj" fmla="val 12060"/>
              </a:avLst>
            </a:prstGeom>
            <a:solidFill>
              <a:srgbClr val="E6E6E6"/>
            </a:solidFill>
            <a:ln w="25400">
              <a:solidFill>
                <a:srgbClr val="B3B3B3"/>
              </a:solidFill>
              <a:round/>
              <a:headEnd/>
              <a:tailEnd/>
            </a:ln>
            <a:effectLst>
              <a:outerShdw blurRad="114300" dist="63500" dir="2700000" algn="ctr" rotWithShape="0">
                <a:schemeClr val="bg2">
                  <a:alpha val="29999"/>
                </a:schemeClr>
              </a:outerShdw>
            </a:effectLst>
          </p:spPr>
          <p:txBody>
            <a:bodyPr/>
            <a:lstStyle/>
            <a:p>
              <a:pPr algn="ctr" eaLnBrk="1" hangingPunct="1">
                <a:defRPr/>
              </a:pPr>
              <a:endParaRPr lang="en-US" sz="1350">
                <a:latin typeface="Gill Sans" pitchFamily="80" charset="0"/>
                <a:ea typeface="ヒラギノ角ゴ Pro W3" pitchFamily="80" charset="-128"/>
                <a:sym typeface="Gill Sans" pitchFamily="80" charset="0"/>
              </a:endParaRPr>
            </a:p>
          </p:txBody>
        </p:sp>
        <p:sp>
          <p:nvSpPr>
            <p:cNvPr id="19" name="Rectangle 13"/>
            <p:cNvSpPr>
              <a:spLocks/>
            </p:cNvSpPr>
            <p:nvPr/>
          </p:nvSpPr>
          <p:spPr bwMode="auto">
            <a:xfrm>
              <a:off x="96" y="392"/>
              <a:ext cx="2320" cy="1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buClr>
                  <a:srgbClr val="B3B3B3"/>
                </a:buClr>
                <a:buSzPct val="125000"/>
                <a:buFont typeface="Lucida Grande" charset="0"/>
                <a:buChar char="•"/>
              </a:pPr>
              <a:r>
                <a:rPr lang="en-US" altLang="en-US" sz="1800" dirty="0">
                  <a:solidFill>
                    <a:srgbClr val="B3B3B3"/>
                  </a:solidFill>
                </a:rPr>
                <a:t>Sprint planning</a:t>
              </a:r>
            </a:p>
            <a:p>
              <a:pPr algn="l" eaLnBrk="1" hangingPunct="1">
                <a:buClr>
                  <a:srgbClr val="B3B3B3"/>
                </a:buClr>
                <a:buSzPct val="125000"/>
                <a:buFont typeface="Lucida Grande" charset="0"/>
                <a:buChar char="•"/>
              </a:pPr>
              <a:r>
                <a:rPr lang="en-US" altLang="en-US" sz="1800" dirty="0">
                  <a:solidFill>
                    <a:srgbClr val="B3B3B3"/>
                  </a:solidFill>
                </a:rPr>
                <a:t>Sprint review</a:t>
              </a:r>
            </a:p>
            <a:p>
              <a:pPr algn="l" eaLnBrk="1" hangingPunct="1">
                <a:buClr>
                  <a:srgbClr val="B3B3B3"/>
                </a:buClr>
                <a:buSzPct val="125000"/>
                <a:buFont typeface="Lucida Grande" charset="0"/>
                <a:buChar char="•"/>
              </a:pPr>
              <a:r>
                <a:rPr lang="en-US" altLang="en-US" sz="1800" dirty="0">
                  <a:solidFill>
                    <a:srgbClr val="B3B3B3"/>
                  </a:solidFill>
                </a:rPr>
                <a:t>Sprint retrospective</a:t>
              </a:r>
            </a:p>
            <a:p>
              <a:pPr algn="l" eaLnBrk="1" hangingPunct="1">
                <a:buClr>
                  <a:srgbClr val="B3B3B3"/>
                </a:buClr>
                <a:buSzPct val="125000"/>
                <a:buFont typeface="Lucida Grande" charset="0"/>
                <a:buChar char="•"/>
              </a:pPr>
              <a:r>
                <a:rPr lang="en-US" altLang="en-US" sz="1800" dirty="0">
                  <a:solidFill>
                    <a:srgbClr val="B3B3B3"/>
                  </a:solidFill>
                </a:rPr>
                <a:t>Daily scrum meeting</a:t>
              </a:r>
            </a:p>
          </p:txBody>
        </p:sp>
        <p:sp>
          <p:nvSpPr>
            <p:cNvPr id="20" name="Rectangle 14"/>
            <p:cNvSpPr>
              <a:spLocks/>
            </p:cNvSpPr>
            <p:nvPr/>
          </p:nvSpPr>
          <p:spPr bwMode="auto">
            <a:xfrm>
              <a:off x="304" y="0"/>
              <a:ext cx="1200" cy="376"/>
            </a:xfrm>
            <a:prstGeom prst="rect">
              <a:avLst/>
            </a:pr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21" name="AutoShape 15"/>
            <p:cNvSpPr>
              <a:spLocks/>
            </p:cNvSpPr>
            <p:nvPr/>
          </p:nvSpPr>
          <p:spPr bwMode="auto">
            <a:xfrm rot="10800000">
              <a:off x="1432" y="88"/>
              <a:ext cx="312"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22" name="AutoShape 16"/>
            <p:cNvSpPr>
              <a:spLocks/>
            </p:cNvSpPr>
            <p:nvPr/>
          </p:nvSpPr>
          <p:spPr bwMode="auto">
            <a:xfrm>
              <a:off x="0" y="0"/>
              <a:ext cx="312"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23" name="Rectangle 17"/>
            <p:cNvSpPr>
              <a:spLocks/>
            </p:cNvSpPr>
            <p:nvPr/>
          </p:nvSpPr>
          <p:spPr bwMode="auto">
            <a:xfrm>
              <a:off x="0" y="216"/>
              <a:ext cx="392" cy="160"/>
            </a:xfrm>
            <a:prstGeom prst="rect">
              <a:avLst/>
            </a:pr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24" name="Rectangle 18"/>
            <p:cNvSpPr>
              <a:spLocks/>
            </p:cNvSpPr>
            <p:nvPr/>
          </p:nvSpPr>
          <p:spPr bwMode="auto">
            <a:xfrm>
              <a:off x="1352" y="0"/>
              <a:ext cx="392" cy="160"/>
            </a:xfrm>
            <a:prstGeom prst="rect">
              <a:avLst/>
            </a:prstGeom>
            <a:solidFill>
              <a:srgbClr val="B3B3B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25" name="Rectangle 19"/>
            <p:cNvSpPr>
              <a:spLocks/>
            </p:cNvSpPr>
            <p:nvPr/>
          </p:nvSpPr>
          <p:spPr bwMode="auto">
            <a:xfrm>
              <a:off x="104" y="8"/>
              <a:ext cx="1640" cy="352"/>
            </a:xfrm>
            <a:prstGeom prst="rect">
              <a:avLst/>
            </a:prstGeom>
            <a:solidFill>
              <a:srgbClr val="B3B3B3"/>
            </a:solidFill>
            <a:ln>
              <a:noFill/>
            </a:ln>
            <a:extLs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r>
                <a:rPr lang="en-US" altLang="en-US" sz="2400">
                  <a:solidFill>
                    <a:srgbClr val="FFFFFF"/>
                  </a:solidFill>
                </a:rPr>
                <a:t>Ceremonies</a:t>
              </a:r>
            </a:p>
          </p:txBody>
        </p:sp>
      </p:grpSp>
      <p:grpSp>
        <p:nvGrpSpPr>
          <p:cNvPr id="26" name="Group 20"/>
          <p:cNvGrpSpPr>
            <a:grpSpLocks/>
          </p:cNvGrpSpPr>
          <p:nvPr/>
        </p:nvGrpSpPr>
        <p:grpSpPr bwMode="auto">
          <a:xfrm>
            <a:off x="5546840" y="4376288"/>
            <a:ext cx="3087443" cy="1489559"/>
            <a:chOff x="0" y="0"/>
            <a:chExt cx="2608" cy="1288"/>
          </a:xfrm>
        </p:grpSpPr>
        <p:sp>
          <p:nvSpPr>
            <p:cNvPr id="27" name="AutoShape 21"/>
            <p:cNvSpPr>
              <a:spLocks/>
            </p:cNvSpPr>
            <p:nvPr/>
          </p:nvSpPr>
          <p:spPr bwMode="auto">
            <a:xfrm>
              <a:off x="8" y="0"/>
              <a:ext cx="2600" cy="1288"/>
            </a:xfrm>
            <a:prstGeom prst="roundRect">
              <a:avLst>
                <a:gd name="adj" fmla="val 14903"/>
              </a:avLst>
            </a:prstGeom>
            <a:blipFill dpi="0" rotWithShape="0">
              <a:blip r:embed="rId2"/>
              <a:srcRect/>
              <a:tile tx="0" ty="0" sx="100000" sy="100000" flip="none" algn="tl"/>
            </a:blipFill>
            <a:ln w="25400">
              <a:solidFill>
                <a:srgbClr val="003C83"/>
              </a:solidFill>
              <a:round/>
              <a:headEnd/>
              <a:tailEnd/>
            </a:ln>
            <a:effectLst>
              <a:outerShdw blurRad="114300" dist="63500" dir="2700000" algn="ctr" rotWithShape="0">
                <a:schemeClr val="bg2">
                  <a:alpha val="29999"/>
                </a:schemeClr>
              </a:outerShdw>
            </a:effectLst>
          </p:spPr>
          <p:txBody>
            <a:bodyPr/>
            <a:lstStyle/>
            <a:p>
              <a:pPr algn="ctr" eaLnBrk="1" hangingPunct="1">
                <a:defRPr/>
              </a:pPr>
              <a:endParaRPr lang="en-US" sz="1350">
                <a:latin typeface="Gill Sans" pitchFamily="80" charset="0"/>
                <a:ea typeface="ヒラギノ角ゴ Pro W3" pitchFamily="80" charset="-128"/>
                <a:sym typeface="Gill Sans" pitchFamily="80" charset="0"/>
              </a:endParaRPr>
            </a:p>
          </p:txBody>
        </p:sp>
        <p:sp>
          <p:nvSpPr>
            <p:cNvPr id="28" name="Rectangle 22"/>
            <p:cNvSpPr>
              <a:spLocks/>
            </p:cNvSpPr>
            <p:nvPr/>
          </p:nvSpPr>
          <p:spPr bwMode="auto">
            <a:xfrm>
              <a:off x="96" y="392"/>
              <a:ext cx="2376" cy="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buClr>
                  <a:srgbClr val="FFFFFF"/>
                </a:buClr>
                <a:buSzPct val="125000"/>
                <a:buFont typeface="Gill Sans" charset="0"/>
                <a:buChar char="•"/>
              </a:pPr>
              <a:r>
                <a:rPr lang="en-US" altLang="en-US" sz="2100">
                  <a:solidFill>
                    <a:srgbClr val="FFFFFF"/>
                  </a:solidFill>
                </a:rPr>
                <a:t>Product backlog</a:t>
              </a:r>
            </a:p>
            <a:p>
              <a:pPr algn="l" eaLnBrk="1" hangingPunct="1">
                <a:buClr>
                  <a:srgbClr val="FFFFFF"/>
                </a:buClr>
                <a:buSzPct val="125000"/>
                <a:buFont typeface="Gill Sans" charset="0"/>
                <a:buChar char="•"/>
              </a:pPr>
              <a:r>
                <a:rPr lang="en-US" altLang="en-US" sz="2100">
                  <a:solidFill>
                    <a:srgbClr val="FFFFFF"/>
                  </a:solidFill>
                </a:rPr>
                <a:t>Sprint backlog</a:t>
              </a:r>
            </a:p>
            <a:p>
              <a:pPr algn="l" eaLnBrk="1" hangingPunct="1">
                <a:buClr>
                  <a:srgbClr val="FFFFFF"/>
                </a:buClr>
                <a:buSzPct val="125000"/>
                <a:buFont typeface="Gill Sans" charset="0"/>
                <a:buChar char="•"/>
              </a:pPr>
              <a:r>
                <a:rPr lang="en-US" altLang="en-US" sz="2100">
                  <a:solidFill>
                    <a:srgbClr val="FFFFFF"/>
                  </a:solidFill>
                </a:rPr>
                <a:t>Burndown charts</a:t>
              </a:r>
            </a:p>
          </p:txBody>
        </p:sp>
        <p:sp>
          <p:nvSpPr>
            <p:cNvPr id="29" name="Rectangle 23"/>
            <p:cNvSpPr>
              <a:spLocks/>
            </p:cNvSpPr>
            <p:nvPr/>
          </p:nvSpPr>
          <p:spPr bwMode="auto">
            <a:xfrm>
              <a:off x="304" y="0"/>
              <a:ext cx="1200" cy="376"/>
            </a:xfrm>
            <a:prstGeom prst="rect">
              <a:avLst/>
            </a:pr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30" name="AutoShape 24"/>
            <p:cNvSpPr>
              <a:spLocks/>
            </p:cNvSpPr>
            <p:nvPr/>
          </p:nvSpPr>
          <p:spPr bwMode="auto">
            <a:xfrm rot="10800000">
              <a:off x="1432" y="88"/>
              <a:ext cx="312"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31" name="AutoShape 25"/>
            <p:cNvSpPr>
              <a:spLocks/>
            </p:cNvSpPr>
            <p:nvPr/>
          </p:nvSpPr>
          <p:spPr bwMode="auto">
            <a:xfrm>
              <a:off x="0" y="0"/>
              <a:ext cx="312"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32" name="Rectangle 26"/>
            <p:cNvSpPr>
              <a:spLocks/>
            </p:cNvSpPr>
            <p:nvPr/>
          </p:nvSpPr>
          <p:spPr bwMode="auto">
            <a:xfrm>
              <a:off x="0" y="216"/>
              <a:ext cx="392" cy="160"/>
            </a:xfrm>
            <a:prstGeom prst="rect">
              <a:avLst/>
            </a:pr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33" name="Rectangle 27"/>
            <p:cNvSpPr>
              <a:spLocks/>
            </p:cNvSpPr>
            <p:nvPr/>
          </p:nvSpPr>
          <p:spPr bwMode="auto">
            <a:xfrm>
              <a:off x="1352" y="0"/>
              <a:ext cx="392" cy="160"/>
            </a:xfrm>
            <a:prstGeom prst="rect">
              <a:avLst/>
            </a:pr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lgn="ctr">
                <a:defRPr sz="3200">
                  <a:solidFill>
                    <a:srgbClr val="000000"/>
                  </a:solidFill>
                  <a:latin typeface="Gill Sans" charset="0"/>
                  <a:ea typeface="ヒラギノ角ゴ Pro W3" charset="-128"/>
                  <a:sym typeface="Gill Sans" charset="0"/>
                </a:defRPr>
              </a:lvl1pPr>
              <a:lvl2pPr marL="742950" indent="-285750" algn="ctr">
                <a:defRPr sz="3200">
                  <a:solidFill>
                    <a:srgbClr val="000000"/>
                  </a:solidFill>
                  <a:latin typeface="Gill Sans" charset="0"/>
                  <a:ea typeface="ヒラギノ角ゴ Pro W3" charset="-128"/>
                  <a:sym typeface="Gill Sans" charset="0"/>
                </a:defRPr>
              </a:lvl2pPr>
              <a:lvl3pPr marL="1143000" indent="-228600" algn="ctr">
                <a:defRPr sz="3200">
                  <a:solidFill>
                    <a:srgbClr val="000000"/>
                  </a:solidFill>
                  <a:latin typeface="Gill Sans" charset="0"/>
                  <a:ea typeface="ヒラギノ角ゴ Pro W3" charset="-128"/>
                  <a:sym typeface="Gill Sans" charset="0"/>
                </a:defRPr>
              </a:lvl3pPr>
              <a:lvl4pPr marL="1600200" indent="-228600" algn="ctr">
                <a:defRPr sz="3200">
                  <a:solidFill>
                    <a:srgbClr val="000000"/>
                  </a:solidFill>
                  <a:latin typeface="Gill Sans" charset="0"/>
                  <a:ea typeface="ヒラギノ角ゴ Pro W3" charset="-128"/>
                  <a:sym typeface="Gill Sans" charset="0"/>
                </a:defRPr>
              </a:lvl4pPr>
              <a:lvl5pPr marL="2057400" indent="-228600" algn="ctr">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defRPr sz="3200">
                  <a:solidFill>
                    <a:srgbClr val="000000"/>
                  </a:solidFill>
                  <a:latin typeface="Gill Sans" charset="0"/>
                  <a:ea typeface="ヒラギノ角ゴ Pro W3" charset="-128"/>
                  <a:sym typeface="Gill Sans" charset="0"/>
                </a:defRPr>
              </a:lvl9pPr>
            </a:lstStyle>
            <a:p>
              <a:pPr eaLnBrk="1" hangingPunct="1"/>
              <a:endParaRPr lang="en-US" altLang="en-US" sz="2400"/>
            </a:p>
          </p:txBody>
        </p:sp>
        <p:sp>
          <p:nvSpPr>
            <p:cNvPr id="34" name="Rectangle 28"/>
            <p:cNvSpPr>
              <a:spLocks/>
            </p:cNvSpPr>
            <p:nvPr/>
          </p:nvSpPr>
          <p:spPr bwMode="auto">
            <a:xfrm>
              <a:off x="104" y="8"/>
              <a:ext cx="1336"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lgn="ctr">
                <a:tabLst>
                  <a:tab pos="1066800" algn="l"/>
                </a:tabLst>
                <a:defRPr sz="3200">
                  <a:solidFill>
                    <a:srgbClr val="000000"/>
                  </a:solidFill>
                  <a:latin typeface="Gill Sans" charset="0"/>
                  <a:ea typeface="ヒラギノ角ゴ Pro W3" charset="-128"/>
                  <a:sym typeface="Gill Sans" charset="0"/>
                </a:defRPr>
              </a:lvl1pPr>
              <a:lvl2pPr marL="742950" indent="-285750" algn="ctr">
                <a:tabLst>
                  <a:tab pos="1066800" algn="l"/>
                </a:tabLst>
                <a:defRPr sz="3200">
                  <a:solidFill>
                    <a:srgbClr val="000000"/>
                  </a:solidFill>
                  <a:latin typeface="Gill Sans" charset="0"/>
                  <a:ea typeface="ヒラギノ角ゴ Pro W3" charset="-128"/>
                  <a:sym typeface="Gill Sans" charset="0"/>
                </a:defRPr>
              </a:lvl2pPr>
              <a:lvl3pPr marL="1143000" indent="-228600" algn="ctr">
                <a:tabLst>
                  <a:tab pos="1066800" algn="l"/>
                </a:tabLst>
                <a:defRPr sz="3200">
                  <a:solidFill>
                    <a:srgbClr val="000000"/>
                  </a:solidFill>
                  <a:latin typeface="Gill Sans" charset="0"/>
                  <a:ea typeface="ヒラギノ角ゴ Pro W3" charset="-128"/>
                  <a:sym typeface="Gill Sans" charset="0"/>
                </a:defRPr>
              </a:lvl3pPr>
              <a:lvl4pPr marL="1600200" indent="-228600" algn="ctr">
                <a:tabLst>
                  <a:tab pos="1066800" algn="l"/>
                </a:tabLst>
                <a:defRPr sz="3200">
                  <a:solidFill>
                    <a:srgbClr val="000000"/>
                  </a:solidFill>
                  <a:latin typeface="Gill Sans" charset="0"/>
                  <a:ea typeface="ヒラギノ角ゴ Pro W3" charset="-128"/>
                  <a:sym typeface="Gill Sans" charset="0"/>
                </a:defRPr>
              </a:lvl4pPr>
              <a:lvl5pPr marL="2057400" indent="-228600" algn="ctr">
                <a:tabLst>
                  <a:tab pos="1066800" algn="l"/>
                </a:tabLst>
                <a:defRPr sz="3200">
                  <a:solidFill>
                    <a:srgbClr val="000000"/>
                  </a:solidFill>
                  <a:latin typeface="Gill Sans" charset="0"/>
                  <a:ea typeface="ヒラギノ角ゴ Pro W3" charset="-128"/>
                  <a:sym typeface="Gill Sans" charset="0"/>
                </a:defRPr>
              </a:lvl5pPr>
              <a:lvl6pPr marL="25146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6pPr>
              <a:lvl7pPr marL="29718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7pPr>
              <a:lvl8pPr marL="34290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8pPr>
              <a:lvl9pPr marL="3886200" indent="-228600" algn="ctr" eaLnBrk="0" fontAlgn="base" hangingPunct="0">
                <a:spcBef>
                  <a:spcPct val="0"/>
                </a:spcBef>
                <a:spcAft>
                  <a:spcPct val="0"/>
                </a:spcAft>
                <a:tabLst>
                  <a:tab pos="1066800" algn="l"/>
                </a:tabLst>
                <a:defRPr sz="3200">
                  <a:solidFill>
                    <a:srgbClr val="000000"/>
                  </a:solidFill>
                  <a:latin typeface="Gill Sans" charset="0"/>
                  <a:ea typeface="ヒラギノ角ゴ Pro W3" charset="-128"/>
                  <a:sym typeface="Gill Sans" charset="0"/>
                </a:defRPr>
              </a:lvl9pPr>
            </a:lstStyle>
            <a:p>
              <a:pPr algn="l" eaLnBrk="1" hangingPunct="1"/>
              <a:r>
                <a:rPr lang="en-US" altLang="en-US" sz="2400">
                  <a:solidFill>
                    <a:srgbClr val="FFFFFF"/>
                  </a:solidFill>
                </a:rPr>
                <a:t>Artifacts</a:t>
              </a:r>
            </a:p>
          </p:txBody>
        </p:sp>
      </p:grpSp>
    </p:spTree>
    <p:extLst>
      <p:ext uri="{BB962C8B-B14F-4D97-AF65-F5344CB8AC3E}">
        <p14:creationId xmlns:p14="http://schemas.microsoft.com/office/powerpoint/2010/main" val="136795649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67</a:t>
            </a:fld>
            <a:endParaRPr lang="en-US" dirty="0"/>
          </a:p>
        </p:txBody>
      </p:sp>
      <p:sp>
        <p:nvSpPr>
          <p:cNvPr id="7" name="Rectangle 1"/>
          <p:cNvSpPr>
            <a:spLocks noGrp="1" noChangeArrowheads="1"/>
          </p:cNvSpPr>
          <p:nvPr>
            <p:ph type="title"/>
          </p:nvPr>
        </p:nvSpPr>
        <p:spPr>
          <a:xfrm>
            <a:off x="2240236" y="1063768"/>
            <a:ext cx="7096125" cy="249008"/>
          </a:xfrm>
        </p:spPr>
        <p:txBody>
          <a:bodyPr/>
          <a:lstStyle/>
          <a:p>
            <a:pPr eaLnBrk="1" hangingPunct="1">
              <a:defRPr/>
            </a:pPr>
            <a:r>
              <a:rPr lang="en-US" b="0" dirty="0"/>
              <a:t>The sprint goal</a:t>
            </a:r>
          </a:p>
        </p:txBody>
      </p:sp>
      <p:sp>
        <p:nvSpPr>
          <p:cNvPr id="8" name="Rectangle 2"/>
          <p:cNvSpPr>
            <a:spLocks noGrp="1" noChangeArrowheads="1"/>
          </p:cNvSpPr>
          <p:nvPr>
            <p:ph type="body" idx="4294967295"/>
          </p:nvPr>
        </p:nvSpPr>
        <p:spPr>
          <a:xfrm>
            <a:off x="2240236" y="1512802"/>
            <a:ext cx="7096125" cy="942975"/>
          </a:xfrm>
          <a:prstGeom prst="rect">
            <a:avLst/>
          </a:prstGeom>
        </p:spPr>
        <p:txBody>
          <a:bodyPr/>
          <a:lstStyle/>
          <a:p>
            <a:pPr marL="523875">
              <a:defRPr/>
            </a:pPr>
            <a:r>
              <a:rPr lang="en-US"/>
              <a:t>A short statement of what the work will be focused on during the sprint</a:t>
            </a:r>
          </a:p>
        </p:txBody>
      </p:sp>
      <p:sp>
        <p:nvSpPr>
          <p:cNvPr id="9" name="AutoShape 3"/>
          <p:cNvSpPr>
            <a:spLocks/>
          </p:cNvSpPr>
          <p:nvPr/>
        </p:nvSpPr>
        <p:spPr bwMode="auto">
          <a:xfrm>
            <a:off x="2240235" y="3236827"/>
            <a:ext cx="3676650" cy="1457325"/>
          </a:xfrm>
          <a:prstGeom prst="roundRect">
            <a:avLst>
              <a:gd name="adj" fmla="val 15685"/>
            </a:avLst>
          </a:prstGeom>
          <a:blipFill dpi="0" rotWithShape="0">
            <a:blip r:embed="rId2"/>
            <a:srcRect/>
            <a:tile tx="0" ty="0" sx="100000" sy="100000" flip="none" algn="tl"/>
          </a:blipFill>
          <a:ln w="25400">
            <a:solidFill>
              <a:srgbClr val="003C83"/>
            </a:solidFill>
            <a:round/>
            <a:headEnd/>
            <a:tailEnd/>
          </a:ln>
          <a:effectLst>
            <a:outerShdw blurRad="114300" dist="63500" dir="2700000" algn="ctr" rotWithShape="0">
              <a:schemeClr val="bg2">
                <a:alpha val="29999"/>
              </a:schemeClr>
            </a:outerShdw>
          </a:effectLst>
        </p:spPr>
        <p:txBody>
          <a:bodyPr/>
          <a:lstStyle/>
          <a:p>
            <a:pPr algn="ctr" eaLnBrk="1" hangingPunct="1">
              <a:defRPr/>
            </a:pPr>
            <a:endParaRPr lang="en-US" sz="1350">
              <a:latin typeface="Gill Sans" pitchFamily="80" charset="0"/>
              <a:ea typeface="ヒラギノ角ゴ Pro W3" pitchFamily="80" charset="-128"/>
              <a:sym typeface="Gill Sans" pitchFamily="80" charset="0"/>
            </a:endParaRPr>
          </a:p>
        </p:txBody>
      </p:sp>
      <p:sp>
        <p:nvSpPr>
          <p:cNvPr id="10" name="Rectangle 4"/>
          <p:cNvSpPr>
            <a:spLocks/>
          </p:cNvSpPr>
          <p:nvPr/>
        </p:nvSpPr>
        <p:spPr bwMode="auto">
          <a:xfrm>
            <a:off x="2602186" y="3236826"/>
            <a:ext cx="1952625" cy="342900"/>
          </a:xfrm>
          <a:prstGeom prst="rect">
            <a:avLst/>
          </a:pr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spcBef>
                <a:spcPts val="1800"/>
              </a:spcBef>
              <a:buClr>
                <a:srgbClr val="5F7BAE"/>
              </a:buClr>
              <a:buSzPct val="150000"/>
              <a:buFont typeface="Lucida Grande" charset="0"/>
              <a:buChar char="•"/>
              <a:defRPr sz="3600">
                <a:solidFill>
                  <a:schemeClr val="tx1"/>
                </a:solidFill>
                <a:latin typeface="Gill Sans" charset="0"/>
                <a:ea typeface="ヒラギノ角ゴ Pro W3" charset="-128"/>
                <a:sym typeface="Gill Sans" charset="0"/>
              </a:defRPr>
            </a:lvl1pPr>
            <a:lvl2pPr marL="742950" indent="-285750">
              <a:spcBef>
                <a:spcPts val="1800"/>
              </a:spcBef>
              <a:buSzPct val="150000"/>
              <a:buFont typeface="Lucida Grande" charset="0"/>
              <a:buChar char="•"/>
              <a:defRPr sz="3200">
                <a:solidFill>
                  <a:schemeClr val="tx1"/>
                </a:solidFill>
                <a:latin typeface="Gill Sans" charset="0"/>
                <a:ea typeface="ヒラギノ角ゴ Pro W3" charset="-128"/>
                <a:sym typeface="Gill Sans" charset="0"/>
              </a:defRPr>
            </a:lvl2pPr>
            <a:lvl3pPr marL="1143000" indent="-228600">
              <a:spcBef>
                <a:spcPts val="1800"/>
              </a:spcBef>
              <a:buSzPct val="150000"/>
              <a:buFont typeface="Lucida Grande" charset="0"/>
              <a:buChar char="•"/>
              <a:defRPr sz="2800">
                <a:solidFill>
                  <a:schemeClr val="tx1"/>
                </a:solidFill>
                <a:latin typeface="Gill Sans" charset="0"/>
                <a:ea typeface="ヒラギノ角ゴ Pro W3" charset="-128"/>
                <a:sym typeface="Gill Sans" charset="0"/>
              </a:defRPr>
            </a:lvl3pPr>
            <a:lvl4pPr marL="1600200" indent="-228600">
              <a:spcBef>
                <a:spcPts val="1800"/>
              </a:spcBef>
              <a:buSzPct val="150000"/>
              <a:buFont typeface="Lucida Grande" charset="0"/>
              <a:buChar char="•"/>
              <a:defRPr sz="2400">
                <a:solidFill>
                  <a:schemeClr val="tx1"/>
                </a:solidFill>
                <a:latin typeface="Gill Sans" charset="0"/>
                <a:ea typeface="ヒラギノ角ゴ Pro W3" charset="-128"/>
                <a:sym typeface="Gill Sans" charset="0"/>
              </a:defRPr>
            </a:lvl4pPr>
            <a:lvl5pPr marL="2057400" indent="-228600">
              <a:spcBef>
                <a:spcPts val="1800"/>
              </a:spcBef>
              <a:buSzPct val="150000"/>
              <a:buFont typeface="Lucida Grande" charset="0"/>
              <a:buChar char="•"/>
              <a:defRPr sz="2400">
                <a:solidFill>
                  <a:schemeClr val="tx1"/>
                </a:solidFill>
                <a:latin typeface="Gill Sans" charset="0"/>
                <a:ea typeface="ヒラギノ角ゴ Pro W3" charset="-128"/>
                <a:sym typeface="Gill Sans" charset="0"/>
              </a:defRPr>
            </a:lvl5pPr>
            <a:lvl6pPr marL="25146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6pPr>
            <a:lvl7pPr marL="29718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7pPr>
            <a:lvl8pPr marL="34290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8pPr>
            <a:lvl9pPr marL="38862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9pPr>
          </a:lstStyle>
          <a:p>
            <a:pPr algn="ctr" eaLnBrk="1" hangingPunct="1">
              <a:spcBef>
                <a:spcPct val="0"/>
              </a:spcBef>
              <a:buClrTx/>
              <a:buSzTx/>
              <a:buFontTx/>
              <a:buNone/>
            </a:pPr>
            <a:endParaRPr lang="en-US" altLang="en-US" sz="2400">
              <a:solidFill>
                <a:srgbClr val="000000"/>
              </a:solidFill>
            </a:endParaRPr>
          </a:p>
        </p:txBody>
      </p:sp>
      <p:sp>
        <p:nvSpPr>
          <p:cNvPr id="11" name="AutoShape 5"/>
          <p:cNvSpPr>
            <a:spLocks/>
          </p:cNvSpPr>
          <p:nvPr/>
        </p:nvSpPr>
        <p:spPr bwMode="auto">
          <a:xfrm rot="10800000">
            <a:off x="4478611" y="3236826"/>
            <a:ext cx="371475" cy="342900"/>
          </a:xfrm>
          <a:custGeom>
            <a:avLst/>
            <a:gdLst>
              <a:gd name="T0" fmla="*/ 2147483646 w 21600"/>
              <a:gd name="T1" fmla="*/ 13048806 h 21600"/>
              <a:gd name="T2" fmla="*/ 3870494 w 21600"/>
              <a:gd name="T3" fmla="*/ 2147483646 h 21600"/>
              <a:gd name="T4" fmla="*/ 0 w 21600"/>
              <a:gd name="T5" fmla="*/ 2147483646 h 21600"/>
              <a:gd name="T6" fmla="*/ 2147483646 w 21600"/>
              <a:gd name="T7" fmla="*/ 2147483646 h 21600"/>
              <a:gd name="T8" fmla="*/ 2147483646 w 21600"/>
              <a:gd name="T9" fmla="*/ 0 h 21600"/>
              <a:gd name="T10" fmla="*/ 2147483646 w 21600"/>
              <a:gd name="T11" fmla="*/ 13048806 h 21600"/>
              <a:gd name="T12" fmla="*/ 2147483646 w 21600"/>
              <a:gd name="T13" fmla="*/ 13048806 h 21600"/>
              <a:gd name="T14" fmla="*/ 2147483646 w 21600"/>
              <a:gd name="T15" fmla="*/ 13048806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12" name="AutoShape 6"/>
          <p:cNvSpPr>
            <a:spLocks/>
          </p:cNvSpPr>
          <p:nvPr/>
        </p:nvSpPr>
        <p:spPr bwMode="auto">
          <a:xfrm>
            <a:off x="2240236" y="3236826"/>
            <a:ext cx="371475" cy="342900"/>
          </a:xfrm>
          <a:custGeom>
            <a:avLst/>
            <a:gdLst>
              <a:gd name="T0" fmla="*/ 2147483646 w 21600"/>
              <a:gd name="T1" fmla="*/ 13048806 h 21600"/>
              <a:gd name="T2" fmla="*/ 3870494 w 21600"/>
              <a:gd name="T3" fmla="*/ 2147483646 h 21600"/>
              <a:gd name="T4" fmla="*/ 0 w 21600"/>
              <a:gd name="T5" fmla="*/ 2147483646 h 21600"/>
              <a:gd name="T6" fmla="*/ 2147483646 w 21600"/>
              <a:gd name="T7" fmla="*/ 2147483646 h 21600"/>
              <a:gd name="T8" fmla="*/ 2147483646 w 21600"/>
              <a:gd name="T9" fmla="*/ 0 h 21600"/>
              <a:gd name="T10" fmla="*/ 2147483646 w 21600"/>
              <a:gd name="T11" fmla="*/ 13048806 h 21600"/>
              <a:gd name="T12" fmla="*/ 2147483646 w 21600"/>
              <a:gd name="T13" fmla="*/ 13048806 h 21600"/>
              <a:gd name="T14" fmla="*/ 2147483646 w 21600"/>
              <a:gd name="T15" fmla="*/ 13048806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13" name="Rectangle 7"/>
          <p:cNvSpPr>
            <a:spLocks/>
          </p:cNvSpPr>
          <p:nvPr/>
        </p:nvSpPr>
        <p:spPr bwMode="auto">
          <a:xfrm>
            <a:off x="2364060" y="3208251"/>
            <a:ext cx="23622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spcBef>
                <a:spcPts val="1800"/>
              </a:spcBef>
              <a:buClr>
                <a:srgbClr val="5F7BAE"/>
              </a:buClr>
              <a:buSzPct val="150000"/>
              <a:buFont typeface="Lucida Grande" charset="0"/>
              <a:buChar char="•"/>
              <a:tabLst>
                <a:tab pos="1066800" algn="l"/>
              </a:tabLst>
              <a:defRPr sz="3600">
                <a:solidFill>
                  <a:schemeClr val="tx1"/>
                </a:solidFill>
                <a:latin typeface="Gill Sans" charset="0"/>
                <a:ea typeface="ヒラギノ角ゴ Pro W3" charset="-128"/>
                <a:sym typeface="Gill Sans" charset="0"/>
              </a:defRPr>
            </a:lvl1pPr>
            <a:lvl2pPr marL="742950" indent="-285750">
              <a:spcBef>
                <a:spcPts val="1800"/>
              </a:spcBef>
              <a:buSzPct val="150000"/>
              <a:buFont typeface="Lucida Grande" charset="0"/>
              <a:buChar char="•"/>
              <a:tabLst>
                <a:tab pos="1066800" algn="l"/>
              </a:tabLst>
              <a:defRPr sz="3200">
                <a:solidFill>
                  <a:schemeClr val="tx1"/>
                </a:solidFill>
                <a:latin typeface="Gill Sans" charset="0"/>
                <a:ea typeface="ヒラギノ角ゴ Pro W3" charset="-128"/>
                <a:sym typeface="Gill Sans" charset="0"/>
              </a:defRPr>
            </a:lvl2pPr>
            <a:lvl3pPr marL="1143000" indent="-228600">
              <a:spcBef>
                <a:spcPts val="1800"/>
              </a:spcBef>
              <a:buSzPct val="150000"/>
              <a:buFont typeface="Lucida Grande" charset="0"/>
              <a:buChar char="•"/>
              <a:tabLst>
                <a:tab pos="1066800" algn="l"/>
              </a:tabLst>
              <a:defRPr sz="2800">
                <a:solidFill>
                  <a:schemeClr val="tx1"/>
                </a:solidFill>
                <a:latin typeface="Gill Sans" charset="0"/>
                <a:ea typeface="ヒラギノ角ゴ Pro W3" charset="-128"/>
                <a:sym typeface="Gill Sans" charset="0"/>
              </a:defRPr>
            </a:lvl3pPr>
            <a:lvl4pPr marL="1600200" indent="-228600">
              <a:spcBef>
                <a:spcPts val="1800"/>
              </a:spcBef>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4pPr>
            <a:lvl5pPr marL="2057400" indent="-228600">
              <a:spcBef>
                <a:spcPts val="1800"/>
              </a:spcBef>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5pPr>
            <a:lvl6pPr marL="25146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6pPr>
            <a:lvl7pPr marL="29718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7pPr>
            <a:lvl8pPr marL="34290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8pPr>
            <a:lvl9pPr marL="38862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9pPr>
          </a:lstStyle>
          <a:p>
            <a:pPr eaLnBrk="1" hangingPunct="1">
              <a:spcBef>
                <a:spcPct val="0"/>
              </a:spcBef>
              <a:buClrTx/>
              <a:buSzTx/>
              <a:buFontTx/>
              <a:buNone/>
            </a:pPr>
            <a:r>
              <a:rPr lang="en-US" altLang="en-US" sz="1800">
                <a:solidFill>
                  <a:srgbClr val="FFFFFF"/>
                </a:solidFill>
              </a:rPr>
              <a:t>Database Application</a:t>
            </a:r>
          </a:p>
        </p:txBody>
      </p:sp>
      <p:sp>
        <p:nvSpPr>
          <p:cNvPr id="14" name="AutoShape 8"/>
          <p:cNvSpPr>
            <a:spLocks/>
          </p:cNvSpPr>
          <p:nvPr/>
        </p:nvSpPr>
        <p:spPr bwMode="auto">
          <a:xfrm>
            <a:off x="5621610" y="4236952"/>
            <a:ext cx="3676650" cy="1457325"/>
          </a:xfrm>
          <a:prstGeom prst="roundRect">
            <a:avLst>
              <a:gd name="adj" fmla="val 15685"/>
            </a:avLst>
          </a:prstGeom>
          <a:blipFill dpi="0" rotWithShape="0">
            <a:blip r:embed="rId2"/>
            <a:srcRect/>
            <a:tile tx="0" ty="0" sx="100000" sy="100000" flip="none" algn="tl"/>
          </a:blipFill>
          <a:ln w="25400">
            <a:solidFill>
              <a:srgbClr val="003C83"/>
            </a:solidFill>
            <a:round/>
            <a:headEnd/>
            <a:tailEnd/>
          </a:ln>
          <a:effectLst>
            <a:outerShdw blurRad="114300" dist="63500" dir="2700000" algn="ctr" rotWithShape="0">
              <a:schemeClr val="bg2">
                <a:alpha val="29999"/>
              </a:schemeClr>
            </a:outerShdw>
          </a:effectLst>
        </p:spPr>
        <p:txBody>
          <a:bodyPr/>
          <a:lstStyle/>
          <a:p>
            <a:pPr algn="ctr" eaLnBrk="1" hangingPunct="1">
              <a:defRPr/>
            </a:pPr>
            <a:endParaRPr lang="en-US" sz="1350">
              <a:latin typeface="Gill Sans" pitchFamily="80" charset="0"/>
              <a:ea typeface="ヒラギノ角ゴ Pro W3" pitchFamily="80" charset="-128"/>
              <a:sym typeface="Gill Sans" pitchFamily="80" charset="0"/>
            </a:endParaRPr>
          </a:p>
        </p:txBody>
      </p:sp>
      <p:sp>
        <p:nvSpPr>
          <p:cNvPr id="15" name="Rectangle 9"/>
          <p:cNvSpPr>
            <a:spLocks/>
          </p:cNvSpPr>
          <p:nvPr/>
        </p:nvSpPr>
        <p:spPr bwMode="auto">
          <a:xfrm>
            <a:off x="5983561" y="4236951"/>
            <a:ext cx="1952625" cy="342900"/>
          </a:xfrm>
          <a:prstGeom prst="rect">
            <a:avLst/>
          </a:pr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spcBef>
                <a:spcPts val="1800"/>
              </a:spcBef>
              <a:buClr>
                <a:srgbClr val="5F7BAE"/>
              </a:buClr>
              <a:buSzPct val="150000"/>
              <a:buFont typeface="Lucida Grande" charset="0"/>
              <a:buChar char="•"/>
              <a:defRPr sz="3600">
                <a:solidFill>
                  <a:schemeClr val="tx1"/>
                </a:solidFill>
                <a:latin typeface="Gill Sans" charset="0"/>
                <a:ea typeface="ヒラギノ角ゴ Pro W3" charset="-128"/>
                <a:sym typeface="Gill Sans" charset="0"/>
              </a:defRPr>
            </a:lvl1pPr>
            <a:lvl2pPr marL="742950" indent="-285750">
              <a:spcBef>
                <a:spcPts val="1800"/>
              </a:spcBef>
              <a:buSzPct val="150000"/>
              <a:buFont typeface="Lucida Grande" charset="0"/>
              <a:buChar char="•"/>
              <a:defRPr sz="3200">
                <a:solidFill>
                  <a:schemeClr val="tx1"/>
                </a:solidFill>
                <a:latin typeface="Gill Sans" charset="0"/>
                <a:ea typeface="ヒラギノ角ゴ Pro W3" charset="-128"/>
                <a:sym typeface="Gill Sans" charset="0"/>
              </a:defRPr>
            </a:lvl2pPr>
            <a:lvl3pPr marL="1143000" indent="-228600">
              <a:spcBef>
                <a:spcPts val="1800"/>
              </a:spcBef>
              <a:buSzPct val="150000"/>
              <a:buFont typeface="Lucida Grande" charset="0"/>
              <a:buChar char="•"/>
              <a:defRPr sz="2800">
                <a:solidFill>
                  <a:schemeClr val="tx1"/>
                </a:solidFill>
                <a:latin typeface="Gill Sans" charset="0"/>
                <a:ea typeface="ヒラギノ角ゴ Pro W3" charset="-128"/>
                <a:sym typeface="Gill Sans" charset="0"/>
              </a:defRPr>
            </a:lvl3pPr>
            <a:lvl4pPr marL="1600200" indent="-228600">
              <a:spcBef>
                <a:spcPts val="1800"/>
              </a:spcBef>
              <a:buSzPct val="150000"/>
              <a:buFont typeface="Lucida Grande" charset="0"/>
              <a:buChar char="•"/>
              <a:defRPr sz="2400">
                <a:solidFill>
                  <a:schemeClr val="tx1"/>
                </a:solidFill>
                <a:latin typeface="Gill Sans" charset="0"/>
                <a:ea typeface="ヒラギノ角ゴ Pro W3" charset="-128"/>
                <a:sym typeface="Gill Sans" charset="0"/>
              </a:defRPr>
            </a:lvl4pPr>
            <a:lvl5pPr marL="2057400" indent="-228600">
              <a:spcBef>
                <a:spcPts val="1800"/>
              </a:spcBef>
              <a:buSzPct val="150000"/>
              <a:buFont typeface="Lucida Grande" charset="0"/>
              <a:buChar char="•"/>
              <a:defRPr sz="2400">
                <a:solidFill>
                  <a:schemeClr val="tx1"/>
                </a:solidFill>
                <a:latin typeface="Gill Sans" charset="0"/>
                <a:ea typeface="ヒラギノ角ゴ Pro W3" charset="-128"/>
                <a:sym typeface="Gill Sans" charset="0"/>
              </a:defRPr>
            </a:lvl5pPr>
            <a:lvl6pPr marL="25146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6pPr>
            <a:lvl7pPr marL="29718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7pPr>
            <a:lvl8pPr marL="34290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8pPr>
            <a:lvl9pPr marL="38862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9pPr>
          </a:lstStyle>
          <a:p>
            <a:pPr algn="ctr" eaLnBrk="1" hangingPunct="1">
              <a:spcBef>
                <a:spcPct val="0"/>
              </a:spcBef>
              <a:buClrTx/>
              <a:buSzTx/>
              <a:buFontTx/>
              <a:buNone/>
            </a:pPr>
            <a:endParaRPr lang="en-US" altLang="en-US" sz="2400">
              <a:solidFill>
                <a:srgbClr val="000000"/>
              </a:solidFill>
            </a:endParaRPr>
          </a:p>
        </p:txBody>
      </p:sp>
      <p:sp>
        <p:nvSpPr>
          <p:cNvPr id="16" name="AutoShape 10"/>
          <p:cNvSpPr>
            <a:spLocks/>
          </p:cNvSpPr>
          <p:nvPr/>
        </p:nvSpPr>
        <p:spPr bwMode="auto">
          <a:xfrm rot="10800000">
            <a:off x="7859986" y="4236951"/>
            <a:ext cx="371475" cy="342900"/>
          </a:xfrm>
          <a:custGeom>
            <a:avLst/>
            <a:gdLst>
              <a:gd name="T0" fmla="*/ 2147483646 w 21600"/>
              <a:gd name="T1" fmla="*/ 13048806 h 21600"/>
              <a:gd name="T2" fmla="*/ 3870494 w 21600"/>
              <a:gd name="T3" fmla="*/ 2147483646 h 21600"/>
              <a:gd name="T4" fmla="*/ 0 w 21600"/>
              <a:gd name="T5" fmla="*/ 2147483646 h 21600"/>
              <a:gd name="T6" fmla="*/ 2147483646 w 21600"/>
              <a:gd name="T7" fmla="*/ 2147483646 h 21600"/>
              <a:gd name="T8" fmla="*/ 2147483646 w 21600"/>
              <a:gd name="T9" fmla="*/ 0 h 21600"/>
              <a:gd name="T10" fmla="*/ 2147483646 w 21600"/>
              <a:gd name="T11" fmla="*/ 13048806 h 21600"/>
              <a:gd name="T12" fmla="*/ 2147483646 w 21600"/>
              <a:gd name="T13" fmla="*/ 13048806 h 21600"/>
              <a:gd name="T14" fmla="*/ 2147483646 w 21600"/>
              <a:gd name="T15" fmla="*/ 13048806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17" name="AutoShape 11"/>
          <p:cNvSpPr>
            <a:spLocks/>
          </p:cNvSpPr>
          <p:nvPr/>
        </p:nvSpPr>
        <p:spPr bwMode="auto">
          <a:xfrm>
            <a:off x="5621611" y="4236951"/>
            <a:ext cx="371475" cy="342900"/>
          </a:xfrm>
          <a:custGeom>
            <a:avLst/>
            <a:gdLst>
              <a:gd name="T0" fmla="*/ 2147483646 w 21600"/>
              <a:gd name="T1" fmla="*/ 13048806 h 21600"/>
              <a:gd name="T2" fmla="*/ 3870494 w 21600"/>
              <a:gd name="T3" fmla="*/ 2147483646 h 21600"/>
              <a:gd name="T4" fmla="*/ 0 w 21600"/>
              <a:gd name="T5" fmla="*/ 2147483646 h 21600"/>
              <a:gd name="T6" fmla="*/ 2147483646 w 21600"/>
              <a:gd name="T7" fmla="*/ 2147483646 h 21600"/>
              <a:gd name="T8" fmla="*/ 2147483646 w 21600"/>
              <a:gd name="T9" fmla="*/ 0 h 21600"/>
              <a:gd name="T10" fmla="*/ 2147483646 w 21600"/>
              <a:gd name="T11" fmla="*/ 13048806 h 21600"/>
              <a:gd name="T12" fmla="*/ 2147483646 w 21600"/>
              <a:gd name="T13" fmla="*/ 13048806 h 21600"/>
              <a:gd name="T14" fmla="*/ 2147483646 w 21600"/>
              <a:gd name="T15" fmla="*/ 13048806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18" name="Rectangle 12"/>
          <p:cNvSpPr>
            <a:spLocks/>
          </p:cNvSpPr>
          <p:nvPr/>
        </p:nvSpPr>
        <p:spPr bwMode="auto">
          <a:xfrm>
            <a:off x="5745435" y="4208376"/>
            <a:ext cx="23622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spcBef>
                <a:spcPts val="1800"/>
              </a:spcBef>
              <a:buClr>
                <a:srgbClr val="5F7BAE"/>
              </a:buClr>
              <a:buSzPct val="150000"/>
              <a:buFont typeface="Lucida Grande" charset="0"/>
              <a:buChar char="•"/>
              <a:tabLst>
                <a:tab pos="1066800" algn="l"/>
              </a:tabLst>
              <a:defRPr sz="3600">
                <a:solidFill>
                  <a:schemeClr val="tx1"/>
                </a:solidFill>
                <a:latin typeface="Gill Sans" charset="0"/>
                <a:ea typeface="ヒラギノ角ゴ Pro W3" charset="-128"/>
                <a:sym typeface="Gill Sans" charset="0"/>
              </a:defRPr>
            </a:lvl1pPr>
            <a:lvl2pPr marL="742950" indent="-285750">
              <a:spcBef>
                <a:spcPts val="1800"/>
              </a:spcBef>
              <a:buSzPct val="150000"/>
              <a:buFont typeface="Lucida Grande" charset="0"/>
              <a:buChar char="•"/>
              <a:tabLst>
                <a:tab pos="1066800" algn="l"/>
              </a:tabLst>
              <a:defRPr sz="3200">
                <a:solidFill>
                  <a:schemeClr val="tx1"/>
                </a:solidFill>
                <a:latin typeface="Gill Sans" charset="0"/>
                <a:ea typeface="ヒラギノ角ゴ Pro W3" charset="-128"/>
                <a:sym typeface="Gill Sans" charset="0"/>
              </a:defRPr>
            </a:lvl2pPr>
            <a:lvl3pPr marL="1143000" indent="-228600">
              <a:spcBef>
                <a:spcPts val="1800"/>
              </a:spcBef>
              <a:buSzPct val="150000"/>
              <a:buFont typeface="Lucida Grande" charset="0"/>
              <a:buChar char="•"/>
              <a:tabLst>
                <a:tab pos="1066800" algn="l"/>
              </a:tabLst>
              <a:defRPr sz="2800">
                <a:solidFill>
                  <a:schemeClr val="tx1"/>
                </a:solidFill>
                <a:latin typeface="Gill Sans" charset="0"/>
                <a:ea typeface="ヒラギノ角ゴ Pro W3" charset="-128"/>
                <a:sym typeface="Gill Sans" charset="0"/>
              </a:defRPr>
            </a:lvl3pPr>
            <a:lvl4pPr marL="1600200" indent="-228600">
              <a:spcBef>
                <a:spcPts val="1800"/>
              </a:spcBef>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4pPr>
            <a:lvl5pPr marL="2057400" indent="-228600">
              <a:spcBef>
                <a:spcPts val="1800"/>
              </a:spcBef>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5pPr>
            <a:lvl6pPr marL="25146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6pPr>
            <a:lvl7pPr marL="29718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7pPr>
            <a:lvl8pPr marL="34290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8pPr>
            <a:lvl9pPr marL="38862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9pPr>
          </a:lstStyle>
          <a:p>
            <a:pPr eaLnBrk="1" hangingPunct="1">
              <a:spcBef>
                <a:spcPct val="0"/>
              </a:spcBef>
              <a:buClrTx/>
              <a:buSzTx/>
              <a:buFontTx/>
              <a:buNone/>
            </a:pPr>
            <a:r>
              <a:rPr lang="en-US" altLang="en-US" sz="1800">
                <a:solidFill>
                  <a:srgbClr val="FFFFFF"/>
                </a:solidFill>
              </a:rPr>
              <a:t>Financial services</a:t>
            </a:r>
          </a:p>
        </p:txBody>
      </p:sp>
      <p:sp>
        <p:nvSpPr>
          <p:cNvPr id="19" name="AutoShape 13"/>
          <p:cNvSpPr>
            <a:spLocks/>
          </p:cNvSpPr>
          <p:nvPr/>
        </p:nvSpPr>
        <p:spPr bwMode="auto">
          <a:xfrm>
            <a:off x="5621610" y="2512927"/>
            <a:ext cx="3676650" cy="1152525"/>
          </a:xfrm>
          <a:prstGeom prst="roundRect">
            <a:avLst>
              <a:gd name="adj" fmla="val 19833"/>
            </a:avLst>
          </a:prstGeom>
          <a:blipFill dpi="0" rotWithShape="0">
            <a:blip r:embed="rId2"/>
            <a:srcRect/>
            <a:tile tx="0" ty="0" sx="100000" sy="100000" flip="none" algn="tl"/>
          </a:blipFill>
          <a:ln w="25400">
            <a:solidFill>
              <a:srgbClr val="003C83"/>
            </a:solidFill>
            <a:round/>
            <a:headEnd/>
            <a:tailEnd/>
          </a:ln>
          <a:effectLst>
            <a:outerShdw blurRad="114300" dist="63500" dir="2700000" algn="ctr" rotWithShape="0">
              <a:schemeClr val="bg2">
                <a:alpha val="29999"/>
              </a:schemeClr>
            </a:outerShdw>
          </a:effectLst>
        </p:spPr>
        <p:txBody>
          <a:bodyPr/>
          <a:lstStyle/>
          <a:p>
            <a:pPr algn="ctr" eaLnBrk="1" hangingPunct="1">
              <a:defRPr/>
            </a:pPr>
            <a:endParaRPr lang="en-US" sz="1350">
              <a:latin typeface="Gill Sans" pitchFamily="80" charset="0"/>
              <a:ea typeface="ヒラギノ角ゴ Pro W3" pitchFamily="80" charset="-128"/>
              <a:sym typeface="Gill Sans" pitchFamily="80" charset="0"/>
            </a:endParaRPr>
          </a:p>
        </p:txBody>
      </p:sp>
      <p:sp>
        <p:nvSpPr>
          <p:cNvPr id="20" name="Rectangle 14"/>
          <p:cNvSpPr>
            <a:spLocks/>
          </p:cNvSpPr>
          <p:nvPr/>
        </p:nvSpPr>
        <p:spPr bwMode="auto">
          <a:xfrm>
            <a:off x="5983561" y="2512926"/>
            <a:ext cx="1952625" cy="342900"/>
          </a:xfrm>
          <a:prstGeom prst="rect">
            <a:avLst/>
          </a:pr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lvl1pPr>
              <a:spcBef>
                <a:spcPts val="1800"/>
              </a:spcBef>
              <a:buClr>
                <a:srgbClr val="5F7BAE"/>
              </a:buClr>
              <a:buSzPct val="150000"/>
              <a:buFont typeface="Lucida Grande" charset="0"/>
              <a:buChar char="•"/>
              <a:defRPr sz="3600">
                <a:solidFill>
                  <a:schemeClr val="tx1"/>
                </a:solidFill>
                <a:latin typeface="Gill Sans" charset="0"/>
                <a:ea typeface="ヒラギノ角ゴ Pro W3" charset="-128"/>
                <a:sym typeface="Gill Sans" charset="0"/>
              </a:defRPr>
            </a:lvl1pPr>
            <a:lvl2pPr marL="742950" indent="-285750">
              <a:spcBef>
                <a:spcPts val="1800"/>
              </a:spcBef>
              <a:buSzPct val="150000"/>
              <a:buFont typeface="Lucida Grande" charset="0"/>
              <a:buChar char="•"/>
              <a:defRPr sz="3200">
                <a:solidFill>
                  <a:schemeClr val="tx1"/>
                </a:solidFill>
                <a:latin typeface="Gill Sans" charset="0"/>
                <a:ea typeface="ヒラギノ角ゴ Pro W3" charset="-128"/>
                <a:sym typeface="Gill Sans" charset="0"/>
              </a:defRPr>
            </a:lvl2pPr>
            <a:lvl3pPr marL="1143000" indent="-228600">
              <a:spcBef>
                <a:spcPts val="1800"/>
              </a:spcBef>
              <a:buSzPct val="150000"/>
              <a:buFont typeface="Lucida Grande" charset="0"/>
              <a:buChar char="•"/>
              <a:defRPr sz="2800">
                <a:solidFill>
                  <a:schemeClr val="tx1"/>
                </a:solidFill>
                <a:latin typeface="Gill Sans" charset="0"/>
                <a:ea typeface="ヒラギノ角ゴ Pro W3" charset="-128"/>
                <a:sym typeface="Gill Sans" charset="0"/>
              </a:defRPr>
            </a:lvl3pPr>
            <a:lvl4pPr marL="1600200" indent="-228600">
              <a:spcBef>
                <a:spcPts val="1800"/>
              </a:spcBef>
              <a:buSzPct val="150000"/>
              <a:buFont typeface="Lucida Grande" charset="0"/>
              <a:buChar char="•"/>
              <a:defRPr sz="2400">
                <a:solidFill>
                  <a:schemeClr val="tx1"/>
                </a:solidFill>
                <a:latin typeface="Gill Sans" charset="0"/>
                <a:ea typeface="ヒラギノ角ゴ Pro W3" charset="-128"/>
                <a:sym typeface="Gill Sans" charset="0"/>
              </a:defRPr>
            </a:lvl4pPr>
            <a:lvl5pPr marL="2057400" indent="-228600">
              <a:spcBef>
                <a:spcPts val="1800"/>
              </a:spcBef>
              <a:buSzPct val="150000"/>
              <a:buFont typeface="Lucida Grande" charset="0"/>
              <a:buChar char="•"/>
              <a:defRPr sz="2400">
                <a:solidFill>
                  <a:schemeClr val="tx1"/>
                </a:solidFill>
                <a:latin typeface="Gill Sans" charset="0"/>
                <a:ea typeface="ヒラギノ角ゴ Pro W3" charset="-128"/>
                <a:sym typeface="Gill Sans" charset="0"/>
              </a:defRPr>
            </a:lvl5pPr>
            <a:lvl6pPr marL="25146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6pPr>
            <a:lvl7pPr marL="29718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7pPr>
            <a:lvl8pPr marL="34290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8pPr>
            <a:lvl9pPr marL="3886200" indent="-228600" eaLnBrk="0" fontAlgn="base" hangingPunct="0">
              <a:spcBef>
                <a:spcPts val="1800"/>
              </a:spcBef>
              <a:spcAft>
                <a:spcPct val="0"/>
              </a:spcAft>
              <a:buSzPct val="150000"/>
              <a:buFont typeface="Lucida Grande" charset="0"/>
              <a:buChar char="•"/>
              <a:defRPr sz="2400">
                <a:solidFill>
                  <a:schemeClr val="tx1"/>
                </a:solidFill>
                <a:latin typeface="Gill Sans" charset="0"/>
                <a:ea typeface="ヒラギノ角ゴ Pro W3" charset="-128"/>
                <a:sym typeface="Gill Sans" charset="0"/>
              </a:defRPr>
            </a:lvl9pPr>
          </a:lstStyle>
          <a:p>
            <a:pPr algn="ctr" eaLnBrk="1" hangingPunct="1">
              <a:spcBef>
                <a:spcPct val="0"/>
              </a:spcBef>
              <a:buClrTx/>
              <a:buSzTx/>
              <a:buFontTx/>
              <a:buNone/>
            </a:pPr>
            <a:endParaRPr lang="en-US" altLang="en-US" sz="2400">
              <a:solidFill>
                <a:srgbClr val="000000"/>
              </a:solidFill>
            </a:endParaRPr>
          </a:p>
        </p:txBody>
      </p:sp>
      <p:sp>
        <p:nvSpPr>
          <p:cNvPr id="21" name="AutoShape 15"/>
          <p:cNvSpPr>
            <a:spLocks/>
          </p:cNvSpPr>
          <p:nvPr/>
        </p:nvSpPr>
        <p:spPr bwMode="auto">
          <a:xfrm rot="10800000">
            <a:off x="7859986" y="2512926"/>
            <a:ext cx="371475" cy="342900"/>
          </a:xfrm>
          <a:custGeom>
            <a:avLst/>
            <a:gdLst>
              <a:gd name="T0" fmla="*/ 2147483646 w 21600"/>
              <a:gd name="T1" fmla="*/ 13048806 h 21600"/>
              <a:gd name="T2" fmla="*/ 3870494 w 21600"/>
              <a:gd name="T3" fmla="*/ 2147483646 h 21600"/>
              <a:gd name="T4" fmla="*/ 0 w 21600"/>
              <a:gd name="T5" fmla="*/ 2147483646 h 21600"/>
              <a:gd name="T6" fmla="*/ 2147483646 w 21600"/>
              <a:gd name="T7" fmla="*/ 2147483646 h 21600"/>
              <a:gd name="T8" fmla="*/ 2147483646 w 21600"/>
              <a:gd name="T9" fmla="*/ 0 h 21600"/>
              <a:gd name="T10" fmla="*/ 2147483646 w 21600"/>
              <a:gd name="T11" fmla="*/ 13048806 h 21600"/>
              <a:gd name="T12" fmla="*/ 2147483646 w 21600"/>
              <a:gd name="T13" fmla="*/ 13048806 h 21600"/>
              <a:gd name="T14" fmla="*/ 2147483646 w 21600"/>
              <a:gd name="T15" fmla="*/ 13048806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22" name="AutoShape 16"/>
          <p:cNvSpPr>
            <a:spLocks/>
          </p:cNvSpPr>
          <p:nvPr/>
        </p:nvSpPr>
        <p:spPr bwMode="auto">
          <a:xfrm>
            <a:off x="5621611" y="2512926"/>
            <a:ext cx="371475" cy="342900"/>
          </a:xfrm>
          <a:custGeom>
            <a:avLst/>
            <a:gdLst>
              <a:gd name="T0" fmla="*/ 2147483646 w 21600"/>
              <a:gd name="T1" fmla="*/ 13048806 h 21600"/>
              <a:gd name="T2" fmla="*/ 3870494 w 21600"/>
              <a:gd name="T3" fmla="*/ 2147483646 h 21600"/>
              <a:gd name="T4" fmla="*/ 0 w 21600"/>
              <a:gd name="T5" fmla="*/ 2147483646 h 21600"/>
              <a:gd name="T6" fmla="*/ 2147483646 w 21600"/>
              <a:gd name="T7" fmla="*/ 2147483646 h 21600"/>
              <a:gd name="T8" fmla="*/ 2147483646 w 21600"/>
              <a:gd name="T9" fmla="*/ 0 h 21600"/>
              <a:gd name="T10" fmla="*/ 2147483646 w 21600"/>
              <a:gd name="T11" fmla="*/ 13048806 h 21600"/>
              <a:gd name="T12" fmla="*/ 2147483646 w 21600"/>
              <a:gd name="T13" fmla="*/ 13048806 h 21600"/>
              <a:gd name="T14" fmla="*/ 2147483646 w 21600"/>
              <a:gd name="T15" fmla="*/ 13048806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3C83"/>
          </a:solidFill>
          <a:ln>
            <a:noFill/>
          </a:ln>
          <a:extLst>
            <a:ext uri="{91240B29-F687-4F45-9708-019B960494DF}">
              <a14:hiddenLine xmlns:a14="http://schemas.microsoft.com/office/drawing/2010/main" w="25400">
                <a:solidFill>
                  <a:schemeClr val="tx1"/>
                </a:solidFill>
                <a:miter lim="800000"/>
                <a:headEnd/>
                <a:tailEnd/>
              </a14:hiddenLine>
            </a:ext>
          </a:extLst>
        </p:spPr>
        <p:txBody>
          <a:bodyPr/>
          <a:lstStyle/>
          <a:p>
            <a:endParaRPr lang="en-US" sz="1350"/>
          </a:p>
        </p:txBody>
      </p:sp>
      <p:sp>
        <p:nvSpPr>
          <p:cNvPr id="23" name="Rectangle 17"/>
          <p:cNvSpPr>
            <a:spLocks/>
          </p:cNvSpPr>
          <p:nvPr/>
        </p:nvSpPr>
        <p:spPr bwMode="auto">
          <a:xfrm>
            <a:off x="5745435" y="2484351"/>
            <a:ext cx="23622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spcBef>
                <a:spcPts val="1800"/>
              </a:spcBef>
              <a:buClr>
                <a:srgbClr val="5F7BAE"/>
              </a:buClr>
              <a:buSzPct val="150000"/>
              <a:buFont typeface="Lucida Grande" charset="0"/>
              <a:buChar char="•"/>
              <a:tabLst>
                <a:tab pos="1066800" algn="l"/>
              </a:tabLst>
              <a:defRPr sz="3600">
                <a:solidFill>
                  <a:schemeClr val="tx1"/>
                </a:solidFill>
                <a:latin typeface="Gill Sans" charset="0"/>
                <a:ea typeface="ヒラギノ角ゴ Pro W3" charset="-128"/>
                <a:sym typeface="Gill Sans" charset="0"/>
              </a:defRPr>
            </a:lvl1pPr>
            <a:lvl2pPr marL="742950" indent="-285750">
              <a:spcBef>
                <a:spcPts val="1800"/>
              </a:spcBef>
              <a:buSzPct val="150000"/>
              <a:buFont typeface="Lucida Grande" charset="0"/>
              <a:buChar char="•"/>
              <a:tabLst>
                <a:tab pos="1066800" algn="l"/>
              </a:tabLst>
              <a:defRPr sz="3200">
                <a:solidFill>
                  <a:schemeClr val="tx1"/>
                </a:solidFill>
                <a:latin typeface="Gill Sans" charset="0"/>
                <a:ea typeface="ヒラギノ角ゴ Pro W3" charset="-128"/>
                <a:sym typeface="Gill Sans" charset="0"/>
              </a:defRPr>
            </a:lvl2pPr>
            <a:lvl3pPr marL="1143000" indent="-228600">
              <a:spcBef>
                <a:spcPts val="1800"/>
              </a:spcBef>
              <a:buSzPct val="150000"/>
              <a:buFont typeface="Lucida Grande" charset="0"/>
              <a:buChar char="•"/>
              <a:tabLst>
                <a:tab pos="1066800" algn="l"/>
              </a:tabLst>
              <a:defRPr sz="2800">
                <a:solidFill>
                  <a:schemeClr val="tx1"/>
                </a:solidFill>
                <a:latin typeface="Gill Sans" charset="0"/>
                <a:ea typeface="ヒラギノ角ゴ Pro W3" charset="-128"/>
                <a:sym typeface="Gill Sans" charset="0"/>
              </a:defRPr>
            </a:lvl3pPr>
            <a:lvl4pPr marL="1600200" indent="-228600">
              <a:spcBef>
                <a:spcPts val="1800"/>
              </a:spcBef>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4pPr>
            <a:lvl5pPr marL="2057400" indent="-228600">
              <a:spcBef>
                <a:spcPts val="1800"/>
              </a:spcBef>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5pPr>
            <a:lvl6pPr marL="25146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6pPr>
            <a:lvl7pPr marL="29718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7pPr>
            <a:lvl8pPr marL="34290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8pPr>
            <a:lvl9pPr marL="38862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9pPr>
          </a:lstStyle>
          <a:p>
            <a:pPr eaLnBrk="1" hangingPunct="1">
              <a:spcBef>
                <a:spcPct val="0"/>
              </a:spcBef>
              <a:buClrTx/>
              <a:buSzTx/>
              <a:buFontTx/>
              <a:buNone/>
            </a:pPr>
            <a:r>
              <a:rPr lang="en-US" altLang="en-US" sz="1800">
                <a:solidFill>
                  <a:srgbClr val="FFFFFF"/>
                </a:solidFill>
              </a:rPr>
              <a:t>Life Sciences</a:t>
            </a:r>
          </a:p>
        </p:txBody>
      </p:sp>
      <p:sp>
        <p:nvSpPr>
          <p:cNvPr id="24" name="Rectangle 18"/>
          <p:cNvSpPr>
            <a:spLocks/>
          </p:cNvSpPr>
          <p:nvPr/>
        </p:nvSpPr>
        <p:spPr bwMode="auto">
          <a:xfrm>
            <a:off x="5621610" y="2865351"/>
            <a:ext cx="367665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spcBef>
                <a:spcPts val="1800"/>
              </a:spcBef>
              <a:buClr>
                <a:srgbClr val="5F7BAE"/>
              </a:buClr>
              <a:buSzPct val="150000"/>
              <a:buFont typeface="Lucida Grande" charset="0"/>
              <a:buChar char="•"/>
              <a:tabLst>
                <a:tab pos="1066800" algn="l"/>
              </a:tabLst>
              <a:defRPr sz="3600">
                <a:solidFill>
                  <a:schemeClr val="tx1"/>
                </a:solidFill>
                <a:latin typeface="Gill Sans" charset="0"/>
                <a:ea typeface="ヒラギノ角ゴ Pro W3" charset="-128"/>
                <a:sym typeface="Gill Sans" charset="0"/>
              </a:defRPr>
            </a:lvl1pPr>
            <a:lvl2pPr marL="742950" indent="-285750">
              <a:spcBef>
                <a:spcPts val="1800"/>
              </a:spcBef>
              <a:buSzPct val="150000"/>
              <a:buFont typeface="Lucida Grande" charset="0"/>
              <a:buChar char="•"/>
              <a:tabLst>
                <a:tab pos="1066800" algn="l"/>
              </a:tabLst>
              <a:defRPr sz="3200">
                <a:solidFill>
                  <a:schemeClr val="tx1"/>
                </a:solidFill>
                <a:latin typeface="Gill Sans" charset="0"/>
                <a:ea typeface="ヒラギノ角ゴ Pro W3" charset="-128"/>
                <a:sym typeface="Gill Sans" charset="0"/>
              </a:defRPr>
            </a:lvl2pPr>
            <a:lvl3pPr marL="1143000" indent="-228600">
              <a:spcBef>
                <a:spcPts val="1800"/>
              </a:spcBef>
              <a:buSzPct val="150000"/>
              <a:buFont typeface="Lucida Grande" charset="0"/>
              <a:buChar char="•"/>
              <a:tabLst>
                <a:tab pos="1066800" algn="l"/>
              </a:tabLst>
              <a:defRPr sz="2800">
                <a:solidFill>
                  <a:schemeClr val="tx1"/>
                </a:solidFill>
                <a:latin typeface="Gill Sans" charset="0"/>
                <a:ea typeface="ヒラギノ角ゴ Pro W3" charset="-128"/>
                <a:sym typeface="Gill Sans" charset="0"/>
              </a:defRPr>
            </a:lvl3pPr>
            <a:lvl4pPr marL="1600200" indent="-228600">
              <a:spcBef>
                <a:spcPts val="1800"/>
              </a:spcBef>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4pPr>
            <a:lvl5pPr marL="2057400" indent="-228600">
              <a:spcBef>
                <a:spcPts val="1800"/>
              </a:spcBef>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5pPr>
            <a:lvl6pPr marL="25146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6pPr>
            <a:lvl7pPr marL="29718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7pPr>
            <a:lvl8pPr marL="34290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8pPr>
            <a:lvl9pPr marL="38862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9pPr>
          </a:lstStyle>
          <a:p>
            <a:pPr eaLnBrk="1" hangingPunct="1">
              <a:spcBef>
                <a:spcPct val="0"/>
              </a:spcBef>
              <a:buClrTx/>
              <a:buSzTx/>
              <a:buFontTx/>
              <a:buNone/>
            </a:pPr>
            <a:r>
              <a:rPr lang="en-US" altLang="en-US" sz="1800">
                <a:solidFill>
                  <a:srgbClr val="FFFFFF"/>
                </a:solidFill>
              </a:rPr>
              <a:t>Support features necessary for population genetics studies.</a:t>
            </a:r>
          </a:p>
        </p:txBody>
      </p:sp>
      <p:sp>
        <p:nvSpPr>
          <p:cNvPr id="25" name="Rectangle 19"/>
          <p:cNvSpPr>
            <a:spLocks/>
          </p:cNvSpPr>
          <p:nvPr/>
        </p:nvSpPr>
        <p:spPr bwMode="auto">
          <a:xfrm>
            <a:off x="5726386" y="4617951"/>
            <a:ext cx="3495675"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spcBef>
                <a:spcPts val="1800"/>
              </a:spcBef>
              <a:buClr>
                <a:srgbClr val="5F7BAE"/>
              </a:buClr>
              <a:buSzPct val="150000"/>
              <a:buFont typeface="Lucida Grande" charset="0"/>
              <a:buChar char="•"/>
              <a:tabLst>
                <a:tab pos="1066800" algn="l"/>
              </a:tabLst>
              <a:defRPr sz="3600">
                <a:solidFill>
                  <a:schemeClr val="tx1"/>
                </a:solidFill>
                <a:latin typeface="Gill Sans" charset="0"/>
                <a:ea typeface="ヒラギノ角ゴ Pro W3" charset="-128"/>
                <a:sym typeface="Gill Sans" charset="0"/>
              </a:defRPr>
            </a:lvl1pPr>
            <a:lvl2pPr marL="742950" indent="-285750">
              <a:spcBef>
                <a:spcPts val="1800"/>
              </a:spcBef>
              <a:buSzPct val="150000"/>
              <a:buFont typeface="Lucida Grande" charset="0"/>
              <a:buChar char="•"/>
              <a:tabLst>
                <a:tab pos="1066800" algn="l"/>
              </a:tabLst>
              <a:defRPr sz="3200">
                <a:solidFill>
                  <a:schemeClr val="tx1"/>
                </a:solidFill>
                <a:latin typeface="Gill Sans" charset="0"/>
                <a:ea typeface="ヒラギノ角ゴ Pro W3" charset="-128"/>
                <a:sym typeface="Gill Sans" charset="0"/>
              </a:defRPr>
            </a:lvl2pPr>
            <a:lvl3pPr marL="1143000" indent="-228600">
              <a:spcBef>
                <a:spcPts val="1800"/>
              </a:spcBef>
              <a:buSzPct val="150000"/>
              <a:buFont typeface="Lucida Grande" charset="0"/>
              <a:buChar char="•"/>
              <a:tabLst>
                <a:tab pos="1066800" algn="l"/>
              </a:tabLst>
              <a:defRPr sz="2800">
                <a:solidFill>
                  <a:schemeClr val="tx1"/>
                </a:solidFill>
                <a:latin typeface="Gill Sans" charset="0"/>
                <a:ea typeface="ヒラギノ角ゴ Pro W3" charset="-128"/>
                <a:sym typeface="Gill Sans" charset="0"/>
              </a:defRPr>
            </a:lvl3pPr>
            <a:lvl4pPr marL="1600200" indent="-228600">
              <a:spcBef>
                <a:spcPts val="1800"/>
              </a:spcBef>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4pPr>
            <a:lvl5pPr marL="2057400" indent="-228600">
              <a:spcBef>
                <a:spcPts val="1800"/>
              </a:spcBef>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5pPr>
            <a:lvl6pPr marL="25146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6pPr>
            <a:lvl7pPr marL="29718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7pPr>
            <a:lvl8pPr marL="34290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8pPr>
            <a:lvl9pPr marL="38862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9pPr>
          </a:lstStyle>
          <a:p>
            <a:pPr eaLnBrk="1" hangingPunct="1">
              <a:spcBef>
                <a:spcPct val="0"/>
              </a:spcBef>
              <a:buClrTx/>
              <a:buSzTx/>
              <a:buFontTx/>
              <a:buNone/>
            </a:pPr>
            <a:r>
              <a:rPr lang="en-US" altLang="en-US" sz="1800">
                <a:solidFill>
                  <a:srgbClr val="FFFFFF"/>
                </a:solidFill>
              </a:rPr>
              <a:t>Support more technical indicators than company ABC with real-time, streaming data.</a:t>
            </a:r>
          </a:p>
        </p:txBody>
      </p:sp>
      <p:sp>
        <p:nvSpPr>
          <p:cNvPr id="26" name="Rectangle 20"/>
          <p:cNvSpPr>
            <a:spLocks/>
          </p:cNvSpPr>
          <p:nvPr/>
        </p:nvSpPr>
        <p:spPr bwMode="auto">
          <a:xfrm>
            <a:off x="2325961" y="3627351"/>
            <a:ext cx="3495675"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lvl1pPr>
              <a:spcBef>
                <a:spcPts val="1800"/>
              </a:spcBef>
              <a:buClr>
                <a:srgbClr val="5F7BAE"/>
              </a:buClr>
              <a:buSzPct val="150000"/>
              <a:buFont typeface="Lucida Grande" charset="0"/>
              <a:buChar char="•"/>
              <a:tabLst>
                <a:tab pos="1066800" algn="l"/>
              </a:tabLst>
              <a:defRPr sz="3600">
                <a:solidFill>
                  <a:schemeClr val="tx1"/>
                </a:solidFill>
                <a:latin typeface="Gill Sans" charset="0"/>
                <a:ea typeface="ヒラギノ角ゴ Pro W3" charset="-128"/>
                <a:sym typeface="Gill Sans" charset="0"/>
              </a:defRPr>
            </a:lvl1pPr>
            <a:lvl2pPr marL="742950" indent="-285750">
              <a:spcBef>
                <a:spcPts val="1800"/>
              </a:spcBef>
              <a:buSzPct val="150000"/>
              <a:buFont typeface="Lucida Grande" charset="0"/>
              <a:buChar char="•"/>
              <a:tabLst>
                <a:tab pos="1066800" algn="l"/>
              </a:tabLst>
              <a:defRPr sz="3200">
                <a:solidFill>
                  <a:schemeClr val="tx1"/>
                </a:solidFill>
                <a:latin typeface="Gill Sans" charset="0"/>
                <a:ea typeface="ヒラギノ角ゴ Pro W3" charset="-128"/>
                <a:sym typeface="Gill Sans" charset="0"/>
              </a:defRPr>
            </a:lvl2pPr>
            <a:lvl3pPr marL="1143000" indent="-228600">
              <a:spcBef>
                <a:spcPts val="1800"/>
              </a:spcBef>
              <a:buSzPct val="150000"/>
              <a:buFont typeface="Lucida Grande" charset="0"/>
              <a:buChar char="•"/>
              <a:tabLst>
                <a:tab pos="1066800" algn="l"/>
              </a:tabLst>
              <a:defRPr sz="2800">
                <a:solidFill>
                  <a:schemeClr val="tx1"/>
                </a:solidFill>
                <a:latin typeface="Gill Sans" charset="0"/>
                <a:ea typeface="ヒラギノ角ゴ Pro W3" charset="-128"/>
                <a:sym typeface="Gill Sans" charset="0"/>
              </a:defRPr>
            </a:lvl3pPr>
            <a:lvl4pPr marL="1600200" indent="-228600">
              <a:spcBef>
                <a:spcPts val="1800"/>
              </a:spcBef>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4pPr>
            <a:lvl5pPr marL="2057400" indent="-228600">
              <a:spcBef>
                <a:spcPts val="1800"/>
              </a:spcBef>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5pPr>
            <a:lvl6pPr marL="25146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6pPr>
            <a:lvl7pPr marL="29718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7pPr>
            <a:lvl8pPr marL="34290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8pPr>
            <a:lvl9pPr marL="3886200" indent="-228600" eaLnBrk="0" fontAlgn="base" hangingPunct="0">
              <a:spcBef>
                <a:spcPts val="1800"/>
              </a:spcBef>
              <a:spcAft>
                <a:spcPct val="0"/>
              </a:spcAft>
              <a:buSzPct val="150000"/>
              <a:buFont typeface="Lucida Grande" charset="0"/>
              <a:buChar char="•"/>
              <a:tabLst>
                <a:tab pos="1066800" algn="l"/>
              </a:tabLst>
              <a:defRPr sz="2400">
                <a:solidFill>
                  <a:schemeClr val="tx1"/>
                </a:solidFill>
                <a:latin typeface="Gill Sans" charset="0"/>
                <a:ea typeface="ヒラギノ角ゴ Pro W3" charset="-128"/>
                <a:sym typeface="Gill Sans" charset="0"/>
              </a:defRPr>
            </a:lvl9pPr>
          </a:lstStyle>
          <a:p>
            <a:pPr eaLnBrk="1" hangingPunct="1">
              <a:spcBef>
                <a:spcPct val="0"/>
              </a:spcBef>
              <a:buClrTx/>
              <a:buSzTx/>
              <a:buFontTx/>
              <a:buNone/>
            </a:pPr>
            <a:r>
              <a:rPr lang="en-US" altLang="en-US" sz="1800">
                <a:solidFill>
                  <a:srgbClr val="FFFFFF"/>
                </a:solidFill>
              </a:rPr>
              <a:t>Make the application run on SQL Server in addition to Oracle.</a:t>
            </a:r>
          </a:p>
        </p:txBody>
      </p:sp>
    </p:spTree>
    <p:extLst>
      <p:ext uri="{BB962C8B-B14F-4D97-AF65-F5344CB8AC3E}">
        <p14:creationId xmlns:p14="http://schemas.microsoft.com/office/powerpoint/2010/main" val="51427096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4386"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08711" y="2343151"/>
            <a:ext cx="6173390" cy="353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44387" name="TextBox 4"/>
          <p:cNvSpPr txBox="1">
            <a:spLocks noChangeArrowheads="1"/>
          </p:cNvSpPr>
          <p:nvPr/>
        </p:nvSpPr>
        <p:spPr bwMode="auto">
          <a:xfrm>
            <a:off x="3467100" y="1894286"/>
            <a:ext cx="5257800" cy="323165"/>
          </a:xfrm>
          <a:prstGeom prst="rect">
            <a:avLst/>
          </a:prstGeom>
          <a:solidFill>
            <a:schemeClr val="bg1"/>
          </a:solidFill>
          <a:ln>
            <a:noFill/>
          </a:ln>
          <a:extLst/>
        </p:spPr>
        <p:txBody>
          <a:bodyPr>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en-US" sz="1500" i="1" dirty="0">
                <a:latin typeface="Delicious" charset="0"/>
              </a:rPr>
              <a:t>Progress should be visible to all</a:t>
            </a:r>
          </a:p>
        </p:txBody>
      </p:sp>
      <p:sp>
        <p:nvSpPr>
          <p:cNvPr id="144388" name="Title 1"/>
          <p:cNvSpPr txBox="1">
            <a:spLocks/>
          </p:cNvSpPr>
          <p:nvPr/>
        </p:nvSpPr>
        <p:spPr bwMode="auto">
          <a:xfrm>
            <a:off x="3256360" y="1052514"/>
            <a:ext cx="6172200" cy="782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100" dirty="0">
                <a:solidFill>
                  <a:srgbClr val="461E64"/>
                </a:solidFill>
              </a:rPr>
              <a:t>Task Board</a:t>
            </a:r>
          </a:p>
        </p:txBody>
      </p:sp>
      <p:cxnSp>
        <p:nvCxnSpPr>
          <p:cNvPr id="7" name="Straight Connector 6"/>
          <p:cNvCxnSpPr/>
          <p:nvPr/>
        </p:nvCxnSpPr>
        <p:spPr>
          <a:xfrm>
            <a:off x="3256362" y="1659732"/>
            <a:ext cx="5464969" cy="1191"/>
          </a:xfrm>
          <a:prstGeom prst="line">
            <a:avLst/>
          </a:prstGeom>
          <a:ln>
            <a:solidFill>
              <a:srgbClr val="601D6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962828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6434" name="Picture 6"/>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01604" y="2289573"/>
            <a:ext cx="5594747" cy="3482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46435" name="TextBox 4"/>
          <p:cNvSpPr txBox="1">
            <a:spLocks noChangeArrowheads="1"/>
          </p:cNvSpPr>
          <p:nvPr/>
        </p:nvSpPr>
        <p:spPr bwMode="auto">
          <a:xfrm>
            <a:off x="3467100" y="1894286"/>
            <a:ext cx="5257800" cy="323165"/>
          </a:xfrm>
          <a:prstGeom prst="rect">
            <a:avLst/>
          </a:prstGeom>
          <a:solidFill>
            <a:schemeClr val="bg1"/>
          </a:solidFill>
          <a:ln>
            <a:noFill/>
          </a:ln>
          <a:extLst/>
        </p:spPr>
        <p:txBody>
          <a:bodyPr>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en-US" sz="1500" i="1" dirty="0">
                <a:latin typeface="Delicious" charset="0"/>
              </a:rPr>
              <a:t>Tells Project health &amp; likely date of completion</a:t>
            </a:r>
          </a:p>
        </p:txBody>
      </p:sp>
      <p:sp>
        <p:nvSpPr>
          <p:cNvPr id="146436" name="Title 1"/>
          <p:cNvSpPr txBox="1">
            <a:spLocks/>
          </p:cNvSpPr>
          <p:nvPr/>
        </p:nvSpPr>
        <p:spPr bwMode="auto">
          <a:xfrm>
            <a:off x="3256360" y="1052514"/>
            <a:ext cx="6172200" cy="782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fr-FR"/>
            </a:defPPr>
            <a:lvl1pPr>
              <a:defRPr sz="2100">
                <a:solidFill>
                  <a:srgbClr val="461E64"/>
                </a:solidFill>
                <a:latin typeface="Arial" pitchFamily="34" charset="0"/>
                <a:ea typeface="ＭＳ Ｐゴシック" pitchFamily="34" charset="-128"/>
              </a:defRPr>
            </a:lvl1pPr>
            <a:lvl2pPr marL="742950" indent="-285750" eaLnBrk="0" hangingPunct="0">
              <a:defRPr>
                <a:latin typeface="Arial" pitchFamily="34" charset="0"/>
                <a:ea typeface="ＭＳ Ｐゴシック" pitchFamily="34" charset="-128"/>
              </a:defRPr>
            </a:lvl2pPr>
            <a:lvl3pPr marL="1143000" indent="-228600" eaLnBrk="0" hangingPunct="0">
              <a:defRPr>
                <a:latin typeface="Arial" pitchFamily="34" charset="0"/>
                <a:ea typeface="ＭＳ Ｐゴシック" pitchFamily="34" charset="-128"/>
              </a:defRPr>
            </a:lvl3pPr>
            <a:lvl4pPr marL="1600200" indent="-228600" eaLnBrk="0" hangingPunct="0">
              <a:defRPr>
                <a:latin typeface="Arial" pitchFamily="34" charset="0"/>
                <a:ea typeface="ＭＳ Ｐゴシック" pitchFamily="34" charset="-128"/>
              </a:defRPr>
            </a:lvl4pPr>
            <a:lvl5pPr marL="2057400" indent="-228600" eaLnBrk="0" hangingPunct="0">
              <a:defRPr>
                <a:latin typeface="Arial" pitchFamily="34" charset="0"/>
                <a:ea typeface="ＭＳ Ｐゴシック" pitchFamily="34" charset="-128"/>
              </a:defRPr>
            </a:lvl5pPr>
            <a:lvl6pPr marL="2514600" indent="-228600" eaLnBrk="0" fontAlgn="base" hangingPunct="0">
              <a:spcBef>
                <a:spcPct val="0"/>
              </a:spcBef>
              <a:spcAft>
                <a:spcPct val="0"/>
              </a:spcAft>
              <a:defRPr>
                <a:latin typeface="Arial" pitchFamily="34" charset="0"/>
                <a:ea typeface="ＭＳ Ｐゴシック" pitchFamily="34" charset="-128"/>
              </a:defRPr>
            </a:lvl6pPr>
            <a:lvl7pPr marL="2971800" indent="-228600" eaLnBrk="0" fontAlgn="base" hangingPunct="0">
              <a:spcBef>
                <a:spcPct val="0"/>
              </a:spcBef>
              <a:spcAft>
                <a:spcPct val="0"/>
              </a:spcAft>
              <a:defRPr>
                <a:latin typeface="Arial" pitchFamily="34" charset="0"/>
                <a:ea typeface="ＭＳ Ｐゴシック" pitchFamily="34" charset="-128"/>
              </a:defRPr>
            </a:lvl7pPr>
            <a:lvl8pPr marL="3429000" indent="-228600" eaLnBrk="0" fontAlgn="base" hangingPunct="0">
              <a:spcBef>
                <a:spcPct val="0"/>
              </a:spcBef>
              <a:spcAft>
                <a:spcPct val="0"/>
              </a:spcAft>
              <a:defRPr>
                <a:latin typeface="Arial" pitchFamily="34" charset="0"/>
                <a:ea typeface="ＭＳ Ｐゴシック" pitchFamily="34" charset="-128"/>
              </a:defRPr>
            </a:lvl8pPr>
            <a:lvl9pPr marL="3886200" indent="-228600" eaLnBrk="0" fontAlgn="base" hangingPunct="0">
              <a:spcBef>
                <a:spcPct val="0"/>
              </a:spcBef>
              <a:spcAft>
                <a:spcPct val="0"/>
              </a:spcAft>
              <a:defRPr>
                <a:latin typeface="Arial" pitchFamily="34" charset="0"/>
                <a:ea typeface="ＭＳ Ｐゴシック" pitchFamily="34" charset="-128"/>
              </a:defRPr>
            </a:lvl9pPr>
          </a:lstStyle>
          <a:p>
            <a:r>
              <a:rPr lang="en-US" dirty="0"/>
              <a:t>Product burndown chart</a:t>
            </a:r>
          </a:p>
        </p:txBody>
      </p:sp>
      <p:cxnSp>
        <p:nvCxnSpPr>
          <p:cNvPr id="7" name="Straight Connector 6"/>
          <p:cNvCxnSpPr/>
          <p:nvPr/>
        </p:nvCxnSpPr>
        <p:spPr>
          <a:xfrm>
            <a:off x="3256362" y="1659732"/>
            <a:ext cx="5464969" cy="1191"/>
          </a:xfrm>
          <a:prstGeom prst="line">
            <a:avLst/>
          </a:prstGeom>
          <a:ln>
            <a:solidFill>
              <a:srgbClr val="601D6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84066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9536" y="548680"/>
            <a:ext cx="7633418" cy="5641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2481484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7458" name="Picture 2" descr="http://merc.tv/img/scr/qc/burndownchar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52750" y="2057400"/>
            <a:ext cx="6400800" cy="331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459" name="Title 1"/>
          <p:cNvSpPr txBox="1">
            <a:spLocks/>
          </p:cNvSpPr>
          <p:nvPr/>
        </p:nvSpPr>
        <p:spPr bwMode="auto">
          <a:xfrm>
            <a:off x="3256360" y="1052514"/>
            <a:ext cx="6172200" cy="782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100" dirty="0">
                <a:solidFill>
                  <a:srgbClr val="461E64"/>
                </a:solidFill>
              </a:rPr>
              <a:t>Story Acceptance</a:t>
            </a:r>
          </a:p>
        </p:txBody>
      </p:sp>
      <p:cxnSp>
        <p:nvCxnSpPr>
          <p:cNvPr id="7" name="Straight Connector 6"/>
          <p:cNvCxnSpPr/>
          <p:nvPr/>
        </p:nvCxnSpPr>
        <p:spPr>
          <a:xfrm>
            <a:off x="3256362" y="1659732"/>
            <a:ext cx="5464969" cy="1191"/>
          </a:xfrm>
          <a:prstGeom prst="line">
            <a:avLst/>
          </a:prstGeom>
          <a:ln>
            <a:solidFill>
              <a:srgbClr val="601D6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76350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71</a:t>
            </a:fld>
            <a:endParaRPr lang="en-US" dirty="0"/>
          </a:p>
        </p:txBody>
      </p:sp>
      <p:sp>
        <p:nvSpPr>
          <p:cNvPr id="6" name="Title 5"/>
          <p:cNvSpPr>
            <a:spLocks noGrp="1"/>
          </p:cNvSpPr>
          <p:nvPr>
            <p:ph type="title"/>
          </p:nvPr>
        </p:nvSpPr>
        <p:spPr>
          <a:xfrm>
            <a:off x="1527402" y="524283"/>
            <a:ext cx="8208169" cy="249008"/>
          </a:xfrm>
        </p:spPr>
        <p:txBody>
          <a:bodyPr/>
          <a:lstStyle/>
          <a:p>
            <a:r>
              <a:rPr lang="en-US" b="0" dirty="0"/>
              <a:t>Cumulative Release Burn Up Chart </a:t>
            </a:r>
          </a:p>
        </p:txBody>
      </p:sp>
      <p:sp>
        <p:nvSpPr>
          <p:cNvPr id="7" name="TextBox 6"/>
          <p:cNvSpPr txBox="1"/>
          <p:nvPr/>
        </p:nvSpPr>
        <p:spPr bwMode="gray">
          <a:xfrm>
            <a:off x="8580276" y="1862826"/>
            <a:ext cx="3132348" cy="2975173"/>
          </a:xfrm>
          <a:prstGeom prst="rect">
            <a:avLst/>
          </a:prstGeom>
          <a:noFill/>
        </p:spPr>
        <p:txBody>
          <a:bodyPr wrap="square" lIns="0" tIns="0" rIns="0" bIns="0" rtlCol="0">
            <a:spAutoFit/>
          </a:bodyPr>
          <a:lstStyle/>
          <a:p>
            <a:pPr defTabSz="685800">
              <a:spcBef>
                <a:spcPts val="225"/>
              </a:spcBef>
              <a:spcAft>
                <a:spcPts val="225"/>
              </a:spcAft>
              <a:buClr>
                <a:schemeClr val="accent1"/>
              </a:buClr>
            </a:pPr>
            <a:r>
              <a:rPr lang="en-US" sz="1200" dirty="0">
                <a:solidFill>
                  <a:srgbClr val="000000"/>
                </a:solidFill>
                <a:latin typeface="Gill Sans"/>
                <a:ea typeface="Verdana" panose="020B0604030504040204" pitchFamily="34" charset="0"/>
                <a:cs typeface="Verdana" panose="020B0604030504040204" pitchFamily="34" charset="0"/>
              </a:rPr>
              <a:t>The project will be finished when the complete area merges with the not started area.</a:t>
            </a:r>
          </a:p>
          <a:p>
            <a:pPr defTabSz="685800">
              <a:spcBef>
                <a:spcPts val="225"/>
              </a:spcBef>
              <a:spcAft>
                <a:spcPts val="225"/>
              </a:spcAft>
              <a:buClr>
                <a:schemeClr val="accent1"/>
              </a:buClr>
            </a:pPr>
            <a:endParaRPr lang="en-US" sz="1200" dirty="0">
              <a:solidFill>
                <a:srgbClr val="000000"/>
              </a:solidFill>
              <a:latin typeface="Gill Sans"/>
              <a:ea typeface="Verdana" panose="020B0604030504040204" pitchFamily="34" charset="0"/>
              <a:cs typeface="Verdana" panose="020B0604030504040204" pitchFamily="34" charset="0"/>
            </a:endParaRPr>
          </a:p>
          <a:p>
            <a:pPr defTabSz="685800">
              <a:spcBef>
                <a:spcPts val="225"/>
              </a:spcBef>
              <a:spcAft>
                <a:spcPts val="225"/>
              </a:spcAft>
              <a:buClr>
                <a:schemeClr val="accent1"/>
              </a:buClr>
            </a:pPr>
            <a:r>
              <a:rPr lang="en-US" sz="1200" dirty="0">
                <a:solidFill>
                  <a:srgbClr val="000000"/>
                </a:solidFill>
                <a:latin typeface="Gill Sans"/>
                <a:ea typeface="Verdana" panose="020B0604030504040204" pitchFamily="34" charset="0"/>
                <a:cs typeface="Verdana" panose="020B0604030504040204" pitchFamily="34" charset="0"/>
              </a:rPr>
              <a:t>The vertical height of each area shows how much work is currently in that stage.  A vertical widening of a particular area shows a bottleneck in your development process that should be investigated in case corrective action is required.</a:t>
            </a:r>
          </a:p>
          <a:p>
            <a:pPr defTabSz="685800">
              <a:spcBef>
                <a:spcPts val="225"/>
              </a:spcBef>
              <a:spcAft>
                <a:spcPts val="225"/>
              </a:spcAft>
              <a:buClr>
                <a:schemeClr val="accent1"/>
              </a:buClr>
            </a:pPr>
            <a:endParaRPr lang="en-US" sz="1200" dirty="0">
              <a:solidFill>
                <a:srgbClr val="000000"/>
              </a:solidFill>
              <a:latin typeface="Gill Sans"/>
              <a:ea typeface="Verdana" panose="020B0604030504040204" pitchFamily="34" charset="0"/>
              <a:cs typeface="Verdana" panose="020B0604030504040204" pitchFamily="34" charset="0"/>
            </a:endParaRPr>
          </a:p>
          <a:p>
            <a:pPr defTabSz="685800">
              <a:spcBef>
                <a:spcPts val="225"/>
              </a:spcBef>
              <a:spcAft>
                <a:spcPts val="225"/>
              </a:spcAft>
              <a:buClr>
                <a:schemeClr val="accent1"/>
              </a:buClr>
            </a:pPr>
            <a:r>
              <a:rPr lang="en-US" sz="1200" dirty="0">
                <a:solidFill>
                  <a:srgbClr val="000000"/>
                </a:solidFill>
                <a:latin typeface="Gill Sans"/>
                <a:ea typeface="Verdana" panose="020B0604030504040204" pitchFamily="34" charset="0"/>
                <a:cs typeface="Verdana" panose="020B0604030504040204" pitchFamily="34" charset="0"/>
              </a:rPr>
              <a:t>The horizontal distance from the not started line to the completed line is the projects lead time.  The lead time is the average time from a feature request to a completed implementation.</a:t>
            </a:r>
          </a:p>
        </p:txBody>
      </p:sp>
      <p:pic>
        <p:nvPicPr>
          <p:cNvPr id="4" name="Picture 2" descr="Related i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7819" y="1047604"/>
            <a:ext cx="7111192" cy="53333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415478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3"/>
          </p:nvPr>
        </p:nvSpPr>
        <p:spPr/>
        <p:txBody>
          <a:bodyPr/>
          <a:lstStyle/>
          <a:p>
            <a:endParaRPr lang="fr-FR"/>
          </a:p>
        </p:txBody>
      </p:sp>
      <p:sp>
        <p:nvSpPr>
          <p:cNvPr id="3" name="Titre 2"/>
          <p:cNvSpPr>
            <a:spLocks noGrp="1"/>
          </p:cNvSpPr>
          <p:nvPr>
            <p:ph type="title"/>
          </p:nvPr>
        </p:nvSpPr>
        <p:spPr>
          <a:xfrm>
            <a:off x="7296000" y="1772816"/>
            <a:ext cx="4272112" cy="488201"/>
          </a:xfrm>
        </p:spPr>
        <p:txBody>
          <a:bodyPr/>
          <a:lstStyle/>
          <a:p>
            <a:r>
              <a:rPr lang="fr-FR" dirty="0"/>
              <a:t>Estimation</a:t>
            </a:r>
          </a:p>
        </p:txBody>
      </p:sp>
    </p:spTree>
    <p:extLst>
      <p:ext uri="{BB962C8B-B14F-4D97-AF65-F5344CB8AC3E}">
        <p14:creationId xmlns:p14="http://schemas.microsoft.com/office/powerpoint/2010/main" val="325229174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Title 1"/>
          <p:cNvSpPr>
            <a:spLocks noGrp="1"/>
          </p:cNvSpPr>
          <p:nvPr>
            <p:ph type="title"/>
          </p:nvPr>
        </p:nvSpPr>
        <p:spPr>
          <a:xfrm>
            <a:off x="2495600" y="392562"/>
            <a:ext cx="10972800" cy="249008"/>
          </a:xfrm>
        </p:spPr>
        <p:txBody>
          <a:bodyPr/>
          <a:lstStyle/>
          <a:p>
            <a:r>
              <a:rPr lang="en-US" b="0" dirty="0">
                <a:ea typeface="ＭＳ Ｐゴシック" pitchFamily="34" charset="-128"/>
              </a:rPr>
              <a:t>Estimation In Ideal Days</a:t>
            </a:r>
          </a:p>
        </p:txBody>
      </p:sp>
      <p:sp>
        <p:nvSpPr>
          <p:cNvPr id="108547" name="Content Placeholder 2"/>
          <p:cNvSpPr>
            <a:spLocks noGrp="1"/>
          </p:cNvSpPr>
          <p:nvPr>
            <p:ph idx="1"/>
          </p:nvPr>
        </p:nvSpPr>
        <p:spPr>
          <a:xfrm>
            <a:off x="839416" y="1600203"/>
            <a:ext cx="10297144" cy="4525963"/>
          </a:xfrm>
        </p:spPr>
        <p:txBody>
          <a:bodyPr/>
          <a:lstStyle/>
          <a:p>
            <a:endParaRPr lang="en-US" dirty="0">
              <a:ea typeface="ＭＳ Ｐゴシック" pitchFamily="34" charset="-128"/>
            </a:endParaRPr>
          </a:p>
          <a:p>
            <a:r>
              <a:rPr lang="en-US" dirty="0">
                <a:solidFill>
                  <a:srgbClr val="7030A0"/>
                </a:solidFill>
                <a:ea typeface="ＭＳ Ｐゴシック" pitchFamily="34" charset="-128"/>
              </a:rPr>
              <a:t>        			Ideal days           						Actual Days  </a:t>
            </a:r>
          </a:p>
        </p:txBody>
      </p:sp>
      <p:pic>
        <p:nvPicPr>
          <p:cNvPr id="10854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03912" y="1556792"/>
            <a:ext cx="1117403" cy="9009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854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92144" y="2924944"/>
            <a:ext cx="3097213" cy="21256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855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39616" y="2924944"/>
            <a:ext cx="1905000" cy="228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0179880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itle 1"/>
          <p:cNvSpPr>
            <a:spLocks noGrp="1"/>
          </p:cNvSpPr>
          <p:nvPr>
            <p:ph type="title"/>
          </p:nvPr>
        </p:nvSpPr>
        <p:spPr>
          <a:xfrm>
            <a:off x="2011363" y="332656"/>
            <a:ext cx="10972800" cy="249008"/>
          </a:xfrm>
        </p:spPr>
        <p:txBody>
          <a:bodyPr/>
          <a:lstStyle/>
          <a:p>
            <a:r>
              <a:rPr lang="en-US" b="0" dirty="0">
                <a:ea typeface="ＭＳ Ｐゴシック" pitchFamily="34" charset="-128"/>
              </a:rPr>
              <a:t>Agile Estimation</a:t>
            </a:r>
          </a:p>
        </p:txBody>
      </p:sp>
      <p:sp>
        <p:nvSpPr>
          <p:cNvPr id="3" name="Content Placeholder 2"/>
          <p:cNvSpPr>
            <a:spLocks noGrp="1"/>
          </p:cNvSpPr>
          <p:nvPr>
            <p:ph idx="1"/>
          </p:nvPr>
        </p:nvSpPr>
        <p:spPr>
          <a:xfrm>
            <a:off x="1981200" y="1817689"/>
            <a:ext cx="8229600" cy="4352925"/>
          </a:xfrm>
        </p:spPr>
        <p:txBody>
          <a:bodyPr/>
          <a:lstStyle/>
          <a:p>
            <a:pPr>
              <a:defRPr/>
            </a:pPr>
            <a:endParaRPr lang="en-US" dirty="0">
              <a:ea typeface="+mn-ea"/>
            </a:endParaRPr>
          </a:p>
          <a:p>
            <a:pPr>
              <a:defRPr/>
            </a:pPr>
            <a:r>
              <a:rPr lang="en-US" dirty="0">
                <a:solidFill>
                  <a:schemeClr val="accent2">
                    <a:lumMod val="75000"/>
                  </a:schemeClr>
                </a:solidFill>
                <a:ea typeface="+mn-ea"/>
              </a:rPr>
              <a:t>      Estimation </a:t>
            </a:r>
            <a:r>
              <a:rPr lang="en-US" dirty="0">
                <a:ea typeface="+mn-ea"/>
              </a:rPr>
              <a:t>                       						 </a:t>
            </a:r>
            <a:r>
              <a:rPr lang="en-US" dirty="0">
                <a:solidFill>
                  <a:schemeClr val="accent2">
                    <a:lumMod val="75000"/>
                  </a:schemeClr>
                </a:solidFill>
                <a:ea typeface="+mn-ea"/>
              </a:rPr>
              <a:t>Commitment</a:t>
            </a:r>
          </a:p>
        </p:txBody>
      </p:sp>
      <p:pic>
        <p:nvPicPr>
          <p:cNvPr id="9318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43872" y="1772816"/>
            <a:ext cx="1582342" cy="11539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3189"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9576" y="2708920"/>
            <a:ext cx="1924050" cy="2371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319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9858" y="2907327"/>
            <a:ext cx="2638425" cy="1733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0359188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211"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71464" y="1412776"/>
            <a:ext cx="5832475" cy="3671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3143251" y="188640"/>
            <a:ext cx="10972800" cy="249008"/>
          </a:xfrm>
        </p:spPr>
        <p:txBody>
          <a:bodyPr/>
          <a:lstStyle/>
          <a:p>
            <a:r>
              <a:rPr lang="en-US" b="0" dirty="0"/>
              <a:t>Relative Estimate</a:t>
            </a:r>
          </a:p>
        </p:txBody>
      </p:sp>
      <p:sp>
        <p:nvSpPr>
          <p:cNvPr id="3" name="TextBox 2"/>
          <p:cNvSpPr txBox="1"/>
          <p:nvPr/>
        </p:nvSpPr>
        <p:spPr bwMode="gray">
          <a:xfrm>
            <a:off x="8040216" y="1629045"/>
            <a:ext cx="3312368" cy="3239348"/>
          </a:xfrm>
          <a:prstGeom prst="rect">
            <a:avLst/>
          </a:prstGeom>
          <a:noFill/>
        </p:spPr>
        <p:txBody>
          <a:bodyPr wrap="square" lIns="0" tIns="0" rIns="0" bIns="0" rtlCol="0">
            <a:spAutoFit/>
          </a:bodyPr>
          <a:lstStyle/>
          <a:p>
            <a:r>
              <a:rPr lang="en-US" sz="1600" u="sng" dirty="0">
                <a:ea typeface="ＭＳ Ｐゴシック" pitchFamily="34" charset="-128"/>
              </a:rPr>
              <a:t>Methods to Derive Estimate</a:t>
            </a:r>
          </a:p>
          <a:p>
            <a:endParaRPr lang="en-US" sz="1600" dirty="0">
              <a:ea typeface="ＭＳ Ｐゴシック" pitchFamily="34" charset="-128"/>
            </a:endParaRPr>
          </a:p>
          <a:p>
            <a:endParaRPr lang="en-US" sz="1600" dirty="0">
              <a:ea typeface="ＭＳ Ｐゴシック" pitchFamily="34" charset="-128"/>
            </a:endParaRPr>
          </a:p>
          <a:p>
            <a:endParaRPr lang="en-US" sz="1600" dirty="0">
              <a:ea typeface="ＭＳ Ｐゴシック" pitchFamily="34" charset="-128"/>
            </a:endParaRPr>
          </a:p>
          <a:p>
            <a:endParaRPr lang="en-US" sz="1600" dirty="0">
              <a:ea typeface="ＭＳ Ｐゴシック" pitchFamily="34" charset="-128"/>
            </a:endParaRPr>
          </a:p>
          <a:p>
            <a:pPr marL="342900" indent="-342900">
              <a:buFont typeface="Arial" panose="020B0604020202020204" pitchFamily="34" charset="0"/>
              <a:buChar char="•"/>
            </a:pPr>
            <a:r>
              <a:rPr lang="en-US" sz="1600" dirty="0">
                <a:ea typeface="ＭＳ Ｐゴシック" pitchFamily="34" charset="-128"/>
              </a:rPr>
              <a:t>Expert Opinion</a:t>
            </a:r>
          </a:p>
          <a:p>
            <a:pPr marL="342900" indent="-342900">
              <a:buFont typeface="Arial" panose="020B0604020202020204" pitchFamily="34" charset="0"/>
              <a:buChar char="•"/>
            </a:pPr>
            <a:endParaRPr lang="en-US" sz="1600" dirty="0">
              <a:ea typeface="ＭＳ Ｐゴシック" pitchFamily="34" charset="-128"/>
            </a:endParaRPr>
          </a:p>
          <a:p>
            <a:pPr marL="342900" indent="-342900">
              <a:buFont typeface="Arial" panose="020B0604020202020204" pitchFamily="34" charset="0"/>
              <a:buChar char="•"/>
            </a:pPr>
            <a:r>
              <a:rPr lang="en-US" sz="1600" dirty="0">
                <a:ea typeface="ＭＳ Ｐゴシック" pitchFamily="34" charset="-128"/>
              </a:rPr>
              <a:t>Analogy</a:t>
            </a:r>
          </a:p>
          <a:p>
            <a:pPr marL="342900" indent="-342900">
              <a:buFont typeface="Arial" panose="020B0604020202020204" pitchFamily="34" charset="0"/>
              <a:buChar char="•"/>
            </a:pPr>
            <a:endParaRPr lang="en-US" sz="1600" dirty="0">
              <a:ea typeface="ＭＳ Ｐゴシック" pitchFamily="34" charset="-128"/>
            </a:endParaRPr>
          </a:p>
          <a:p>
            <a:pPr marL="342900" indent="-342900">
              <a:buFont typeface="Arial" panose="020B0604020202020204" pitchFamily="34" charset="0"/>
              <a:buChar char="•"/>
            </a:pPr>
            <a:r>
              <a:rPr lang="en-US" sz="1600" dirty="0">
                <a:ea typeface="ＭＳ Ｐゴシック" pitchFamily="34" charset="-128"/>
              </a:rPr>
              <a:t>Triangulation</a:t>
            </a:r>
          </a:p>
          <a:p>
            <a:pPr marL="342900" indent="-342900">
              <a:buFont typeface="Arial" panose="020B0604020202020204" pitchFamily="34" charset="0"/>
              <a:buChar char="•"/>
            </a:pPr>
            <a:endParaRPr lang="en-US" sz="1600" dirty="0">
              <a:ea typeface="ＭＳ Ｐゴシック" pitchFamily="34" charset="-128"/>
            </a:endParaRPr>
          </a:p>
          <a:p>
            <a:pPr marL="342900" indent="-342900">
              <a:buFont typeface="Arial" panose="020B0604020202020204" pitchFamily="34" charset="0"/>
              <a:buChar char="•"/>
            </a:pPr>
            <a:r>
              <a:rPr lang="en-US" sz="1600" dirty="0">
                <a:ea typeface="ＭＳ Ｐゴシック" pitchFamily="34" charset="-128"/>
              </a:rPr>
              <a:t>Disaggregation</a:t>
            </a:r>
          </a:p>
          <a:p>
            <a:pPr marR="0" algn="l" defTabSz="914400" rtl="0" eaLnBrk="1" fontAlgn="auto" latinLnBrk="0" hangingPunct="1">
              <a:lnSpc>
                <a:spcPct val="100000"/>
              </a:lnSpc>
              <a:spcBef>
                <a:spcPts val="300"/>
              </a:spcBef>
              <a:spcAft>
                <a:spcPts val="300"/>
              </a:spcAft>
              <a:buClr>
                <a:schemeClr val="accent1"/>
              </a:buClr>
              <a:buSzTx/>
              <a:tabLst/>
            </a:pPr>
            <a:endParaRPr kumimoji="0" lang="en-US" sz="1600" b="0" i="0" u="none" strike="noStrike" kern="1200" cap="none" spc="0" normalizeH="0" baseline="0" noProof="0" dirty="0" err="1">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35723877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Title 1"/>
          <p:cNvSpPr>
            <a:spLocks noGrp="1"/>
          </p:cNvSpPr>
          <p:nvPr>
            <p:ph type="title"/>
          </p:nvPr>
        </p:nvSpPr>
        <p:spPr>
          <a:xfrm>
            <a:off x="1991544" y="416170"/>
            <a:ext cx="8229600" cy="249008"/>
          </a:xfrm>
        </p:spPr>
        <p:txBody>
          <a:bodyPr/>
          <a:lstStyle/>
          <a:p>
            <a:r>
              <a:rPr lang="en-US" dirty="0">
                <a:ea typeface="ＭＳ Ｐゴシック" pitchFamily="34" charset="-128"/>
              </a:rPr>
              <a:t>Expert Opinion</a:t>
            </a:r>
          </a:p>
        </p:txBody>
      </p:sp>
      <p:pic>
        <p:nvPicPr>
          <p:cNvPr id="9625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7568" y="2924944"/>
            <a:ext cx="2089150" cy="14398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6260"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89537" y="1340768"/>
            <a:ext cx="2233613" cy="1354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6261"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67663" y="3000746"/>
            <a:ext cx="1878013" cy="13827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6262"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87888" y="4941168"/>
            <a:ext cx="2305050" cy="1171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4762448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Title 1"/>
          <p:cNvSpPr>
            <a:spLocks noGrp="1"/>
          </p:cNvSpPr>
          <p:nvPr>
            <p:ph type="title"/>
          </p:nvPr>
        </p:nvSpPr>
        <p:spPr>
          <a:xfrm>
            <a:off x="3287688" y="243007"/>
            <a:ext cx="10972800" cy="249008"/>
          </a:xfrm>
        </p:spPr>
        <p:txBody>
          <a:bodyPr/>
          <a:lstStyle/>
          <a:p>
            <a:r>
              <a:rPr lang="en-US" b="0" dirty="0">
                <a:ea typeface="ＭＳ Ｐゴシック" pitchFamily="34" charset="-128"/>
              </a:rPr>
              <a:t>Analogy</a:t>
            </a:r>
          </a:p>
        </p:txBody>
      </p:sp>
      <p:sp>
        <p:nvSpPr>
          <p:cNvPr id="97283" name="Content Placeholder 2"/>
          <p:cNvSpPr>
            <a:spLocks noGrp="1"/>
          </p:cNvSpPr>
          <p:nvPr>
            <p:ph idx="1"/>
          </p:nvPr>
        </p:nvSpPr>
        <p:spPr>
          <a:xfrm>
            <a:off x="3359696" y="1600203"/>
            <a:ext cx="8222704" cy="4525963"/>
          </a:xfrm>
        </p:spPr>
        <p:txBody>
          <a:bodyPr/>
          <a:lstStyle/>
          <a:p>
            <a:r>
              <a:rPr lang="en-US" dirty="0">
                <a:ea typeface="ＭＳ Ｐゴシック" pitchFamily="34" charset="-128"/>
              </a:rPr>
              <a:t>Comparing a user story to others     </a:t>
            </a:r>
          </a:p>
          <a:p>
            <a:pPr>
              <a:buFont typeface="Arial" pitchFamily="34" charset="0"/>
              <a:buNone/>
            </a:pPr>
            <a:endParaRPr lang="en-US" dirty="0">
              <a:ea typeface="ＭＳ Ｐゴシック" pitchFamily="34" charset="-128"/>
            </a:endParaRPr>
          </a:p>
          <a:p>
            <a:pPr>
              <a:buFont typeface="Arial" pitchFamily="34" charset="0"/>
              <a:buNone/>
            </a:pPr>
            <a:r>
              <a:rPr lang="ja-JP" altLang="en-US" dirty="0">
                <a:solidFill>
                  <a:srgbClr val="7030A0"/>
                </a:solidFill>
                <a:ea typeface="ＭＳ Ｐゴシック" pitchFamily="34" charset="-128"/>
              </a:rPr>
              <a:t>“</a:t>
            </a:r>
            <a:r>
              <a:rPr lang="en-US" altLang="ja-JP" dirty="0">
                <a:solidFill>
                  <a:srgbClr val="7030A0"/>
                </a:solidFill>
                <a:ea typeface="ＭＳ Ｐゴシック" pitchFamily="34" charset="-128"/>
              </a:rPr>
              <a:t>This story is like that story, so its estimate is </a:t>
            </a:r>
          </a:p>
          <a:p>
            <a:pPr>
              <a:buFont typeface="Arial" pitchFamily="34" charset="0"/>
              <a:buNone/>
            </a:pPr>
            <a:r>
              <a:rPr lang="en-US" dirty="0">
                <a:solidFill>
                  <a:srgbClr val="7030A0"/>
                </a:solidFill>
                <a:ea typeface="ＭＳ Ｐゴシック" pitchFamily="34" charset="-128"/>
              </a:rPr>
              <a:t>              what that story</a:t>
            </a:r>
            <a:r>
              <a:rPr lang="ja-JP" altLang="en-US" dirty="0">
                <a:solidFill>
                  <a:srgbClr val="7030A0"/>
                </a:solidFill>
                <a:ea typeface="ＭＳ Ｐゴシック" pitchFamily="34" charset="-128"/>
              </a:rPr>
              <a:t>’</a:t>
            </a:r>
            <a:r>
              <a:rPr lang="en-US" altLang="ja-JP" dirty="0">
                <a:solidFill>
                  <a:srgbClr val="7030A0"/>
                </a:solidFill>
                <a:ea typeface="ＭＳ Ｐゴシック" pitchFamily="34" charset="-128"/>
              </a:rPr>
              <a:t>s estimate was.</a:t>
            </a:r>
            <a:r>
              <a:rPr lang="ja-JP" altLang="en-US" dirty="0">
                <a:solidFill>
                  <a:srgbClr val="7030A0"/>
                </a:solidFill>
                <a:ea typeface="ＭＳ Ｐゴシック" pitchFamily="34" charset="-128"/>
              </a:rPr>
              <a:t>”</a:t>
            </a:r>
            <a:endParaRPr lang="en-US" dirty="0">
              <a:solidFill>
                <a:srgbClr val="7030A0"/>
              </a:solidFill>
              <a:ea typeface="ＭＳ Ｐゴシック" pitchFamily="34" charset="-128"/>
            </a:endParaRPr>
          </a:p>
        </p:txBody>
      </p:sp>
      <p:pic>
        <p:nvPicPr>
          <p:cNvPr id="9728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48525" y="4065588"/>
            <a:ext cx="2705100" cy="2171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109196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9" name="Content Placeholder 2"/>
          <p:cNvSpPr>
            <a:spLocks noGrp="1"/>
          </p:cNvSpPr>
          <p:nvPr>
            <p:ph sz="quarter" idx="14"/>
          </p:nvPr>
        </p:nvSpPr>
        <p:spPr>
          <a:xfrm>
            <a:off x="2063552" y="1772816"/>
            <a:ext cx="7056784" cy="4032448"/>
          </a:xfrm>
        </p:spPr>
        <p:txBody>
          <a:bodyPr/>
          <a:lstStyle/>
          <a:p>
            <a:pPr eaLnBrk="1" hangingPunct="1"/>
            <a:r>
              <a:rPr lang="en-US" altLang="en-US" sz="1600" dirty="0">
                <a:latin typeface="Arial" panose="020B0604020202020204" pitchFamily="34" charset="0"/>
              </a:rPr>
              <a:t>Comparing a user story to others</a:t>
            </a:r>
          </a:p>
          <a:p>
            <a:pPr eaLnBrk="1" hangingPunct="1"/>
            <a:endParaRPr lang="en-US" altLang="en-US" sz="2000" dirty="0">
              <a:latin typeface="Arial" panose="020B0604020202020204" pitchFamily="34" charset="0"/>
            </a:endParaRPr>
          </a:p>
          <a:p>
            <a:pPr lvl="1" eaLnBrk="1" hangingPunct="1"/>
            <a:r>
              <a:rPr lang="en-US" altLang="en-US" sz="2000" dirty="0">
                <a:latin typeface="Arial" panose="020B0604020202020204" pitchFamily="34" charset="0"/>
              </a:rPr>
              <a:t>“</a:t>
            </a:r>
            <a:r>
              <a:rPr lang="en-US" altLang="en-US" sz="1600" dirty="0">
                <a:latin typeface="Arial" panose="020B0604020202020204" pitchFamily="34" charset="0"/>
              </a:rPr>
              <a:t>This story is like that story, so its estimate is what that story’s estimate was.”</a:t>
            </a:r>
          </a:p>
          <a:p>
            <a:pPr eaLnBrk="1" hangingPunct="1"/>
            <a:r>
              <a:rPr lang="en-US" altLang="en-US" sz="1600" dirty="0">
                <a:latin typeface="Arial" panose="020B0604020202020204" pitchFamily="34" charset="0"/>
              </a:rPr>
              <a:t>Don’t use a single gold standard</a:t>
            </a:r>
          </a:p>
          <a:p>
            <a:pPr eaLnBrk="1" hangingPunct="1"/>
            <a:endParaRPr lang="en-US" altLang="en-US" sz="1600" dirty="0">
              <a:latin typeface="Arial" panose="020B0604020202020204" pitchFamily="34" charset="0"/>
            </a:endParaRPr>
          </a:p>
          <a:p>
            <a:pPr lvl="1" eaLnBrk="1" hangingPunct="1"/>
            <a:r>
              <a:rPr lang="en-US" altLang="en-US" sz="1600" dirty="0">
                <a:latin typeface="Arial" panose="020B0604020202020204" pitchFamily="34" charset="0"/>
              </a:rPr>
              <a:t>Triangulate instead</a:t>
            </a:r>
          </a:p>
          <a:p>
            <a:pPr eaLnBrk="1" hangingPunct="1"/>
            <a:r>
              <a:rPr lang="en-US" altLang="en-US" sz="1600" dirty="0">
                <a:latin typeface="Arial" panose="020B0604020202020204" pitchFamily="34" charset="0"/>
              </a:rPr>
              <a:t>Compare the story being estimated to multiple other stories</a:t>
            </a:r>
          </a:p>
        </p:txBody>
      </p:sp>
      <p:sp>
        <p:nvSpPr>
          <p:cNvPr id="101378" name="Title 1"/>
          <p:cNvSpPr>
            <a:spLocks noGrp="1"/>
          </p:cNvSpPr>
          <p:nvPr>
            <p:ph type="title"/>
          </p:nvPr>
        </p:nvSpPr>
        <p:spPr>
          <a:xfrm>
            <a:off x="2063552" y="620688"/>
            <a:ext cx="9489776" cy="249008"/>
          </a:xfrm>
        </p:spPr>
        <p:txBody>
          <a:bodyPr/>
          <a:lstStyle/>
          <a:p>
            <a:pPr eaLnBrk="1" hangingPunct="1"/>
            <a:r>
              <a:rPr lang="en-US" altLang="en-US" b="0" dirty="0">
                <a:latin typeface="Arial" panose="020B0604020202020204" pitchFamily="34" charset="0"/>
              </a:rPr>
              <a:t>Estimate by analogy</a:t>
            </a:r>
          </a:p>
        </p:txBody>
      </p:sp>
      <p:pic>
        <p:nvPicPr>
          <p:cNvPr id="30722" name="Picture 2" descr="Image result for story point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76320" y="332656"/>
            <a:ext cx="2880320" cy="2208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002305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Title 1"/>
          <p:cNvSpPr>
            <a:spLocks noGrp="1"/>
          </p:cNvSpPr>
          <p:nvPr>
            <p:ph type="title"/>
          </p:nvPr>
        </p:nvSpPr>
        <p:spPr>
          <a:xfrm>
            <a:off x="4007768" y="332656"/>
            <a:ext cx="10972800" cy="249008"/>
          </a:xfrm>
        </p:spPr>
        <p:txBody>
          <a:bodyPr/>
          <a:lstStyle/>
          <a:p>
            <a:r>
              <a:rPr lang="en-US" b="0" dirty="0">
                <a:ea typeface="ＭＳ Ｐゴシック" pitchFamily="34" charset="-128"/>
              </a:rPr>
              <a:t>Triangulation</a:t>
            </a:r>
          </a:p>
        </p:txBody>
      </p:sp>
      <p:sp>
        <p:nvSpPr>
          <p:cNvPr id="98307" name="Content Placeholder 2"/>
          <p:cNvSpPr>
            <a:spLocks noGrp="1"/>
          </p:cNvSpPr>
          <p:nvPr>
            <p:ph idx="1"/>
          </p:nvPr>
        </p:nvSpPr>
        <p:spPr>
          <a:xfrm>
            <a:off x="4007768" y="1600203"/>
            <a:ext cx="7574632" cy="4525963"/>
          </a:xfrm>
        </p:spPr>
        <p:txBody>
          <a:bodyPr/>
          <a:lstStyle/>
          <a:p>
            <a:r>
              <a:rPr lang="en-US" dirty="0">
                <a:ea typeface="ＭＳ Ｐゴシック" pitchFamily="34" charset="-128"/>
              </a:rPr>
              <a:t>Story A &gt; Story D &gt; Story B</a:t>
            </a:r>
          </a:p>
        </p:txBody>
      </p:sp>
      <p:pic>
        <p:nvPicPr>
          <p:cNvPr id="9830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75720" y="2348880"/>
            <a:ext cx="4535736" cy="33214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808441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8</a:t>
            </a:fld>
            <a:endParaRPr lang="en-US" dirty="0"/>
          </a:p>
        </p:txBody>
      </p:sp>
      <p:sp>
        <p:nvSpPr>
          <p:cNvPr id="8" name="Title 5"/>
          <p:cNvSpPr>
            <a:spLocks noGrp="1"/>
          </p:cNvSpPr>
          <p:nvPr>
            <p:ph type="title"/>
          </p:nvPr>
        </p:nvSpPr>
        <p:spPr>
          <a:xfrm>
            <a:off x="1367207" y="327094"/>
            <a:ext cx="8208169" cy="249008"/>
          </a:xfrm>
        </p:spPr>
        <p:txBody>
          <a:bodyPr>
            <a:normAutofit/>
          </a:bodyPr>
          <a:lstStyle/>
          <a:p>
            <a:r>
              <a:rPr lang="en-US" b="0" dirty="0"/>
              <a:t>Agile Manifesto – The </a:t>
            </a:r>
            <a:r>
              <a:rPr lang="en-US" b="0" i="1" dirty="0">
                <a:solidFill>
                  <a:srgbClr val="00B050"/>
                </a:solidFill>
              </a:rPr>
              <a:t>twelve</a:t>
            </a:r>
            <a:r>
              <a:rPr lang="en-US" b="0" dirty="0"/>
              <a:t> Principles</a:t>
            </a:r>
          </a:p>
        </p:txBody>
      </p:sp>
      <p:sp>
        <p:nvSpPr>
          <p:cNvPr id="7" name="Rectangle 6"/>
          <p:cNvSpPr/>
          <p:nvPr/>
        </p:nvSpPr>
        <p:spPr>
          <a:xfrm>
            <a:off x="1297973" y="1124744"/>
            <a:ext cx="8587198" cy="4632037"/>
          </a:xfrm>
          <a:prstGeom prst="rect">
            <a:avLst/>
          </a:prstGeom>
        </p:spPr>
        <p:txBody>
          <a:bodyPr wrap="square">
            <a:spAutoFit/>
          </a:bodyPr>
          <a:lstStyle/>
          <a:p>
            <a:endParaRPr lang="en-US" sz="900" dirty="0">
              <a:solidFill>
                <a:srgbClr val="333333"/>
              </a:solidFill>
              <a:latin typeface="sofia-pro"/>
            </a:endParaRPr>
          </a:p>
          <a:p>
            <a:pPr marL="214313" indent="-214313">
              <a:buFont typeface="Arial" panose="020B0604020202020204" pitchFamily="34" charset="0"/>
              <a:buChar char="•"/>
            </a:pPr>
            <a:r>
              <a:rPr lang="en-US" sz="1100" b="1" dirty="0">
                <a:latin typeface="Gill Sans"/>
                <a:ea typeface="ヒラギノ角ゴ Pro W3" charset="-128"/>
              </a:rPr>
              <a:t>Our highest priority </a:t>
            </a:r>
            <a:r>
              <a:rPr lang="en-US" sz="1100" dirty="0">
                <a:latin typeface="Gill Sans"/>
                <a:ea typeface="ヒラギノ角ゴ Pro W3" charset="-128"/>
              </a:rPr>
              <a:t>is to satisfy the customer through early and continuous delivery of valuable software.</a:t>
            </a:r>
          </a:p>
          <a:p>
            <a:pPr marL="214313" indent="-214313">
              <a:buFont typeface="Arial" panose="020B0604020202020204" pitchFamily="34" charset="0"/>
              <a:buChar char="•"/>
            </a:pPr>
            <a:endParaRPr lang="en-US" sz="1100" dirty="0">
              <a:latin typeface="Gill Sans"/>
              <a:ea typeface="ヒラギノ角ゴ Pro W3" charset="-128"/>
            </a:endParaRPr>
          </a:p>
          <a:p>
            <a:pPr marL="214313" indent="-214313">
              <a:buFont typeface="Arial" panose="020B0604020202020204" pitchFamily="34" charset="0"/>
              <a:buChar char="•"/>
            </a:pPr>
            <a:r>
              <a:rPr lang="en-US" sz="1100" b="1" dirty="0">
                <a:latin typeface="Gill Sans"/>
                <a:ea typeface="ヒラギノ角ゴ Pro W3" charset="-128"/>
              </a:rPr>
              <a:t>Welcome changing requirements</a:t>
            </a:r>
            <a:r>
              <a:rPr lang="en-US" sz="1100" dirty="0">
                <a:latin typeface="Gill Sans"/>
                <a:ea typeface="ヒラギノ角ゴ Pro W3" charset="-128"/>
              </a:rPr>
              <a:t>, even late in development. Agile processes </a:t>
            </a:r>
            <a:r>
              <a:rPr lang="en-US" sz="1100" b="1" dirty="0">
                <a:latin typeface="Gill Sans"/>
                <a:ea typeface="ヒラギノ角ゴ Pro W3" charset="-128"/>
              </a:rPr>
              <a:t>harness change </a:t>
            </a:r>
            <a:r>
              <a:rPr lang="en-US" sz="1100" dirty="0">
                <a:latin typeface="Gill Sans"/>
                <a:ea typeface="ヒラギノ角ゴ Pro W3" charset="-128"/>
              </a:rPr>
              <a:t>for the customer's competitive advantage.</a:t>
            </a:r>
          </a:p>
          <a:p>
            <a:pPr marL="214313" indent="-214313">
              <a:buFont typeface="Arial" panose="020B0604020202020204" pitchFamily="34" charset="0"/>
              <a:buChar char="•"/>
            </a:pPr>
            <a:endParaRPr lang="en-US" sz="1100" dirty="0">
              <a:latin typeface="Gill Sans"/>
              <a:ea typeface="ヒラギノ角ゴ Pro W3" charset="-128"/>
            </a:endParaRPr>
          </a:p>
          <a:p>
            <a:pPr marL="214313" indent="-214313">
              <a:buFont typeface="Arial" panose="020B0604020202020204" pitchFamily="34" charset="0"/>
              <a:buChar char="•"/>
            </a:pPr>
            <a:r>
              <a:rPr lang="en-US" sz="1100" dirty="0">
                <a:latin typeface="Gill Sans"/>
                <a:ea typeface="ヒラギノ角ゴ Pro W3" charset="-128"/>
              </a:rPr>
              <a:t>Deliver </a:t>
            </a:r>
            <a:r>
              <a:rPr lang="en-US" sz="1100" b="1" dirty="0">
                <a:latin typeface="Gill Sans"/>
                <a:ea typeface="ヒラギノ角ゴ Pro W3" charset="-128"/>
              </a:rPr>
              <a:t>working software frequently</a:t>
            </a:r>
            <a:r>
              <a:rPr lang="en-US" sz="1100" dirty="0">
                <a:latin typeface="Gill Sans"/>
                <a:ea typeface="ヒラギノ角ゴ Pro W3" charset="-128"/>
              </a:rPr>
              <a:t>, from a couple of weeks to a couple of months, with a preference to the shorter timescale.</a:t>
            </a:r>
          </a:p>
          <a:p>
            <a:pPr marL="214313" indent="-214313">
              <a:buFont typeface="Arial" panose="020B0604020202020204" pitchFamily="34" charset="0"/>
              <a:buChar char="•"/>
            </a:pPr>
            <a:endParaRPr lang="en-US" sz="1100" dirty="0">
              <a:latin typeface="Gill Sans"/>
              <a:ea typeface="ヒラギノ角ゴ Pro W3" charset="-128"/>
            </a:endParaRPr>
          </a:p>
          <a:p>
            <a:pPr marL="214313" indent="-214313">
              <a:buFont typeface="Arial" panose="020B0604020202020204" pitchFamily="34" charset="0"/>
              <a:buChar char="•"/>
            </a:pPr>
            <a:r>
              <a:rPr lang="en-US" sz="1100" dirty="0">
                <a:latin typeface="Gill Sans"/>
                <a:ea typeface="ヒラギノ角ゴ Pro W3" charset="-128"/>
              </a:rPr>
              <a:t>Business people and developers must work together daily throughout the project.</a:t>
            </a:r>
          </a:p>
          <a:p>
            <a:pPr marL="214313" indent="-214313">
              <a:buFont typeface="Arial" panose="020B0604020202020204" pitchFamily="34" charset="0"/>
              <a:buChar char="•"/>
            </a:pPr>
            <a:endParaRPr lang="en-US" sz="1100" dirty="0">
              <a:latin typeface="Gill Sans"/>
              <a:ea typeface="ヒラギノ角ゴ Pro W3" charset="-128"/>
            </a:endParaRPr>
          </a:p>
          <a:p>
            <a:pPr marL="214313" indent="-214313">
              <a:buFont typeface="Arial" panose="020B0604020202020204" pitchFamily="34" charset="0"/>
              <a:buChar char="•"/>
            </a:pPr>
            <a:r>
              <a:rPr lang="en-US" sz="1100" dirty="0">
                <a:latin typeface="Gill Sans"/>
                <a:ea typeface="ヒラギノ角ゴ Pro W3" charset="-128"/>
              </a:rPr>
              <a:t>Build projects around </a:t>
            </a:r>
            <a:r>
              <a:rPr lang="en-US" sz="1100" b="1" dirty="0">
                <a:latin typeface="Gill Sans"/>
                <a:ea typeface="ヒラギノ角ゴ Pro W3" charset="-128"/>
              </a:rPr>
              <a:t>motivated individuals</a:t>
            </a:r>
            <a:r>
              <a:rPr lang="en-US" sz="1100" dirty="0">
                <a:latin typeface="Gill Sans"/>
                <a:ea typeface="ヒラギノ角ゴ Pro W3" charset="-128"/>
              </a:rPr>
              <a:t>. Give them the environment and </a:t>
            </a:r>
            <a:r>
              <a:rPr lang="en-US" sz="1100" b="1" dirty="0">
                <a:latin typeface="Gill Sans"/>
                <a:ea typeface="ヒラギノ角ゴ Pro W3" charset="-128"/>
              </a:rPr>
              <a:t>support they need, and trust them </a:t>
            </a:r>
            <a:r>
              <a:rPr lang="en-US" sz="1100" dirty="0">
                <a:latin typeface="Gill Sans"/>
                <a:ea typeface="ヒラギノ角ゴ Pro W3" charset="-128"/>
              </a:rPr>
              <a:t>to get the job done.</a:t>
            </a:r>
          </a:p>
          <a:p>
            <a:pPr marL="214313" indent="-214313">
              <a:buFont typeface="Arial" panose="020B0604020202020204" pitchFamily="34" charset="0"/>
              <a:buChar char="•"/>
            </a:pPr>
            <a:endParaRPr lang="en-US" sz="1100" dirty="0">
              <a:latin typeface="Gill Sans"/>
              <a:ea typeface="ヒラギノ角ゴ Pro W3" charset="-128"/>
            </a:endParaRPr>
          </a:p>
          <a:p>
            <a:pPr marL="214313" indent="-214313">
              <a:buFont typeface="Arial" panose="020B0604020202020204" pitchFamily="34" charset="0"/>
              <a:buChar char="•"/>
            </a:pPr>
            <a:r>
              <a:rPr lang="en-US" sz="1100" dirty="0">
                <a:latin typeface="Gill Sans"/>
                <a:ea typeface="ヒラギノ角ゴ Pro W3" charset="-128"/>
              </a:rPr>
              <a:t>The most efficient and effective method of conveying information to and within a development team is </a:t>
            </a:r>
            <a:r>
              <a:rPr lang="en-US" sz="1100" b="1" dirty="0">
                <a:latin typeface="Gill Sans"/>
                <a:ea typeface="ヒラギノ角ゴ Pro W3" charset="-128"/>
              </a:rPr>
              <a:t>face-to-face conversation</a:t>
            </a:r>
            <a:r>
              <a:rPr lang="en-US" sz="1100" dirty="0">
                <a:latin typeface="Gill Sans"/>
                <a:ea typeface="ヒラギノ角ゴ Pro W3" charset="-128"/>
              </a:rPr>
              <a:t>.</a:t>
            </a:r>
          </a:p>
          <a:p>
            <a:pPr marL="214313" indent="-214313">
              <a:buFont typeface="Arial" panose="020B0604020202020204" pitchFamily="34" charset="0"/>
              <a:buChar char="•"/>
            </a:pPr>
            <a:endParaRPr lang="en-US" sz="1100" dirty="0">
              <a:latin typeface="Gill Sans"/>
              <a:ea typeface="ヒラギノ角ゴ Pro W3" charset="-128"/>
            </a:endParaRPr>
          </a:p>
          <a:p>
            <a:pPr marL="214313" indent="-214313">
              <a:buFont typeface="Arial" panose="020B0604020202020204" pitchFamily="34" charset="0"/>
              <a:buChar char="•"/>
            </a:pPr>
            <a:r>
              <a:rPr lang="en-US" sz="1100" b="1" dirty="0">
                <a:latin typeface="Gill Sans"/>
                <a:ea typeface="ヒラギノ角ゴ Pro W3" charset="-128"/>
              </a:rPr>
              <a:t>Working software </a:t>
            </a:r>
            <a:r>
              <a:rPr lang="en-US" sz="1100" dirty="0">
                <a:latin typeface="Gill Sans"/>
                <a:ea typeface="ヒラギノ角ゴ Pro W3" charset="-128"/>
              </a:rPr>
              <a:t>is the primary measure of progress.</a:t>
            </a:r>
          </a:p>
          <a:p>
            <a:pPr marL="214313" indent="-214313">
              <a:buFont typeface="Arial" panose="020B0604020202020204" pitchFamily="34" charset="0"/>
              <a:buChar char="•"/>
            </a:pPr>
            <a:endParaRPr lang="en-US" sz="1100" dirty="0">
              <a:latin typeface="Gill Sans"/>
              <a:ea typeface="ヒラギノ角ゴ Pro W3" charset="-128"/>
            </a:endParaRPr>
          </a:p>
          <a:p>
            <a:pPr marL="214313" indent="-214313">
              <a:buFont typeface="Arial" panose="020B0604020202020204" pitchFamily="34" charset="0"/>
              <a:buChar char="•"/>
            </a:pPr>
            <a:r>
              <a:rPr lang="en-US" sz="1100" dirty="0">
                <a:latin typeface="Gill Sans"/>
                <a:ea typeface="ヒラギノ角ゴ Pro W3" charset="-128"/>
              </a:rPr>
              <a:t>Agile processes promote sustainable development. The sponsors, developers, and users should be able to </a:t>
            </a:r>
            <a:r>
              <a:rPr lang="en-US" sz="1100" b="1" dirty="0">
                <a:latin typeface="Gill Sans"/>
                <a:ea typeface="ヒラギノ角ゴ Pro W3" charset="-128"/>
              </a:rPr>
              <a:t>maintain a constant pace </a:t>
            </a:r>
            <a:r>
              <a:rPr lang="en-US" sz="1100" dirty="0">
                <a:latin typeface="Gill Sans"/>
                <a:ea typeface="ヒラギノ角ゴ Pro W3" charset="-128"/>
              </a:rPr>
              <a:t>indefinitely.</a:t>
            </a:r>
          </a:p>
          <a:p>
            <a:pPr marL="214313" indent="-214313">
              <a:buFont typeface="Arial" panose="020B0604020202020204" pitchFamily="34" charset="0"/>
              <a:buChar char="•"/>
            </a:pPr>
            <a:endParaRPr lang="en-US" sz="1100" dirty="0">
              <a:latin typeface="Gill Sans"/>
              <a:ea typeface="ヒラギノ角ゴ Pro W3" charset="-128"/>
            </a:endParaRPr>
          </a:p>
          <a:p>
            <a:pPr marL="214313" indent="-214313">
              <a:buFont typeface="Arial" panose="020B0604020202020204" pitchFamily="34" charset="0"/>
              <a:buChar char="•"/>
            </a:pPr>
            <a:r>
              <a:rPr lang="en-US" sz="1100" dirty="0">
                <a:latin typeface="Gill Sans"/>
                <a:ea typeface="ヒラギノ角ゴ Pro W3" charset="-128"/>
              </a:rPr>
              <a:t>Continuous </a:t>
            </a:r>
            <a:r>
              <a:rPr lang="en-US" sz="1100" b="1" dirty="0">
                <a:latin typeface="Gill Sans"/>
                <a:ea typeface="ヒラギノ角ゴ Pro W3" charset="-128"/>
              </a:rPr>
              <a:t>attention to technical excellence and good design </a:t>
            </a:r>
            <a:r>
              <a:rPr lang="en-US" sz="1100" dirty="0">
                <a:latin typeface="Gill Sans"/>
                <a:ea typeface="ヒラギノ角ゴ Pro W3" charset="-128"/>
              </a:rPr>
              <a:t>enhances agility.</a:t>
            </a:r>
          </a:p>
          <a:p>
            <a:pPr marL="214313" indent="-214313">
              <a:buFont typeface="Arial" panose="020B0604020202020204" pitchFamily="34" charset="0"/>
              <a:buChar char="•"/>
            </a:pPr>
            <a:endParaRPr lang="en-US" sz="1100" dirty="0">
              <a:latin typeface="Gill Sans"/>
              <a:ea typeface="ヒラギノ角ゴ Pro W3" charset="-128"/>
            </a:endParaRPr>
          </a:p>
          <a:p>
            <a:pPr marL="214313" indent="-214313">
              <a:buFont typeface="Arial" panose="020B0604020202020204" pitchFamily="34" charset="0"/>
              <a:buChar char="•"/>
            </a:pPr>
            <a:r>
              <a:rPr lang="en-US" sz="1100" dirty="0">
                <a:latin typeface="Gill Sans"/>
                <a:ea typeface="ヒラギノ角ゴ Pro W3" charset="-128"/>
              </a:rPr>
              <a:t>Simplicity--the art of </a:t>
            </a:r>
            <a:r>
              <a:rPr lang="en-US" sz="1100" b="1" dirty="0">
                <a:latin typeface="Gill Sans"/>
                <a:ea typeface="ヒラギノ角ゴ Pro W3" charset="-128"/>
              </a:rPr>
              <a:t>maximizing the amount of work not done-</a:t>
            </a:r>
            <a:r>
              <a:rPr lang="en-US" sz="1100" dirty="0">
                <a:latin typeface="Gill Sans"/>
                <a:ea typeface="ヒラギノ角ゴ Pro W3" charset="-128"/>
              </a:rPr>
              <a:t>-is essential.</a:t>
            </a:r>
          </a:p>
          <a:p>
            <a:pPr marL="214313" indent="-214313">
              <a:buFont typeface="Arial" panose="020B0604020202020204" pitchFamily="34" charset="0"/>
              <a:buChar char="•"/>
            </a:pPr>
            <a:endParaRPr lang="en-US" sz="1100" dirty="0">
              <a:latin typeface="Gill Sans"/>
              <a:ea typeface="ヒラギノ角ゴ Pro W3" charset="-128"/>
            </a:endParaRPr>
          </a:p>
          <a:p>
            <a:pPr marL="214313" indent="-214313">
              <a:buFont typeface="Arial" panose="020B0604020202020204" pitchFamily="34" charset="0"/>
              <a:buChar char="•"/>
            </a:pPr>
            <a:r>
              <a:rPr lang="en-US" sz="1100" dirty="0">
                <a:latin typeface="Gill Sans"/>
                <a:ea typeface="ヒラギノ角ゴ Pro W3" charset="-128"/>
              </a:rPr>
              <a:t>The best architectures, requirements, and designs emerge from </a:t>
            </a:r>
            <a:r>
              <a:rPr lang="en-US" sz="1100" b="1" dirty="0">
                <a:latin typeface="Gill Sans"/>
                <a:ea typeface="ヒラギノ角ゴ Pro W3" charset="-128"/>
              </a:rPr>
              <a:t>self-organizing teams</a:t>
            </a:r>
            <a:r>
              <a:rPr lang="en-US" sz="1100" dirty="0">
                <a:latin typeface="Gill Sans"/>
                <a:ea typeface="ヒラギノ角ゴ Pro W3" charset="-128"/>
              </a:rPr>
              <a:t>.</a:t>
            </a:r>
          </a:p>
          <a:p>
            <a:pPr marL="214313" indent="-214313">
              <a:buFont typeface="Arial" panose="020B0604020202020204" pitchFamily="34" charset="0"/>
              <a:buChar char="•"/>
            </a:pPr>
            <a:endParaRPr lang="en-US" sz="1100" dirty="0">
              <a:latin typeface="Gill Sans"/>
              <a:ea typeface="ヒラギノ角ゴ Pro W3" charset="-128"/>
            </a:endParaRPr>
          </a:p>
          <a:p>
            <a:pPr marL="214313" indent="-214313">
              <a:buFont typeface="Arial" panose="020B0604020202020204" pitchFamily="34" charset="0"/>
              <a:buChar char="•"/>
            </a:pPr>
            <a:r>
              <a:rPr lang="en-US" sz="1100" dirty="0">
                <a:latin typeface="Gill Sans"/>
                <a:ea typeface="ヒラギノ角ゴ Pro W3" charset="-128"/>
              </a:rPr>
              <a:t>At regular intervals, the team reflects on how to become more effective, then tunes and </a:t>
            </a:r>
            <a:r>
              <a:rPr lang="en-US" sz="1100" b="1" dirty="0">
                <a:latin typeface="Gill Sans"/>
                <a:ea typeface="ヒラギノ角ゴ Pro W3" charset="-128"/>
              </a:rPr>
              <a:t>adjusts its behavior </a:t>
            </a:r>
            <a:r>
              <a:rPr lang="en-US" sz="1100" dirty="0">
                <a:latin typeface="Gill Sans"/>
                <a:ea typeface="ヒラギノ角ゴ Pro W3" charset="-128"/>
              </a:rPr>
              <a:t>accordingly.</a:t>
            </a:r>
          </a:p>
        </p:txBody>
      </p:sp>
      <p:pic>
        <p:nvPicPr>
          <p:cNvPr id="32770" name="Picture 2" descr="Image result for principl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07324" y="485159"/>
            <a:ext cx="2413508" cy="15960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533522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Title 1"/>
          <p:cNvSpPr>
            <a:spLocks noGrp="1"/>
          </p:cNvSpPr>
          <p:nvPr>
            <p:ph type="title"/>
          </p:nvPr>
        </p:nvSpPr>
        <p:spPr>
          <a:xfrm>
            <a:off x="2855914" y="404664"/>
            <a:ext cx="10972800" cy="249008"/>
          </a:xfrm>
        </p:spPr>
        <p:txBody>
          <a:bodyPr/>
          <a:lstStyle/>
          <a:p>
            <a:r>
              <a:rPr lang="en-US" b="0" dirty="0">
                <a:ea typeface="ＭＳ Ｐゴシック" pitchFamily="34" charset="-128"/>
              </a:rPr>
              <a:t>Disaggregation</a:t>
            </a:r>
          </a:p>
        </p:txBody>
      </p:sp>
      <p:pic>
        <p:nvPicPr>
          <p:cNvPr id="9933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07968" y="2687638"/>
            <a:ext cx="3130550" cy="20748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933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5914" y="2687638"/>
            <a:ext cx="2232025" cy="2089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9333" name="TextBox 2"/>
          <p:cNvSpPr txBox="1">
            <a:spLocks noChangeArrowheads="1"/>
          </p:cNvSpPr>
          <p:nvPr/>
        </p:nvSpPr>
        <p:spPr bwMode="auto">
          <a:xfrm>
            <a:off x="3503613" y="5589588"/>
            <a:ext cx="59055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000"/>
              <a:t>Breaking a big story into smaller stories or tasks</a:t>
            </a:r>
          </a:p>
        </p:txBody>
      </p:sp>
    </p:spTree>
    <p:extLst>
      <p:ext uri="{BB962C8B-B14F-4D97-AF65-F5344CB8AC3E}">
        <p14:creationId xmlns:p14="http://schemas.microsoft.com/office/powerpoint/2010/main" val="405486064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5" name="Content Placeholder 2"/>
          <p:cNvSpPr>
            <a:spLocks noGrp="1"/>
          </p:cNvSpPr>
          <p:nvPr>
            <p:ph idx="1"/>
          </p:nvPr>
        </p:nvSpPr>
        <p:spPr>
          <a:xfrm>
            <a:off x="2207568" y="1589993"/>
            <a:ext cx="6429400" cy="4608513"/>
          </a:xfrm>
        </p:spPr>
        <p:txBody>
          <a:bodyPr>
            <a:normAutofit/>
          </a:bodyPr>
          <a:lstStyle/>
          <a:p>
            <a:pPr marL="171450" indent="-171450">
              <a:buFont typeface="Arial" panose="020B0604020202020204" pitchFamily="34" charset="0"/>
              <a:buChar char="•"/>
            </a:pPr>
            <a:r>
              <a:rPr lang="en-US" sz="1600" dirty="0">
                <a:ea typeface="ＭＳ Ｐゴシック" pitchFamily="34" charset="-128"/>
              </a:rPr>
              <a:t>Feature Point Estimation</a:t>
            </a:r>
          </a:p>
          <a:p>
            <a:pPr marL="171450" indent="-171450">
              <a:buFont typeface="Arial" panose="020B0604020202020204" pitchFamily="34" charset="0"/>
              <a:buChar char="•"/>
            </a:pPr>
            <a:endParaRPr lang="en-US" sz="1600" dirty="0">
              <a:ea typeface="ＭＳ Ｐゴシック" pitchFamily="34" charset="-128"/>
            </a:endParaRPr>
          </a:p>
          <a:p>
            <a:pPr marL="171450" indent="-171450">
              <a:buFont typeface="Arial" panose="020B0604020202020204" pitchFamily="34" charset="0"/>
              <a:buChar char="•"/>
            </a:pPr>
            <a:r>
              <a:rPr lang="en-US" sz="1600" dirty="0">
                <a:ea typeface="ＭＳ Ｐゴシック" pitchFamily="34" charset="-128"/>
              </a:rPr>
              <a:t>User Story Points </a:t>
            </a:r>
          </a:p>
          <a:p>
            <a:pPr marL="171450" indent="-171450">
              <a:buFont typeface="Arial" panose="020B0604020202020204" pitchFamily="34" charset="0"/>
              <a:buChar char="•"/>
            </a:pPr>
            <a:endParaRPr lang="en-US" sz="1600" dirty="0">
              <a:ea typeface="ＭＳ Ｐゴシック" pitchFamily="34" charset="-128"/>
            </a:endParaRPr>
          </a:p>
          <a:p>
            <a:pPr marL="171450" indent="-171450">
              <a:buFont typeface="Arial" panose="020B0604020202020204" pitchFamily="34" charset="0"/>
              <a:buChar char="•"/>
            </a:pPr>
            <a:r>
              <a:rPr lang="en-US" sz="1600" dirty="0">
                <a:ea typeface="ＭＳ Ｐゴシック" pitchFamily="34" charset="-128"/>
              </a:rPr>
              <a:t>Ideal Days</a:t>
            </a:r>
          </a:p>
          <a:p>
            <a:pPr marL="171450" indent="-171450">
              <a:buFont typeface="Arial" panose="020B0604020202020204" pitchFamily="34" charset="0"/>
              <a:buChar char="•"/>
            </a:pPr>
            <a:endParaRPr lang="en-US" sz="1600" dirty="0">
              <a:ea typeface="ＭＳ Ｐゴシック" pitchFamily="34" charset="-128"/>
            </a:endParaRPr>
          </a:p>
          <a:p>
            <a:pPr marL="171450" indent="-171450">
              <a:buFont typeface="Arial" panose="020B0604020202020204" pitchFamily="34" charset="0"/>
              <a:buChar char="•"/>
            </a:pPr>
            <a:r>
              <a:rPr lang="en-US" sz="1600" dirty="0">
                <a:ea typeface="ＭＳ Ｐゴシック" pitchFamily="34" charset="-128"/>
              </a:rPr>
              <a:t>Dog Sizes</a:t>
            </a:r>
          </a:p>
          <a:p>
            <a:pPr marL="171450" indent="-171450">
              <a:buFont typeface="Arial" panose="020B0604020202020204" pitchFamily="34" charset="0"/>
              <a:buChar char="•"/>
            </a:pPr>
            <a:endParaRPr lang="en-US" sz="1600" dirty="0">
              <a:ea typeface="ＭＳ Ｐゴシック" pitchFamily="34" charset="-128"/>
            </a:endParaRPr>
          </a:p>
          <a:p>
            <a:pPr marL="171450" indent="-171450">
              <a:buFont typeface="Arial" panose="020B0604020202020204" pitchFamily="34" charset="0"/>
              <a:buChar char="•"/>
            </a:pPr>
            <a:r>
              <a:rPr lang="en-US" sz="1600" dirty="0">
                <a:ea typeface="ＭＳ Ｐゴシック" pitchFamily="34" charset="-128"/>
              </a:rPr>
              <a:t>T-shirt Sizing</a:t>
            </a:r>
          </a:p>
        </p:txBody>
      </p:sp>
      <p:sp>
        <p:nvSpPr>
          <p:cNvPr id="2" name="Title 1"/>
          <p:cNvSpPr>
            <a:spLocks noGrp="1"/>
          </p:cNvSpPr>
          <p:nvPr>
            <p:ph type="title"/>
          </p:nvPr>
        </p:nvSpPr>
        <p:spPr>
          <a:xfrm>
            <a:off x="2140174" y="404664"/>
            <a:ext cx="10972800" cy="249008"/>
          </a:xfrm>
        </p:spPr>
        <p:txBody>
          <a:bodyPr/>
          <a:lstStyle/>
          <a:p>
            <a:r>
              <a:rPr lang="en-US" sz="1800" b="0" dirty="0">
                <a:latin typeface="Arial" pitchFamily="34" charset="0"/>
                <a:ea typeface="ＭＳ Ｐゴシック" pitchFamily="34" charset="-128"/>
                <a:cs typeface="Arial" pitchFamily="34" charset="0"/>
              </a:rPr>
              <a:t>Estimation Techniques</a:t>
            </a:r>
            <a:endParaRPr lang="en-US" b="0" dirty="0"/>
          </a:p>
        </p:txBody>
      </p:sp>
      <p:pic>
        <p:nvPicPr>
          <p:cNvPr id="40962" name="Picture 2" descr="Image result for feature points in agi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40216" y="1196752"/>
            <a:ext cx="3592909" cy="26974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884725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Title 1"/>
          <p:cNvSpPr>
            <a:spLocks noGrp="1"/>
          </p:cNvSpPr>
          <p:nvPr>
            <p:ph type="title"/>
          </p:nvPr>
        </p:nvSpPr>
        <p:spPr>
          <a:xfrm>
            <a:off x="1992313" y="260648"/>
            <a:ext cx="10972800" cy="249008"/>
          </a:xfrm>
        </p:spPr>
        <p:txBody>
          <a:bodyPr/>
          <a:lstStyle/>
          <a:p>
            <a:r>
              <a:rPr lang="en-US" b="0" dirty="0">
                <a:ea typeface="ＭＳ Ｐゴシック" pitchFamily="34" charset="-128"/>
              </a:rPr>
              <a:t>Feature Point Estimation</a:t>
            </a:r>
          </a:p>
        </p:txBody>
      </p:sp>
      <p:sp>
        <p:nvSpPr>
          <p:cNvPr id="101379" name="Content Placeholder 2"/>
          <p:cNvSpPr>
            <a:spLocks noGrp="1"/>
          </p:cNvSpPr>
          <p:nvPr>
            <p:ph idx="1"/>
          </p:nvPr>
        </p:nvSpPr>
        <p:spPr>
          <a:xfrm>
            <a:off x="1992313" y="2133601"/>
            <a:ext cx="2879551" cy="2735559"/>
          </a:xfrm>
        </p:spPr>
        <p:txBody>
          <a:bodyPr/>
          <a:lstStyle/>
          <a:p>
            <a:pPr marL="171450" indent="-171450">
              <a:buFont typeface="Arial" panose="020B0604020202020204" pitchFamily="34" charset="0"/>
              <a:buChar char="•"/>
            </a:pPr>
            <a:r>
              <a:rPr lang="en-US" sz="1600" dirty="0">
                <a:ea typeface="ＭＳ Ｐゴシック" pitchFamily="34" charset="-128"/>
              </a:rPr>
              <a:t>At Higher level estimate features</a:t>
            </a:r>
          </a:p>
          <a:p>
            <a:pPr marL="171450" indent="-171450">
              <a:buFont typeface="Arial" panose="020B0604020202020204" pitchFamily="34" charset="0"/>
              <a:buChar char="•"/>
            </a:pPr>
            <a:endParaRPr lang="en-US" sz="1600" dirty="0">
              <a:ea typeface="ＭＳ Ｐゴシック" pitchFamily="34" charset="-128"/>
            </a:endParaRPr>
          </a:p>
          <a:p>
            <a:pPr marL="171450" indent="-171450">
              <a:buFont typeface="Arial" panose="020B0604020202020204" pitchFamily="34" charset="0"/>
              <a:buChar char="•"/>
            </a:pPr>
            <a:r>
              <a:rPr lang="en-US" sz="1600" dirty="0">
                <a:ea typeface="ＭＳ Ｐゴシック" pitchFamily="34" charset="-128"/>
              </a:rPr>
              <a:t>Assign points to features</a:t>
            </a:r>
          </a:p>
        </p:txBody>
      </p:sp>
      <p:sp>
        <p:nvSpPr>
          <p:cNvPr id="4" name="Title 1"/>
          <p:cNvSpPr txBox="1">
            <a:spLocks/>
          </p:cNvSpPr>
          <p:nvPr/>
        </p:nvSpPr>
        <p:spPr bwMode="gray">
          <a:xfrm>
            <a:off x="5879976" y="248220"/>
            <a:ext cx="10972800" cy="249008"/>
          </a:xfrm>
          <a:prstGeom prst="rect">
            <a:avLst/>
          </a:prstGeom>
          <a:noFill/>
        </p:spPr>
        <p:txBody>
          <a:bodyPr vert="horz" lIns="0" tIns="0" rIns="0" bIns="18000" rtlCol="0" anchor="b" anchorCtr="0">
            <a:spAutoFit/>
          </a:bodyPr>
          <a:lstStyle>
            <a:lvl1pPr algn="l" defTabSz="685800" rtl="0" eaLnBrk="1" latinLnBrk="0" hangingPunct="1">
              <a:lnSpc>
                <a:spcPts val="1800"/>
              </a:lnSpc>
              <a:spcBef>
                <a:spcPct val="0"/>
              </a:spcBef>
              <a:buNone/>
              <a:defRPr lang="de-DE" sz="1650" b="1"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en-US" b="0">
                <a:ea typeface="ＭＳ Ｐゴシック" pitchFamily="34" charset="-128"/>
              </a:rPr>
              <a:t>T-shirt Sizing</a:t>
            </a:r>
          </a:p>
        </p:txBody>
      </p:sp>
      <p:pic>
        <p:nvPicPr>
          <p:cNvPr id="5" name="Picture 2" descr="http://rules.ssw.com.au/Management/RulesToBetterScrumUsingTFS/PublishingImages/size-stories-bad-exampl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79976" y="1916832"/>
            <a:ext cx="5329237" cy="35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2174610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p:cNvSpPr>
          <p:nvPr>
            <p:ph type="title"/>
          </p:nvPr>
        </p:nvSpPr>
        <p:spPr>
          <a:xfrm>
            <a:off x="2351089" y="476672"/>
            <a:ext cx="10972800" cy="249008"/>
          </a:xfrm>
        </p:spPr>
        <p:txBody>
          <a:bodyPr/>
          <a:lstStyle/>
          <a:p>
            <a:r>
              <a:rPr lang="en-US">
                <a:ea typeface="ＭＳ Ｐゴシック" pitchFamily="34" charset="-128"/>
              </a:rPr>
              <a:t>Dog Sizes</a:t>
            </a:r>
          </a:p>
        </p:txBody>
      </p:sp>
      <p:pic>
        <p:nvPicPr>
          <p:cNvPr id="105475"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7248524" y="2492375"/>
            <a:ext cx="3455987" cy="2989210"/>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5476" name="TextBox 3"/>
          <p:cNvSpPr txBox="1">
            <a:spLocks noChangeArrowheads="1"/>
          </p:cNvSpPr>
          <p:nvPr/>
        </p:nvSpPr>
        <p:spPr bwMode="auto">
          <a:xfrm>
            <a:off x="2351089" y="1484784"/>
            <a:ext cx="3240087" cy="381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marL="171450" indent="-171450" defTabSz="685800" eaLnBrk="1" hangingPunct="1">
              <a:lnSpc>
                <a:spcPct val="105000"/>
              </a:lnSpc>
              <a:spcBef>
                <a:spcPts val="450"/>
              </a:spcBef>
              <a:spcAft>
                <a:spcPts val="225"/>
              </a:spcAft>
              <a:buFont typeface="Arial" panose="020B0604020202020204" pitchFamily="34" charset="0"/>
              <a:buChar char="•"/>
            </a:pPr>
            <a:r>
              <a:rPr lang="en-US" sz="1600" dirty="0">
                <a:latin typeface="Verdana" panose="020B0604030504040204" pitchFamily="34" charset="0"/>
                <a:cs typeface="Verdana" panose="020B0604030504040204" pitchFamily="34" charset="0"/>
              </a:rPr>
              <a:t>Labrador Retriever</a:t>
            </a:r>
          </a:p>
          <a:p>
            <a:pPr marL="171450" indent="-171450" defTabSz="685800" eaLnBrk="1" hangingPunct="1">
              <a:lnSpc>
                <a:spcPct val="105000"/>
              </a:lnSpc>
              <a:spcBef>
                <a:spcPts val="450"/>
              </a:spcBef>
              <a:spcAft>
                <a:spcPts val="225"/>
              </a:spcAft>
              <a:buFont typeface="Arial" panose="020B0604020202020204" pitchFamily="34" charset="0"/>
              <a:buChar char="•"/>
            </a:pPr>
            <a:endParaRPr lang="en-US" sz="1600" dirty="0">
              <a:latin typeface="Verdana" panose="020B0604030504040204" pitchFamily="34" charset="0"/>
              <a:cs typeface="Verdana" panose="020B0604030504040204" pitchFamily="34" charset="0"/>
            </a:endParaRPr>
          </a:p>
          <a:p>
            <a:pPr marL="171450" indent="-171450" defTabSz="685800" eaLnBrk="1" hangingPunct="1">
              <a:lnSpc>
                <a:spcPct val="105000"/>
              </a:lnSpc>
              <a:spcBef>
                <a:spcPts val="450"/>
              </a:spcBef>
              <a:spcAft>
                <a:spcPts val="225"/>
              </a:spcAft>
              <a:buFont typeface="Arial" panose="020B0604020202020204" pitchFamily="34" charset="0"/>
              <a:buChar char="•"/>
            </a:pPr>
            <a:r>
              <a:rPr lang="en-US" sz="1600" dirty="0">
                <a:latin typeface="Verdana" panose="020B0604030504040204" pitchFamily="34" charset="0"/>
                <a:cs typeface="Verdana" panose="020B0604030504040204" pitchFamily="34" charset="0"/>
              </a:rPr>
              <a:t>Great Dane</a:t>
            </a:r>
          </a:p>
          <a:p>
            <a:pPr marL="171450" indent="-171450" defTabSz="685800" eaLnBrk="1" hangingPunct="1">
              <a:lnSpc>
                <a:spcPct val="105000"/>
              </a:lnSpc>
              <a:spcBef>
                <a:spcPts val="450"/>
              </a:spcBef>
              <a:spcAft>
                <a:spcPts val="225"/>
              </a:spcAft>
              <a:buFont typeface="Arial" panose="020B0604020202020204" pitchFamily="34" charset="0"/>
              <a:buChar char="•"/>
            </a:pPr>
            <a:endParaRPr lang="en-US" sz="1600" dirty="0">
              <a:latin typeface="Verdana" panose="020B0604030504040204" pitchFamily="34" charset="0"/>
              <a:cs typeface="Verdana" panose="020B0604030504040204" pitchFamily="34" charset="0"/>
            </a:endParaRPr>
          </a:p>
          <a:p>
            <a:pPr marL="171450" indent="-171450" defTabSz="685800" eaLnBrk="1" hangingPunct="1">
              <a:lnSpc>
                <a:spcPct val="105000"/>
              </a:lnSpc>
              <a:spcBef>
                <a:spcPts val="450"/>
              </a:spcBef>
              <a:spcAft>
                <a:spcPts val="225"/>
              </a:spcAft>
              <a:buFont typeface="Arial" panose="020B0604020202020204" pitchFamily="34" charset="0"/>
              <a:buChar char="•"/>
            </a:pPr>
            <a:r>
              <a:rPr lang="en-US" sz="1600" dirty="0">
                <a:latin typeface="Verdana" panose="020B0604030504040204" pitchFamily="34" charset="0"/>
                <a:cs typeface="Verdana" panose="020B0604030504040204" pitchFamily="34" charset="0"/>
              </a:rPr>
              <a:t>Chihuahua	</a:t>
            </a:r>
          </a:p>
          <a:p>
            <a:pPr marL="171450" indent="-171450" defTabSz="685800" eaLnBrk="1" hangingPunct="1">
              <a:lnSpc>
                <a:spcPct val="105000"/>
              </a:lnSpc>
              <a:spcBef>
                <a:spcPts val="450"/>
              </a:spcBef>
              <a:spcAft>
                <a:spcPts val="225"/>
              </a:spcAft>
              <a:buFont typeface="Arial" panose="020B0604020202020204" pitchFamily="34" charset="0"/>
              <a:buChar char="•"/>
            </a:pPr>
            <a:endParaRPr lang="en-US" sz="1600" dirty="0">
              <a:latin typeface="Verdana" panose="020B0604030504040204" pitchFamily="34" charset="0"/>
              <a:cs typeface="Verdana" panose="020B0604030504040204" pitchFamily="34" charset="0"/>
            </a:endParaRPr>
          </a:p>
          <a:p>
            <a:pPr marL="171450" indent="-171450" defTabSz="685800" eaLnBrk="1" hangingPunct="1">
              <a:lnSpc>
                <a:spcPct val="105000"/>
              </a:lnSpc>
              <a:spcBef>
                <a:spcPts val="450"/>
              </a:spcBef>
              <a:spcAft>
                <a:spcPts val="225"/>
              </a:spcAft>
              <a:buFont typeface="Arial" panose="020B0604020202020204" pitchFamily="34" charset="0"/>
              <a:buChar char="•"/>
            </a:pPr>
            <a:r>
              <a:rPr lang="en-US" sz="1600" dirty="0">
                <a:latin typeface="Verdana" panose="020B0604030504040204" pitchFamily="34" charset="0"/>
                <a:cs typeface="Verdana" panose="020B0604030504040204" pitchFamily="34" charset="0"/>
              </a:rPr>
              <a:t>German Shepherd</a:t>
            </a:r>
          </a:p>
          <a:p>
            <a:pPr marL="171450" indent="-171450" defTabSz="685800" eaLnBrk="1" hangingPunct="1">
              <a:lnSpc>
                <a:spcPct val="105000"/>
              </a:lnSpc>
              <a:spcBef>
                <a:spcPts val="450"/>
              </a:spcBef>
              <a:spcAft>
                <a:spcPts val="225"/>
              </a:spcAft>
              <a:buFont typeface="Arial" panose="020B0604020202020204" pitchFamily="34" charset="0"/>
              <a:buChar char="•"/>
            </a:pPr>
            <a:endParaRPr lang="en-US" sz="1600" dirty="0">
              <a:latin typeface="Verdana" panose="020B0604030504040204" pitchFamily="34" charset="0"/>
              <a:cs typeface="Verdana" panose="020B0604030504040204" pitchFamily="34" charset="0"/>
            </a:endParaRPr>
          </a:p>
          <a:p>
            <a:pPr marL="171450" indent="-171450" defTabSz="685800" eaLnBrk="1" hangingPunct="1">
              <a:lnSpc>
                <a:spcPct val="105000"/>
              </a:lnSpc>
              <a:spcBef>
                <a:spcPts val="450"/>
              </a:spcBef>
              <a:spcAft>
                <a:spcPts val="225"/>
              </a:spcAft>
              <a:buFont typeface="Arial" panose="020B0604020202020204" pitchFamily="34" charset="0"/>
              <a:buChar char="•"/>
            </a:pPr>
            <a:r>
              <a:rPr lang="en-US" sz="1600" dirty="0">
                <a:latin typeface="Verdana" panose="020B0604030504040204" pitchFamily="34" charset="0"/>
                <a:cs typeface="Verdana" panose="020B0604030504040204" pitchFamily="34" charset="0"/>
              </a:rPr>
              <a:t>St. Bernard</a:t>
            </a:r>
          </a:p>
          <a:p>
            <a:pPr marL="171450" indent="-171450" defTabSz="685800" eaLnBrk="1" hangingPunct="1">
              <a:lnSpc>
                <a:spcPct val="105000"/>
              </a:lnSpc>
              <a:spcBef>
                <a:spcPts val="450"/>
              </a:spcBef>
              <a:spcAft>
                <a:spcPts val="225"/>
              </a:spcAft>
              <a:buFont typeface="Arial" panose="020B0604020202020204" pitchFamily="34" charset="0"/>
              <a:buChar char="•"/>
            </a:pPr>
            <a:endParaRPr lang="en-US" sz="1600" dirty="0">
              <a:latin typeface="Verdana" panose="020B0604030504040204" pitchFamily="34" charset="0"/>
              <a:cs typeface="Verdana" panose="020B0604030504040204" pitchFamily="34" charset="0"/>
            </a:endParaRPr>
          </a:p>
          <a:p>
            <a:pPr marL="171450" indent="-171450" defTabSz="685800" eaLnBrk="1" hangingPunct="1">
              <a:lnSpc>
                <a:spcPct val="105000"/>
              </a:lnSpc>
              <a:spcBef>
                <a:spcPts val="450"/>
              </a:spcBef>
              <a:spcAft>
                <a:spcPts val="225"/>
              </a:spcAft>
              <a:buFont typeface="Arial" panose="020B0604020202020204" pitchFamily="34" charset="0"/>
              <a:buChar char="•"/>
            </a:pPr>
            <a:r>
              <a:rPr lang="en-US" sz="1600" dirty="0">
                <a:latin typeface="Verdana" panose="020B0604030504040204" pitchFamily="34" charset="0"/>
                <a:cs typeface="Verdana" panose="020B0604030504040204" pitchFamily="34" charset="0"/>
              </a:rPr>
              <a:t>Bulldog</a:t>
            </a:r>
          </a:p>
        </p:txBody>
      </p:sp>
    </p:spTree>
    <p:extLst>
      <p:ext uri="{BB962C8B-B14F-4D97-AF65-F5344CB8AC3E}">
        <p14:creationId xmlns:p14="http://schemas.microsoft.com/office/powerpoint/2010/main" val="197589337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84</a:t>
            </a:fld>
            <a:endParaRPr lang="en-US" dirty="0"/>
          </a:p>
        </p:txBody>
      </p:sp>
      <p:sp>
        <p:nvSpPr>
          <p:cNvPr id="7" name="Title 1"/>
          <p:cNvSpPr txBox="1">
            <a:spLocks/>
          </p:cNvSpPr>
          <p:nvPr/>
        </p:nvSpPr>
        <p:spPr bwMode="gray">
          <a:xfrm>
            <a:off x="1793304" y="1046392"/>
            <a:ext cx="8686800" cy="249008"/>
          </a:xfrm>
          <a:prstGeom prst="rect">
            <a:avLst/>
          </a:prstGeom>
          <a:noFill/>
        </p:spPr>
        <p:txBody>
          <a:bodyPr vert="horz" lIns="0" tIns="0" rIns="0" bIns="18000" rtlCol="0" anchor="b" anchorCtr="0">
            <a:spAutoFit/>
          </a:bodyPr>
          <a:lstStyle>
            <a:lvl1pPr algn="l" defTabSz="685800" rtl="0" eaLnBrk="1" latinLnBrk="0" hangingPunct="1">
              <a:lnSpc>
                <a:spcPts val="1800"/>
              </a:lnSpc>
              <a:spcBef>
                <a:spcPct val="0"/>
              </a:spcBef>
              <a:buNone/>
              <a:defRPr lang="de-DE" sz="1650" b="1" kern="1200" baseline="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a:defRPr/>
            </a:pPr>
            <a:r>
              <a:rPr lang="en-US" b="0" dirty="0"/>
              <a:t>Fibonacci numbers</a:t>
            </a:r>
          </a:p>
        </p:txBody>
      </p:sp>
      <p:sp>
        <p:nvSpPr>
          <p:cNvPr id="8" name="Content Placeholder 2"/>
          <p:cNvSpPr txBox="1">
            <a:spLocks/>
          </p:cNvSpPr>
          <p:nvPr/>
        </p:nvSpPr>
        <p:spPr>
          <a:xfrm>
            <a:off x="893968" y="2060848"/>
            <a:ext cx="8686800" cy="4184104"/>
          </a:xfrm>
          <a:prstGeom prst="rect">
            <a:avLst/>
          </a:prstGeom>
        </p:spPr>
        <p:txBody>
          <a:bodyPr>
            <a:normAutofit/>
          </a:bodyPr>
          <a:lstStyle>
            <a:lvl1pPr marL="0" indent="0" algn="l" defTabSz="685800" rtl="0" eaLnBrk="1" latinLnBrk="0" hangingPunct="1">
              <a:lnSpc>
                <a:spcPct val="105000"/>
              </a:lnSpc>
              <a:spcBef>
                <a:spcPts val="450"/>
              </a:spcBef>
              <a:spcAft>
                <a:spcPts val="225"/>
              </a:spcAft>
              <a:buFont typeface="Arial" panose="020B0604020202020204" pitchFamily="34" charset="0"/>
              <a:buNone/>
              <a:defRPr lang="en-US"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35000" indent="-135000" algn="l" defTabSz="685800" rtl="0" eaLnBrk="1" latinLnBrk="0" hangingPunct="1">
              <a:lnSpc>
                <a:spcPct val="105000"/>
              </a:lnSpc>
              <a:spcBef>
                <a:spcPts val="225"/>
              </a:spcBef>
              <a:spcAft>
                <a:spcPts val="225"/>
              </a:spcAft>
              <a:buClr>
                <a:schemeClr val="accent1"/>
              </a:buClr>
              <a:buFont typeface="Wingdings" panose="05000000000000000000" pitchFamily="2" charset="2"/>
              <a:buChar char=""/>
              <a:defRPr lang="en-US"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70000" indent="-135000" algn="l" defTabSz="685800" rtl="0" eaLnBrk="1" latinLnBrk="0" hangingPunct="1">
              <a:lnSpc>
                <a:spcPct val="105000"/>
              </a:lnSpc>
              <a:spcBef>
                <a:spcPts val="225"/>
              </a:spcBef>
              <a:spcAft>
                <a:spcPts val="225"/>
              </a:spcAft>
              <a:buClr>
                <a:schemeClr val="accent1"/>
              </a:buClr>
              <a:buFont typeface="Symbol" panose="05050102010706020507" pitchFamily="18" charset="2"/>
              <a:buChar char="-"/>
              <a:defRPr lang="en-US"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403622"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lang="en-US"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540544"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lang="de-DE"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540000"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540000"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sz="12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540000"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sz="12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540000"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a:spcAft>
                <a:spcPts val="0"/>
              </a:spcAft>
              <a:defRPr/>
            </a:pPr>
            <a:r>
              <a:rPr lang="en-US" dirty="0"/>
              <a:t>The sequence in which each number is the sum of the two preceding numbers.</a:t>
            </a:r>
          </a:p>
          <a:p>
            <a:pPr>
              <a:spcAft>
                <a:spcPts val="0"/>
              </a:spcAft>
              <a:defRPr/>
            </a:pPr>
            <a:r>
              <a:rPr lang="en-US" dirty="0"/>
              <a:t>This sequence is defined by the linear recurrence equation. </a:t>
            </a:r>
          </a:p>
          <a:p>
            <a:pPr>
              <a:spcAft>
                <a:spcPts val="0"/>
              </a:spcAft>
              <a:defRPr/>
            </a:pPr>
            <a:r>
              <a:rPr lang="en-US" dirty="0"/>
              <a:t> The Fibonacci numbers for n=1,2 are 1, 1, 2, 3, 5, 8, 13, 21,…</a:t>
            </a:r>
          </a:p>
          <a:p>
            <a:pPr>
              <a:spcAft>
                <a:spcPts val="0"/>
              </a:spcAft>
              <a:defRPr/>
            </a:pPr>
            <a:endParaRPr lang="en-US" dirty="0"/>
          </a:p>
          <a:p>
            <a:pPr>
              <a:spcAft>
                <a:spcPts val="0"/>
              </a:spcAft>
              <a:defRPr/>
            </a:pPr>
            <a:endParaRPr lang="en-US" dirty="0"/>
          </a:p>
          <a:p>
            <a:pPr>
              <a:spcAft>
                <a:spcPts val="0"/>
              </a:spcAft>
              <a:defRPr/>
            </a:pPr>
            <a:endParaRPr lang="en-US" dirty="0"/>
          </a:p>
          <a:p>
            <a:pPr>
              <a:spcAft>
                <a:spcPts val="0"/>
              </a:spcAft>
              <a:defRPr/>
            </a:pPr>
            <a:endParaRPr lang="en-US" dirty="0"/>
          </a:p>
          <a:p>
            <a:pPr fontAlgn="auto">
              <a:spcAft>
                <a:spcPts val="0"/>
              </a:spcAft>
              <a:defRPr/>
            </a:pPr>
            <a:r>
              <a:rPr lang="en-US" dirty="0"/>
              <a:t>Fibonacci’s book </a:t>
            </a:r>
            <a:r>
              <a:rPr lang="en-US" u="sng" dirty="0"/>
              <a:t>Liber </a:t>
            </a:r>
            <a:r>
              <a:rPr lang="en-US" u="sng" dirty="0" err="1"/>
              <a:t>Abcai</a:t>
            </a:r>
            <a:r>
              <a:rPr lang="en-US" dirty="0"/>
              <a:t> asked a question involving the reproduction of a single pair of rabbits which is the basis of the Fibonacci sequence.</a:t>
            </a:r>
          </a:p>
          <a:p>
            <a:pPr fontAlgn="auto">
              <a:spcAft>
                <a:spcPts val="0"/>
              </a:spcAft>
              <a:defRPr/>
            </a:pPr>
            <a:endParaRPr lang="en-US" dirty="0"/>
          </a:p>
          <a:p>
            <a:pPr fontAlgn="auto">
              <a:spcAft>
                <a:spcPts val="0"/>
              </a:spcAft>
              <a:defRPr/>
            </a:pPr>
            <a:endParaRPr lang="en-US" dirty="0"/>
          </a:p>
          <a:p>
            <a:pPr fontAlgn="auto">
              <a:spcAft>
                <a:spcPts val="0"/>
              </a:spcAft>
              <a:defRPr/>
            </a:pPr>
            <a:r>
              <a:rPr lang="en-US" dirty="0"/>
              <a:t>It was posed:  Suppose a newly born pair of rabbits (a male and female) are put in a field.  The rabbits are able to mate at the age of one month so that at the end of the second month a female can produce another pair of rabbits.  Assuming that the rabbits never die and the female always produces a new pair every month from the second month on.  How many pairs will there be in one year?  (144)</a:t>
            </a:r>
          </a:p>
          <a:p>
            <a:pPr>
              <a:spcAft>
                <a:spcPts val="0"/>
              </a:spcAft>
              <a:defRPr/>
            </a:pPr>
            <a:endParaRPr lang="en-US" dirty="0"/>
          </a:p>
          <a:p>
            <a:pPr>
              <a:spcAft>
                <a:spcPts val="0"/>
              </a:spcAft>
              <a:defRPr/>
            </a:pPr>
            <a:endParaRPr lang="en-US" dirty="0"/>
          </a:p>
          <a:p>
            <a:pPr>
              <a:spcAft>
                <a:spcPts val="0"/>
              </a:spcAft>
              <a:defRPr/>
            </a:pPr>
            <a:endParaRPr lang="en-US" dirty="0"/>
          </a:p>
          <a:p>
            <a:pPr>
              <a:spcAft>
                <a:spcPts val="0"/>
              </a:spcAft>
              <a:defRPr/>
            </a:pPr>
            <a:endParaRPr lang="en-US" dirty="0"/>
          </a:p>
          <a:p>
            <a:pPr>
              <a:spcAft>
                <a:spcPts val="0"/>
              </a:spcAft>
              <a:buFont typeface="Wingdings 2"/>
              <a:buNone/>
              <a:defRPr/>
            </a:pPr>
            <a:endParaRPr lang="en-US" dirty="0"/>
          </a:p>
        </p:txBody>
      </p:sp>
      <p:sp>
        <p:nvSpPr>
          <p:cNvPr id="9" name="Rectangle 4"/>
          <p:cNvSpPr>
            <a:spLocks noChangeArrowheads="1"/>
          </p:cNvSpPr>
          <p:nvPr/>
        </p:nvSpPr>
        <p:spPr bwMode="auto">
          <a:xfrm>
            <a:off x="1488504" y="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Franklin Gothic Book" panose="020B0503020102020204" pitchFamily="34" charset="0"/>
              </a:defRPr>
            </a:lvl1pPr>
            <a:lvl2pPr marL="742950" indent="-285750">
              <a:defRPr>
                <a:solidFill>
                  <a:schemeClr val="tx1"/>
                </a:solidFill>
                <a:latin typeface="Franklin Gothic Book" panose="020B0503020102020204" pitchFamily="34" charset="0"/>
              </a:defRPr>
            </a:lvl2pPr>
            <a:lvl3pPr marL="1143000" indent="-228600">
              <a:defRPr>
                <a:solidFill>
                  <a:schemeClr val="tx1"/>
                </a:solidFill>
                <a:latin typeface="Franklin Gothic Book" panose="020B0503020102020204" pitchFamily="34" charset="0"/>
              </a:defRPr>
            </a:lvl3pPr>
            <a:lvl4pPr marL="1600200" indent="-228600">
              <a:defRPr>
                <a:solidFill>
                  <a:schemeClr val="tx1"/>
                </a:solidFill>
                <a:latin typeface="Franklin Gothic Book" panose="020B0503020102020204" pitchFamily="34" charset="0"/>
              </a:defRPr>
            </a:lvl4pPr>
            <a:lvl5pPr marL="2057400" indent="-228600">
              <a:defRPr>
                <a:solidFill>
                  <a:schemeClr val="tx1"/>
                </a:solidFill>
                <a:latin typeface="Franklin Gothic Book" panose="020B0503020102020204" pitchFamily="34" charset="0"/>
              </a:defRPr>
            </a:lvl5pPr>
            <a:lvl6pPr marL="2514600" indent="-228600" fontAlgn="base">
              <a:spcBef>
                <a:spcPct val="0"/>
              </a:spcBef>
              <a:spcAft>
                <a:spcPct val="0"/>
              </a:spcAft>
              <a:defRPr>
                <a:solidFill>
                  <a:schemeClr val="tx1"/>
                </a:solidFill>
                <a:latin typeface="Franklin Gothic Book" panose="020B0503020102020204" pitchFamily="34" charset="0"/>
              </a:defRPr>
            </a:lvl6pPr>
            <a:lvl7pPr marL="2971800" indent="-228600" fontAlgn="base">
              <a:spcBef>
                <a:spcPct val="0"/>
              </a:spcBef>
              <a:spcAft>
                <a:spcPct val="0"/>
              </a:spcAft>
              <a:defRPr>
                <a:solidFill>
                  <a:schemeClr val="tx1"/>
                </a:solidFill>
                <a:latin typeface="Franklin Gothic Book" panose="020B0503020102020204" pitchFamily="34" charset="0"/>
              </a:defRPr>
            </a:lvl7pPr>
            <a:lvl8pPr marL="3429000" indent="-228600" fontAlgn="base">
              <a:spcBef>
                <a:spcPct val="0"/>
              </a:spcBef>
              <a:spcAft>
                <a:spcPct val="0"/>
              </a:spcAft>
              <a:defRPr>
                <a:solidFill>
                  <a:schemeClr val="tx1"/>
                </a:solidFill>
                <a:latin typeface="Franklin Gothic Book" panose="020B0503020102020204" pitchFamily="34" charset="0"/>
              </a:defRPr>
            </a:lvl8pPr>
            <a:lvl9pPr marL="3886200" indent="-228600" fontAlgn="base">
              <a:spcBef>
                <a:spcPct val="0"/>
              </a:spcBef>
              <a:spcAft>
                <a:spcPct val="0"/>
              </a:spcAft>
              <a:defRPr>
                <a:solidFill>
                  <a:schemeClr val="tx1"/>
                </a:solidFill>
                <a:latin typeface="Franklin Gothic Book" panose="020B0503020102020204" pitchFamily="34" charset="0"/>
              </a:defRPr>
            </a:lvl9pPr>
          </a:lstStyle>
          <a:p>
            <a:endParaRPr lang="en-US" altLang="en-US"/>
          </a:p>
        </p:txBody>
      </p:sp>
      <p:pic>
        <p:nvPicPr>
          <p:cNvPr id="10" name="Picture 3"/>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384032" y="2420888"/>
            <a:ext cx="1460486" cy="270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6"/>
          <p:cNvSpPr>
            <a:spLocks noChangeArrowheads="1"/>
          </p:cNvSpPr>
          <p:nvPr/>
        </p:nvSpPr>
        <p:spPr bwMode="auto">
          <a:xfrm>
            <a:off x="1488504" y="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Franklin Gothic Book" panose="020B0503020102020204" pitchFamily="34" charset="0"/>
              </a:defRPr>
            </a:lvl1pPr>
            <a:lvl2pPr marL="742950" indent="-285750">
              <a:defRPr>
                <a:solidFill>
                  <a:schemeClr val="tx1"/>
                </a:solidFill>
                <a:latin typeface="Franklin Gothic Book" panose="020B0503020102020204" pitchFamily="34" charset="0"/>
              </a:defRPr>
            </a:lvl2pPr>
            <a:lvl3pPr marL="1143000" indent="-228600">
              <a:defRPr>
                <a:solidFill>
                  <a:schemeClr val="tx1"/>
                </a:solidFill>
                <a:latin typeface="Franklin Gothic Book" panose="020B0503020102020204" pitchFamily="34" charset="0"/>
              </a:defRPr>
            </a:lvl3pPr>
            <a:lvl4pPr marL="1600200" indent="-228600">
              <a:defRPr>
                <a:solidFill>
                  <a:schemeClr val="tx1"/>
                </a:solidFill>
                <a:latin typeface="Franklin Gothic Book" panose="020B0503020102020204" pitchFamily="34" charset="0"/>
              </a:defRPr>
            </a:lvl4pPr>
            <a:lvl5pPr marL="2057400" indent="-228600">
              <a:defRPr>
                <a:solidFill>
                  <a:schemeClr val="tx1"/>
                </a:solidFill>
                <a:latin typeface="Franklin Gothic Book" panose="020B0503020102020204" pitchFamily="34" charset="0"/>
              </a:defRPr>
            </a:lvl5pPr>
            <a:lvl6pPr marL="2514600" indent="-228600" fontAlgn="base">
              <a:spcBef>
                <a:spcPct val="0"/>
              </a:spcBef>
              <a:spcAft>
                <a:spcPct val="0"/>
              </a:spcAft>
              <a:defRPr>
                <a:solidFill>
                  <a:schemeClr val="tx1"/>
                </a:solidFill>
                <a:latin typeface="Franklin Gothic Book" panose="020B0503020102020204" pitchFamily="34" charset="0"/>
              </a:defRPr>
            </a:lvl6pPr>
            <a:lvl7pPr marL="2971800" indent="-228600" fontAlgn="base">
              <a:spcBef>
                <a:spcPct val="0"/>
              </a:spcBef>
              <a:spcAft>
                <a:spcPct val="0"/>
              </a:spcAft>
              <a:defRPr>
                <a:solidFill>
                  <a:schemeClr val="tx1"/>
                </a:solidFill>
                <a:latin typeface="Franklin Gothic Book" panose="020B0503020102020204" pitchFamily="34" charset="0"/>
              </a:defRPr>
            </a:lvl7pPr>
            <a:lvl8pPr marL="3429000" indent="-228600" fontAlgn="base">
              <a:spcBef>
                <a:spcPct val="0"/>
              </a:spcBef>
              <a:spcAft>
                <a:spcPct val="0"/>
              </a:spcAft>
              <a:defRPr>
                <a:solidFill>
                  <a:schemeClr val="tx1"/>
                </a:solidFill>
                <a:latin typeface="Franklin Gothic Book" panose="020B0503020102020204" pitchFamily="34" charset="0"/>
              </a:defRPr>
            </a:lvl8pPr>
            <a:lvl9pPr marL="3886200" indent="-228600" fontAlgn="base">
              <a:spcBef>
                <a:spcPct val="0"/>
              </a:spcBef>
              <a:spcAft>
                <a:spcPct val="0"/>
              </a:spcAft>
              <a:defRPr>
                <a:solidFill>
                  <a:schemeClr val="tx1"/>
                </a:solidFill>
                <a:latin typeface="Franklin Gothic Book" panose="020B0503020102020204" pitchFamily="34" charset="0"/>
              </a:defRPr>
            </a:lvl9pPr>
          </a:lstStyle>
          <a:p>
            <a:endParaRPr lang="en-US" altLang="en-US"/>
          </a:p>
        </p:txBody>
      </p:sp>
      <p:sp>
        <p:nvSpPr>
          <p:cNvPr id="13" name="Rectangle 8"/>
          <p:cNvSpPr>
            <a:spLocks noChangeArrowheads="1"/>
          </p:cNvSpPr>
          <p:nvPr/>
        </p:nvSpPr>
        <p:spPr bwMode="auto">
          <a:xfrm>
            <a:off x="1488504" y="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Franklin Gothic Book" panose="020B0503020102020204" pitchFamily="34" charset="0"/>
              </a:defRPr>
            </a:lvl1pPr>
            <a:lvl2pPr marL="742950" indent="-285750">
              <a:defRPr>
                <a:solidFill>
                  <a:schemeClr val="tx1"/>
                </a:solidFill>
                <a:latin typeface="Franklin Gothic Book" panose="020B0503020102020204" pitchFamily="34" charset="0"/>
              </a:defRPr>
            </a:lvl2pPr>
            <a:lvl3pPr marL="1143000" indent="-228600">
              <a:defRPr>
                <a:solidFill>
                  <a:schemeClr val="tx1"/>
                </a:solidFill>
                <a:latin typeface="Franklin Gothic Book" panose="020B0503020102020204" pitchFamily="34" charset="0"/>
              </a:defRPr>
            </a:lvl3pPr>
            <a:lvl4pPr marL="1600200" indent="-228600">
              <a:defRPr>
                <a:solidFill>
                  <a:schemeClr val="tx1"/>
                </a:solidFill>
                <a:latin typeface="Franklin Gothic Book" panose="020B0503020102020204" pitchFamily="34" charset="0"/>
              </a:defRPr>
            </a:lvl4pPr>
            <a:lvl5pPr marL="2057400" indent="-228600">
              <a:defRPr>
                <a:solidFill>
                  <a:schemeClr val="tx1"/>
                </a:solidFill>
                <a:latin typeface="Franklin Gothic Book" panose="020B0503020102020204" pitchFamily="34" charset="0"/>
              </a:defRPr>
            </a:lvl5pPr>
            <a:lvl6pPr marL="2514600" indent="-228600" fontAlgn="base">
              <a:spcBef>
                <a:spcPct val="0"/>
              </a:spcBef>
              <a:spcAft>
                <a:spcPct val="0"/>
              </a:spcAft>
              <a:defRPr>
                <a:solidFill>
                  <a:schemeClr val="tx1"/>
                </a:solidFill>
                <a:latin typeface="Franklin Gothic Book" panose="020B0503020102020204" pitchFamily="34" charset="0"/>
              </a:defRPr>
            </a:lvl6pPr>
            <a:lvl7pPr marL="2971800" indent="-228600" fontAlgn="base">
              <a:spcBef>
                <a:spcPct val="0"/>
              </a:spcBef>
              <a:spcAft>
                <a:spcPct val="0"/>
              </a:spcAft>
              <a:defRPr>
                <a:solidFill>
                  <a:schemeClr val="tx1"/>
                </a:solidFill>
                <a:latin typeface="Franklin Gothic Book" panose="020B0503020102020204" pitchFamily="34" charset="0"/>
              </a:defRPr>
            </a:lvl7pPr>
            <a:lvl8pPr marL="3429000" indent="-228600" fontAlgn="base">
              <a:spcBef>
                <a:spcPct val="0"/>
              </a:spcBef>
              <a:spcAft>
                <a:spcPct val="0"/>
              </a:spcAft>
              <a:defRPr>
                <a:solidFill>
                  <a:schemeClr val="tx1"/>
                </a:solidFill>
                <a:latin typeface="Franklin Gothic Book" panose="020B0503020102020204" pitchFamily="34" charset="0"/>
              </a:defRPr>
            </a:lvl8pPr>
            <a:lvl9pPr marL="3886200" indent="-228600" fontAlgn="base">
              <a:spcBef>
                <a:spcPct val="0"/>
              </a:spcBef>
              <a:spcAft>
                <a:spcPct val="0"/>
              </a:spcAft>
              <a:defRPr>
                <a:solidFill>
                  <a:schemeClr val="tx1"/>
                </a:solidFill>
                <a:latin typeface="Franklin Gothic Book" panose="020B0503020102020204" pitchFamily="34" charset="0"/>
              </a:defRPr>
            </a:lvl9pPr>
          </a:lstStyle>
          <a:p>
            <a:endParaRPr lang="en-US" altLang="en-US"/>
          </a:p>
        </p:txBody>
      </p:sp>
      <p:pic>
        <p:nvPicPr>
          <p:cNvPr id="17" name="Picture 2" descr="Fluffy bunnies family tre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88288" y="457200"/>
            <a:ext cx="3016589" cy="2531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3342873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85</a:t>
            </a:fld>
            <a:endParaRPr lang="en-US" dirty="0"/>
          </a:p>
        </p:txBody>
      </p:sp>
      <p:grpSp>
        <p:nvGrpSpPr>
          <p:cNvPr id="8" name="Group 16"/>
          <p:cNvGrpSpPr>
            <a:grpSpLocks/>
          </p:cNvGrpSpPr>
          <p:nvPr/>
        </p:nvGrpSpPr>
        <p:grpSpPr bwMode="auto">
          <a:xfrm>
            <a:off x="6096000" y="1988840"/>
            <a:ext cx="3384376" cy="3240360"/>
            <a:chOff x="5384800" y="1905000"/>
            <a:chExt cx="4477530" cy="4876800"/>
          </a:xfrm>
        </p:grpSpPr>
        <p:pic>
          <p:nvPicPr>
            <p:cNvPr id="9"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384800" y="1905000"/>
              <a:ext cx="447753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5"/>
            <p:cNvSpPr txBox="1">
              <a:spLocks noChangeArrowheads="1"/>
            </p:cNvSpPr>
            <p:nvPr/>
          </p:nvSpPr>
          <p:spPr bwMode="auto">
            <a:xfrm>
              <a:off x="6985279" y="2667000"/>
              <a:ext cx="933520" cy="514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400" dirty="0">
                  <a:solidFill>
                    <a:srgbClr val="FF0000"/>
                  </a:solidFill>
                  <a:latin typeface="Arial" panose="020B0604020202020204" pitchFamily="34" charset="0"/>
                  <a:cs typeface="Arial" panose="020B0604020202020204" pitchFamily="34" charset="0"/>
                </a:rPr>
                <a:t>Agile</a:t>
              </a:r>
            </a:p>
          </p:txBody>
        </p:sp>
        <p:pic>
          <p:nvPicPr>
            <p:cNvPr id="11" name="Picture 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04000" y="3200400"/>
              <a:ext cx="1993901" cy="101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7"/>
            <p:cNvSpPr txBox="1">
              <a:spLocks noChangeArrowheads="1"/>
            </p:cNvSpPr>
            <p:nvPr/>
          </p:nvSpPr>
          <p:spPr bwMode="auto">
            <a:xfrm>
              <a:off x="6299200" y="3657600"/>
              <a:ext cx="3048000" cy="789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buFont typeface="Arial" panose="020B0604020202020204" pitchFamily="34" charset="0"/>
                <a:buChar char="•"/>
              </a:pPr>
              <a:r>
                <a:rPr lang="en-US" altLang="en-US" sz="2000" dirty="0">
                  <a:solidFill>
                    <a:srgbClr val="FF0000"/>
                  </a:solidFill>
                  <a:latin typeface="Arial" panose="020B0604020202020204" pitchFamily="34" charset="0"/>
                  <a:cs typeface="Arial" panose="020B0604020202020204" pitchFamily="34" charset="0"/>
                </a:rPr>
                <a:t>Story points</a:t>
              </a:r>
            </a:p>
            <a:p>
              <a:pPr algn="l" eaLnBrk="1" hangingPunct="1">
                <a:buFont typeface="Arial" panose="020B0604020202020204" pitchFamily="34" charset="0"/>
                <a:buChar char="•"/>
              </a:pPr>
              <a:r>
                <a:rPr lang="en-US" altLang="en-US" sz="2000" dirty="0">
                  <a:solidFill>
                    <a:srgbClr val="FF0000"/>
                  </a:solidFill>
                  <a:latin typeface="Arial" panose="020B0604020202020204" pitchFamily="34" charset="0"/>
                  <a:cs typeface="Arial" panose="020B0604020202020204" pitchFamily="34" charset="0"/>
                </a:rPr>
                <a:t>Ideal days</a:t>
              </a:r>
            </a:p>
          </p:txBody>
        </p:sp>
      </p:grpSp>
      <p:pic>
        <p:nvPicPr>
          <p:cNvPr id="21"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7856" y="2070068"/>
            <a:ext cx="3004400" cy="3375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Box 13"/>
          <p:cNvSpPr txBox="1">
            <a:spLocks noChangeArrowheads="1"/>
          </p:cNvSpPr>
          <p:nvPr/>
        </p:nvSpPr>
        <p:spPr bwMode="auto">
          <a:xfrm>
            <a:off x="3240985" y="2933744"/>
            <a:ext cx="158427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000" dirty="0">
                <a:solidFill>
                  <a:srgbClr val="FF0000"/>
                </a:solidFill>
                <a:latin typeface="Arial" panose="020B0604020202020204" pitchFamily="34" charset="0"/>
                <a:cs typeface="Arial" panose="020B0604020202020204" pitchFamily="34" charset="0"/>
              </a:rPr>
              <a:t>Sequential</a:t>
            </a:r>
          </a:p>
        </p:txBody>
      </p:sp>
      <p:sp>
        <p:nvSpPr>
          <p:cNvPr id="23" name="TextBox 22"/>
          <p:cNvSpPr txBox="1">
            <a:spLocks noChangeArrowheads="1"/>
          </p:cNvSpPr>
          <p:nvPr/>
        </p:nvSpPr>
        <p:spPr bwMode="auto">
          <a:xfrm>
            <a:off x="2855640" y="3547141"/>
            <a:ext cx="304800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buFont typeface="Arial" panose="020B0604020202020204" pitchFamily="34" charset="0"/>
              <a:buChar char="•"/>
            </a:pPr>
            <a:r>
              <a:rPr lang="en-US" altLang="en-US" sz="2000" dirty="0">
                <a:solidFill>
                  <a:srgbClr val="FF0000"/>
                </a:solidFill>
                <a:latin typeface="Arial" panose="020B0604020202020204" pitchFamily="34" charset="0"/>
                <a:cs typeface="Arial" panose="020B0604020202020204" pitchFamily="34" charset="0"/>
              </a:rPr>
              <a:t>Lines of code</a:t>
            </a:r>
          </a:p>
          <a:p>
            <a:pPr algn="l" eaLnBrk="1" hangingPunct="1">
              <a:buFont typeface="Arial" panose="020B0604020202020204" pitchFamily="34" charset="0"/>
              <a:buChar char="•"/>
            </a:pPr>
            <a:r>
              <a:rPr lang="en-US" altLang="en-US" sz="2000" dirty="0">
                <a:solidFill>
                  <a:srgbClr val="FF0000"/>
                </a:solidFill>
                <a:latin typeface="Arial" panose="020B0604020202020204" pitchFamily="34" charset="0"/>
                <a:cs typeface="Arial" panose="020B0604020202020204" pitchFamily="34" charset="0"/>
              </a:rPr>
              <a:t>Function points</a:t>
            </a:r>
          </a:p>
        </p:txBody>
      </p:sp>
      <p:sp>
        <p:nvSpPr>
          <p:cNvPr id="24" name="Title 1"/>
          <p:cNvSpPr txBox="1">
            <a:spLocks/>
          </p:cNvSpPr>
          <p:nvPr/>
        </p:nvSpPr>
        <p:spPr bwMode="gray">
          <a:xfrm>
            <a:off x="2347856" y="394277"/>
            <a:ext cx="9461500" cy="249008"/>
          </a:xfrm>
          <a:prstGeom prst="rect">
            <a:avLst/>
          </a:prstGeom>
          <a:noFill/>
        </p:spPr>
        <p:txBody>
          <a:bodyPr vert="horz" lIns="0" tIns="0" rIns="0" bIns="18000" rtlCol="0" anchor="b" anchorCtr="0">
            <a:spAutoFit/>
          </a:bodyPr>
          <a:lstStyle>
            <a:lvl1pPr algn="l" defTabSz="685800" rtl="0" eaLnBrk="1" latinLnBrk="0" hangingPunct="1">
              <a:lnSpc>
                <a:spcPts val="1800"/>
              </a:lnSpc>
              <a:spcBef>
                <a:spcPct val="0"/>
              </a:spcBef>
              <a:buNone/>
              <a:defRPr lang="de-DE" sz="1650" b="1" kern="1200" baseline="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en-US" altLang="en-US" b="0" dirty="0"/>
              <a:t>Measures of size</a:t>
            </a:r>
          </a:p>
        </p:txBody>
      </p:sp>
    </p:spTree>
    <p:extLst>
      <p:ext uri="{BB962C8B-B14F-4D97-AF65-F5344CB8AC3E}">
        <p14:creationId xmlns:p14="http://schemas.microsoft.com/office/powerpoint/2010/main" val="29706285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Title 1"/>
          <p:cNvSpPr>
            <a:spLocks noGrp="1"/>
          </p:cNvSpPr>
          <p:nvPr>
            <p:ph type="title"/>
          </p:nvPr>
        </p:nvSpPr>
        <p:spPr>
          <a:xfrm>
            <a:off x="1947541" y="332656"/>
            <a:ext cx="10972800" cy="249008"/>
          </a:xfrm>
        </p:spPr>
        <p:txBody>
          <a:bodyPr/>
          <a:lstStyle/>
          <a:p>
            <a:r>
              <a:rPr lang="en-US" b="0" dirty="0">
                <a:ea typeface="ＭＳ Ｐゴシック" pitchFamily="34" charset="-128"/>
              </a:rPr>
              <a:t>Velocity &amp; Calculation</a:t>
            </a:r>
          </a:p>
        </p:txBody>
      </p:sp>
      <p:pic>
        <p:nvPicPr>
          <p:cNvPr id="109572" name="Picture 5" descr="http://upload.wikimedia.org/math/b/1/d/b1d7ac3ee7507adaf9720939ccc4d6d5.pn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2135560" y="1317983"/>
            <a:ext cx="1368425" cy="719137"/>
          </a:xfrm>
        </p:spPr>
      </p:pic>
      <p:sp>
        <p:nvSpPr>
          <p:cNvPr id="6" name="Rectangle 9"/>
          <p:cNvSpPr>
            <a:spLocks noChangeArrowheads="1"/>
          </p:cNvSpPr>
          <p:nvPr/>
        </p:nvSpPr>
        <p:spPr bwMode="auto">
          <a:xfrm>
            <a:off x="1703512" y="2234482"/>
            <a:ext cx="5029200"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defRPr/>
            </a:pPr>
            <a:r>
              <a:rPr lang="en-IN" sz="2400" dirty="0">
                <a:latin typeface="Times New Roman" pitchFamily="18" charset="0"/>
                <a:cs typeface="Times New Roman" pitchFamily="18" charset="0"/>
              </a:rPr>
              <a:t>= </a:t>
            </a:r>
            <a:r>
              <a:rPr lang="en-IN" sz="3200" dirty="0">
                <a:latin typeface="+mj-lt"/>
                <a:cs typeface="Times New Roman" pitchFamily="18" charset="0"/>
              </a:rPr>
              <a:t>Number of total story points / One iteration </a:t>
            </a:r>
            <a:endParaRPr lang="en-US" sz="3200" dirty="0">
              <a:latin typeface="+mj-lt"/>
              <a:cs typeface="Times New Roman" pitchFamily="18" charset="0"/>
            </a:endParaRPr>
          </a:p>
        </p:txBody>
      </p:sp>
      <p:sp>
        <p:nvSpPr>
          <p:cNvPr id="7" name="Content Placeholder 2"/>
          <p:cNvSpPr txBox="1">
            <a:spLocks/>
          </p:cNvSpPr>
          <p:nvPr/>
        </p:nvSpPr>
        <p:spPr bwMode="gray">
          <a:xfrm>
            <a:off x="1703512" y="4005064"/>
            <a:ext cx="6501606" cy="2264421"/>
          </a:xfrm>
          <a:prstGeom prst="rect">
            <a:avLst/>
          </a:prstGeom>
        </p:spPr>
        <p:txBody>
          <a:bodyPr vert="horz" lIns="0" tIns="0" rIns="0" bIns="0" rtlCol="0">
            <a:noAutofit/>
          </a:bodyPr>
          <a:lstStyle>
            <a:lvl1pPr marL="0" indent="0" algn="l" defTabSz="685800" rtl="0" eaLnBrk="1" latinLnBrk="0" hangingPunct="1">
              <a:lnSpc>
                <a:spcPct val="105000"/>
              </a:lnSpc>
              <a:spcBef>
                <a:spcPts val="450"/>
              </a:spcBef>
              <a:spcAft>
                <a:spcPts val="225"/>
              </a:spcAft>
              <a:buFont typeface="Arial" panose="020B0604020202020204" pitchFamily="34" charset="0"/>
              <a:buNone/>
              <a:defRPr lang="en-US"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35000" indent="-135000" algn="l" defTabSz="685800" rtl="0" eaLnBrk="1" latinLnBrk="0" hangingPunct="1">
              <a:lnSpc>
                <a:spcPct val="105000"/>
              </a:lnSpc>
              <a:spcBef>
                <a:spcPts val="225"/>
              </a:spcBef>
              <a:spcAft>
                <a:spcPts val="225"/>
              </a:spcAft>
              <a:buClr>
                <a:schemeClr val="accent1"/>
              </a:buClr>
              <a:buFont typeface="Wingdings" panose="05000000000000000000" pitchFamily="2" charset="2"/>
              <a:buChar char=""/>
              <a:defRPr lang="en-US"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70000" indent="-135000" algn="l" defTabSz="685800" rtl="0" eaLnBrk="1" latinLnBrk="0" hangingPunct="1">
              <a:lnSpc>
                <a:spcPct val="105000"/>
              </a:lnSpc>
              <a:spcBef>
                <a:spcPts val="225"/>
              </a:spcBef>
              <a:spcAft>
                <a:spcPts val="225"/>
              </a:spcAft>
              <a:buClr>
                <a:schemeClr val="accent1"/>
              </a:buClr>
              <a:buFont typeface="Symbol" panose="05050102010706020507" pitchFamily="18" charset="2"/>
              <a:buChar char="-"/>
              <a:defRPr lang="en-US"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403622"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lang="en-US"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540544"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lang="de-DE"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540000"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540000"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sz="12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540000"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sz="12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540000" indent="-135000" algn="l" defTabSz="685800" rtl="0" eaLnBrk="1" latinLnBrk="0" hangingPunct="1">
              <a:lnSpc>
                <a:spcPct val="105000"/>
              </a:lnSpc>
              <a:spcBef>
                <a:spcPts val="225"/>
              </a:spcBef>
              <a:spcAft>
                <a:spcPts val="225"/>
              </a:spcAft>
              <a:buClr>
                <a:schemeClr val="bg2"/>
              </a:buClr>
              <a:buFont typeface="Symbol" panose="05050102010706020507" pitchFamily="18" charset="2"/>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171450" indent="-171450">
              <a:buFont typeface="Arial" panose="020B0604020202020204" pitchFamily="34" charset="0"/>
              <a:buChar char="•"/>
            </a:pPr>
            <a:r>
              <a:rPr lang="en-US" dirty="0">
                <a:ea typeface="ＭＳ Ｐゴシック" pitchFamily="34" charset="-128"/>
              </a:rPr>
              <a:t>Historical Data</a:t>
            </a:r>
          </a:p>
          <a:p>
            <a:pPr marL="171450" indent="-171450">
              <a:buFont typeface="Arial" panose="020B0604020202020204" pitchFamily="34" charset="0"/>
              <a:buChar char="•"/>
            </a:pPr>
            <a:endParaRPr lang="en-US" dirty="0">
              <a:ea typeface="ＭＳ Ｐゴシック" pitchFamily="34" charset="-128"/>
            </a:endParaRPr>
          </a:p>
          <a:p>
            <a:pPr marL="171450" indent="-171450">
              <a:buFont typeface="Arial" panose="020B0604020202020204" pitchFamily="34" charset="0"/>
              <a:buChar char="•"/>
            </a:pPr>
            <a:r>
              <a:rPr lang="en-US" dirty="0">
                <a:ea typeface="ＭＳ Ｐゴシック" pitchFamily="34" charset="-128"/>
              </a:rPr>
              <a:t>Run 1-2 iterations</a:t>
            </a:r>
          </a:p>
          <a:p>
            <a:pPr marL="171450" indent="-171450">
              <a:buFont typeface="Arial" panose="020B0604020202020204" pitchFamily="34" charset="0"/>
              <a:buChar char="•"/>
            </a:pPr>
            <a:endParaRPr lang="en-US" dirty="0">
              <a:ea typeface="ＭＳ Ｐゴシック" pitchFamily="34" charset="-128"/>
            </a:endParaRPr>
          </a:p>
          <a:p>
            <a:pPr marL="171450" indent="-171450">
              <a:buFont typeface="Arial" panose="020B0604020202020204" pitchFamily="34" charset="0"/>
              <a:buChar char="•"/>
            </a:pPr>
            <a:r>
              <a:rPr lang="en-US" dirty="0">
                <a:ea typeface="ＭＳ Ｐゴシック" pitchFamily="34" charset="-128"/>
              </a:rPr>
              <a:t>Forecast Model</a:t>
            </a:r>
          </a:p>
        </p:txBody>
      </p:sp>
      <p:pic>
        <p:nvPicPr>
          <p:cNvPr id="43010" name="Picture 2" descr="Image result for cheetah"/>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88288" y="2234482"/>
            <a:ext cx="2638499" cy="26384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08638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9" name="Content Placeholder 2"/>
          <p:cNvSpPr>
            <a:spLocks noGrp="1"/>
          </p:cNvSpPr>
          <p:nvPr>
            <p:ph sz="quarter" idx="14"/>
          </p:nvPr>
        </p:nvSpPr>
        <p:spPr>
          <a:xfrm>
            <a:off x="2135560" y="1484315"/>
            <a:ext cx="9432556" cy="4608511"/>
          </a:xfrm>
        </p:spPr>
        <p:txBody>
          <a:bodyPr/>
          <a:lstStyle/>
          <a:p>
            <a:pPr eaLnBrk="1" hangingPunct="1"/>
            <a:r>
              <a:rPr lang="en-US" altLang="en-US" sz="2000" dirty="0">
                <a:latin typeface="Arial" panose="020B0604020202020204" pitchFamily="34" charset="0"/>
              </a:rPr>
              <a:t>The “bigness” of a task</a:t>
            </a:r>
          </a:p>
          <a:p>
            <a:pPr lvl="1" eaLnBrk="1" hangingPunct="1"/>
            <a:r>
              <a:rPr lang="en-US" altLang="en-US" sz="1800" dirty="0">
                <a:latin typeface="Arial" panose="020B0604020202020204" pitchFamily="34" charset="0"/>
              </a:rPr>
              <a:t>Influenced by</a:t>
            </a:r>
          </a:p>
          <a:p>
            <a:pPr lvl="1" eaLnBrk="1" hangingPunct="1"/>
            <a:r>
              <a:rPr lang="en-US" altLang="en-US" sz="1800" dirty="0">
                <a:latin typeface="Arial" panose="020B0604020202020204" pitchFamily="34" charset="0"/>
              </a:rPr>
              <a:t>How hard it is</a:t>
            </a:r>
          </a:p>
          <a:p>
            <a:pPr lvl="1" eaLnBrk="1" hangingPunct="1"/>
            <a:r>
              <a:rPr lang="en-US" altLang="en-US" sz="1800" dirty="0">
                <a:latin typeface="Arial" panose="020B0604020202020204" pitchFamily="34" charset="0"/>
              </a:rPr>
              <a:t>How much of it there is</a:t>
            </a:r>
          </a:p>
          <a:p>
            <a:pPr lvl="1" eaLnBrk="1" hangingPunct="1"/>
            <a:endParaRPr lang="en-US" altLang="en-US" sz="1800" dirty="0">
              <a:latin typeface="Arial" panose="020B0604020202020204" pitchFamily="34" charset="0"/>
            </a:endParaRPr>
          </a:p>
          <a:p>
            <a:pPr eaLnBrk="1" hangingPunct="1"/>
            <a:r>
              <a:rPr lang="en-US" altLang="en-US" sz="2000" dirty="0">
                <a:latin typeface="Arial" panose="020B0604020202020204" pitchFamily="34" charset="0"/>
              </a:rPr>
              <a:t>Relative values are what is important:</a:t>
            </a:r>
          </a:p>
          <a:p>
            <a:pPr lvl="1" eaLnBrk="1" hangingPunct="1"/>
            <a:r>
              <a:rPr lang="en-US" altLang="en-US" sz="1800" dirty="0">
                <a:latin typeface="Arial" panose="020B0604020202020204" pitchFamily="34" charset="0"/>
              </a:rPr>
              <a:t>A login screen is a 2.</a:t>
            </a:r>
          </a:p>
          <a:p>
            <a:pPr lvl="1" eaLnBrk="1" hangingPunct="1"/>
            <a:r>
              <a:rPr lang="en-US" altLang="en-US" sz="1800" dirty="0">
                <a:latin typeface="Arial" panose="020B0604020202020204" pitchFamily="34" charset="0"/>
              </a:rPr>
              <a:t>A search feature is an 8.</a:t>
            </a:r>
          </a:p>
          <a:p>
            <a:pPr marL="0" lvl="1" indent="0" eaLnBrk="1" hangingPunct="1">
              <a:buNone/>
            </a:pPr>
            <a:endParaRPr lang="en-US" altLang="en-US" sz="1800" dirty="0">
              <a:latin typeface="Arial" panose="020B0604020202020204" pitchFamily="34" charset="0"/>
            </a:endParaRPr>
          </a:p>
          <a:p>
            <a:pPr eaLnBrk="1" hangingPunct="1"/>
            <a:r>
              <a:rPr lang="en-US" altLang="en-US" sz="2000" dirty="0">
                <a:latin typeface="Arial" panose="020B0604020202020204" pitchFamily="34" charset="0"/>
              </a:rPr>
              <a:t>Points are unit-less</a:t>
            </a:r>
          </a:p>
        </p:txBody>
      </p:sp>
      <p:sp>
        <p:nvSpPr>
          <p:cNvPr id="96258" name="Title 1"/>
          <p:cNvSpPr>
            <a:spLocks noGrp="1"/>
          </p:cNvSpPr>
          <p:nvPr>
            <p:ph type="title"/>
          </p:nvPr>
        </p:nvSpPr>
        <p:spPr>
          <a:xfrm>
            <a:off x="2135560" y="260648"/>
            <a:ext cx="10944225" cy="249008"/>
          </a:xfrm>
        </p:spPr>
        <p:txBody>
          <a:bodyPr/>
          <a:lstStyle/>
          <a:p>
            <a:r>
              <a:rPr lang="en-US" altLang="en-US" b="0" dirty="0"/>
              <a:t>Story points</a:t>
            </a:r>
          </a:p>
        </p:txBody>
      </p:sp>
      <p:pic>
        <p:nvPicPr>
          <p:cNvPr id="96260"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901797" y="908720"/>
            <a:ext cx="3384102" cy="216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261" name="Rectangle 5"/>
          <p:cNvSpPr>
            <a:spLocks noChangeArrowheads="1"/>
          </p:cNvSpPr>
          <p:nvPr/>
        </p:nvSpPr>
        <p:spPr bwMode="auto">
          <a:xfrm>
            <a:off x="7105473" y="1332811"/>
            <a:ext cx="2734943"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r>
              <a:rPr lang="en-US" altLang="en-US" sz="2000" dirty="0">
                <a:latin typeface="Comic Sans MS" panose="030F0702030302020204" pitchFamily="66" charset="0"/>
              </a:rPr>
              <a:t>As a user, I want to be able to have some but not all items in my cart gift wrapped.</a:t>
            </a:r>
          </a:p>
        </p:txBody>
      </p:sp>
    </p:spTree>
    <p:extLst>
      <p:ext uri="{BB962C8B-B14F-4D97-AF65-F5344CB8AC3E}">
        <p14:creationId xmlns:p14="http://schemas.microsoft.com/office/powerpoint/2010/main" val="113013399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7" name="Content Placeholder 2"/>
          <p:cNvSpPr>
            <a:spLocks noGrp="1"/>
          </p:cNvSpPr>
          <p:nvPr>
            <p:ph sz="quarter" idx="14"/>
          </p:nvPr>
        </p:nvSpPr>
        <p:spPr>
          <a:xfrm>
            <a:off x="1775767" y="2132856"/>
            <a:ext cx="8640468" cy="3888432"/>
          </a:xfrm>
        </p:spPr>
        <p:txBody>
          <a:bodyPr/>
          <a:lstStyle/>
          <a:p>
            <a:pPr marL="342900" indent="-342900" eaLnBrk="1" hangingPunct="1">
              <a:buFont typeface="Arial" panose="020B0604020202020204" pitchFamily="34" charset="0"/>
              <a:buChar char="•"/>
            </a:pPr>
            <a:r>
              <a:rPr lang="en-US" altLang="en-US" sz="1600" dirty="0">
                <a:latin typeface="Arial" panose="020B0604020202020204" pitchFamily="34" charset="0"/>
              </a:rPr>
              <a:t>Story points help drive cross-functional behavior</a:t>
            </a:r>
          </a:p>
          <a:p>
            <a:pPr marL="342900" indent="-342900" eaLnBrk="1" hangingPunct="1">
              <a:buFont typeface="Arial" panose="020B0604020202020204" pitchFamily="34" charset="0"/>
              <a:buChar char="•"/>
            </a:pPr>
            <a:r>
              <a:rPr lang="en-US" altLang="en-US" sz="1600" dirty="0">
                <a:latin typeface="Arial" panose="020B0604020202020204" pitchFamily="34" charset="0"/>
              </a:rPr>
              <a:t>Story point estimates do not decay</a:t>
            </a:r>
          </a:p>
          <a:p>
            <a:pPr marL="342900" indent="-342900" eaLnBrk="1" hangingPunct="1">
              <a:buFont typeface="Arial" panose="020B0604020202020204" pitchFamily="34" charset="0"/>
              <a:buChar char="•"/>
            </a:pPr>
            <a:r>
              <a:rPr lang="en-US" altLang="en-US" sz="1600" dirty="0">
                <a:latin typeface="Arial" panose="020B0604020202020204" pitchFamily="34" charset="0"/>
              </a:rPr>
              <a:t>Story points are a pure measure of size</a:t>
            </a:r>
          </a:p>
          <a:p>
            <a:pPr marL="342900" indent="-342900" eaLnBrk="1" hangingPunct="1">
              <a:buFont typeface="Arial" panose="020B0604020202020204" pitchFamily="34" charset="0"/>
              <a:buChar char="•"/>
            </a:pPr>
            <a:r>
              <a:rPr lang="en-US" altLang="en-US" sz="1600" dirty="0">
                <a:latin typeface="Arial" panose="020B0604020202020204" pitchFamily="34" charset="0"/>
              </a:rPr>
              <a:t>Estimating in story points is typically faster</a:t>
            </a:r>
          </a:p>
          <a:p>
            <a:pPr marL="342900" indent="-342900" eaLnBrk="1" hangingPunct="1">
              <a:buFont typeface="Arial" panose="020B0604020202020204" pitchFamily="34" charset="0"/>
              <a:buChar char="•"/>
            </a:pPr>
            <a:r>
              <a:rPr lang="en-US" altLang="en-US" sz="1600" dirty="0">
                <a:latin typeface="Arial" panose="020B0604020202020204" pitchFamily="34" charset="0"/>
              </a:rPr>
              <a:t>My ideal days cannot be added to your ideal days</a:t>
            </a:r>
          </a:p>
          <a:p>
            <a:pPr marL="342900" indent="-342900" eaLnBrk="1" hangingPunct="1">
              <a:buFont typeface="Arial" panose="020B0604020202020204" pitchFamily="34" charset="0"/>
              <a:buChar char="•"/>
            </a:pPr>
            <a:r>
              <a:rPr lang="en-US" altLang="en-US" sz="1600" dirty="0">
                <a:latin typeface="Arial" panose="020B0604020202020204" pitchFamily="34" charset="0"/>
              </a:rPr>
              <a:t>Ideal days are easier to explain outside the team</a:t>
            </a:r>
          </a:p>
          <a:p>
            <a:pPr marL="342900" indent="-342900" eaLnBrk="1" hangingPunct="1">
              <a:buFont typeface="Arial" panose="020B0604020202020204" pitchFamily="34" charset="0"/>
              <a:buChar char="•"/>
            </a:pPr>
            <a:r>
              <a:rPr lang="en-US" altLang="en-US" sz="1600" dirty="0">
                <a:latin typeface="Arial" panose="020B0604020202020204" pitchFamily="34" charset="0"/>
              </a:rPr>
              <a:t>Ideal days are easier to estimate at first</a:t>
            </a:r>
          </a:p>
          <a:p>
            <a:pPr marL="342900" indent="-342900" eaLnBrk="1" hangingPunct="1">
              <a:buFont typeface="Arial" panose="020B0604020202020204" pitchFamily="34" charset="0"/>
              <a:buChar char="•"/>
            </a:pPr>
            <a:r>
              <a:rPr lang="en-US" altLang="en-US" sz="1600" dirty="0">
                <a:latin typeface="Arial" panose="020B0604020202020204" pitchFamily="34" charset="0"/>
              </a:rPr>
              <a:t>Ideal days can force companies to confront time wasting activities</a:t>
            </a:r>
          </a:p>
        </p:txBody>
      </p:sp>
      <p:sp>
        <p:nvSpPr>
          <p:cNvPr id="98306" name="Title 1"/>
          <p:cNvSpPr>
            <a:spLocks noGrp="1"/>
          </p:cNvSpPr>
          <p:nvPr>
            <p:ph type="title"/>
          </p:nvPr>
        </p:nvSpPr>
        <p:spPr>
          <a:xfrm>
            <a:off x="1775767" y="764704"/>
            <a:ext cx="9648825" cy="249008"/>
          </a:xfrm>
        </p:spPr>
        <p:txBody>
          <a:bodyPr/>
          <a:lstStyle/>
          <a:p>
            <a:pPr eaLnBrk="1" hangingPunct="1"/>
            <a:r>
              <a:rPr lang="en-US" altLang="en-US" b="0" dirty="0">
                <a:latin typeface="Arial" panose="020B0604020202020204" pitchFamily="34" charset="0"/>
              </a:rPr>
              <a:t>Comparing the approaches</a:t>
            </a:r>
          </a:p>
        </p:txBody>
      </p:sp>
      <p:pic>
        <p:nvPicPr>
          <p:cNvPr id="29700" name="Picture 4" descr="Image result for story points"/>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08168" y="404664"/>
            <a:ext cx="3960440" cy="25595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896760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3" name="Content Placeholder 2"/>
          <p:cNvSpPr>
            <a:spLocks noGrp="1"/>
          </p:cNvSpPr>
          <p:nvPr>
            <p:ph sz="quarter" idx="14"/>
          </p:nvPr>
        </p:nvSpPr>
        <p:spPr>
          <a:xfrm>
            <a:off x="2091111" y="1654285"/>
            <a:ext cx="8351410" cy="4943067"/>
          </a:xfrm>
        </p:spPr>
        <p:txBody>
          <a:bodyPr/>
          <a:lstStyle/>
          <a:p>
            <a:pPr eaLnBrk="1" hangingPunct="1"/>
            <a:r>
              <a:rPr lang="en-US" altLang="en-US" sz="2000" dirty="0">
                <a:latin typeface="Arial" panose="020B0604020202020204" pitchFamily="34" charset="0"/>
              </a:rPr>
              <a:t>Can you distinguish a 1-point story from a 2?</a:t>
            </a:r>
          </a:p>
          <a:p>
            <a:pPr lvl="1" eaLnBrk="1" hangingPunct="1"/>
            <a:r>
              <a:rPr lang="en-US" altLang="en-US" sz="1800" dirty="0">
                <a:latin typeface="Arial" panose="020B0604020202020204" pitchFamily="34" charset="0"/>
              </a:rPr>
              <a:t>How about a 17 from an 18?</a:t>
            </a:r>
          </a:p>
          <a:p>
            <a:pPr eaLnBrk="1" hangingPunct="1"/>
            <a:r>
              <a:rPr lang="en-US" altLang="en-US" sz="2000" dirty="0">
                <a:latin typeface="Arial" panose="020B0604020202020204" pitchFamily="34" charset="0"/>
              </a:rPr>
              <a:t>Use a set of numbers that make sense; I like:</a:t>
            </a:r>
          </a:p>
          <a:p>
            <a:pPr lvl="1" eaLnBrk="1" hangingPunct="1"/>
            <a:r>
              <a:rPr lang="en-US" altLang="en-US" sz="1800" dirty="0">
                <a:latin typeface="Arial" panose="020B0604020202020204" pitchFamily="34" charset="0"/>
              </a:rPr>
              <a:t>1, 2, 3, 5, 8, 13</a:t>
            </a:r>
          </a:p>
          <a:p>
            <a:pPr eaLnBrk="1" hangingPunct="1"/>
            <a:r>
              <a:rPr lang="en-US" altLang="en-US" sz="2000" dirty="0">
                <a:latin typeface="Arial" panose="020B0604020202020204" pitchFamily="34" charset="0"/>
              </a:rPr>
              <a:t>Stay mostly in a 1-10 range</a:t>
            </a:r>
          </a:p>
          <a:p>
            <a:pPr eaLnBrk="1" hangingPunct="1"/>
            <a:endParaRPr lang="en-US" altLang="en-US" sz="2000" dirty="0">
              <a:latin typeface="Arial" panose="020B0604020202020204" pitchFamily="34" charset="0"/>
            </a:endParaRPr>
          </a:p>
          <a:p>
            <a:pPr eaLnBrk="1" hangingPunct="1"/>
            <a:r>
              <a:rPr lang="en-US" altLang="en-US" sz="2000" dirty="0">
                <a:latin typeface="Arial" panose="020B0604020202020204" pitchFamily="34" charset="0"/>
              </a:rPr>
              <a:t>Nature agrees:</a:t>
            </a:r>
          </a:p>
          <a:p>
            <a:pPr lvl="1" eaLnBrk="1" hangingPunct="1"/>
            <a:r>
              <a:rPr lang="en-US" altLang="en-US" sz="1800" dirty="0">
                <a:latin typeface="Arial" panose="020B0604020202020204" pitchFamily="34" charset="0"/>
              </a:rPr>
              <a:t>Musical tones and volume are distinguishable on a logarithmic scale</a:t>
            </a:r>
          </a:p>
        </p:txBody>
      </p:sp>
      <p:sp>
        <p:nvSpPr>
          <p:cNvPr id="102402" name="Title 1"/>
          <p:cNvSpPr>
            <a:spLocks noGrp="1"/>
          </p:cNvSpPr>
          <p:nvPr>
            <p:ph type="title"/>
          </p:nvPr>
        </p:nvSpPr>
        <p:spPr>
          <a:xfrm>
            <a:off x="2090021" y="537487"/>
            <a:ext cx="7966420" cy="249008"/>
          </a:xfrm>
        </p:spPr>
        <p:txBody>
          <a:bodyPr/>
          <a:lstStyle/>
          <a:p>
            <a:pPr eaLnBrk="1" hangingPunct="1"/>
            <a:r>
              <a:rPr lang="en-US" altLang="en-US" b="0" dirty="0">
                <a:latin typeface="Arial" panose="020B0604020202020204" pitchFamily="34" charset="0"/>
              </a:rPr>
              <a:t>Use the right units</a:t>
            </a:r>
          </a:p>
        </p:txBody>
      </p:sp>
      <p:grpSp>
        <p:nvGrpSpPr>
          <p:cNvPr id="2" name="Group 5"/>
          <p:cNvGrpSpPr>
            <a:grpSpLocks/>
          </p:cNvGrpSpPr>
          <p:nvPr/>
        </p:nvGrpSpPr>
        <p:grpSpPr bwMode="auto">
          <a:xfrm>
            <a:off x="9408368" y="2890422"/>
            <a:ext cx="2304256" cy="1944216"/>
            <a:chOff x="6527800" y="3505200"/>
            <a:chExt cx="2989788" cy="2355850"/>
          </a:xfrm>
        </p:grpSpPr>
        <p:pic>
          <p:nvPicPr>
            <p:cNvPr id="102405"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27800" y="3505200"/>
              <a:ext cx="2989788" cy="235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06" name="TextBox 4"/>
            <p:cNvSpPr txBox="1">
              <a:spLocks noChangeArrowheads="1"/>
            </p:cNvSpPr>
            <p:nvPr/>
          </p:nvSpPr>
          <p:spPr bwMode="auto">
            <a:xfrm>
              <a:off x="6527800" y="3886200"/>
              <a:ext cx="2591255"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400" strike="sngStrike" dirty="0">
                  <a:latin typeface="Comic Sans MS" panose="030F0702030302020204" pitchFamily="66" charset="0"/>
                </a:rPr>
                <a:t>Use 0 and ½ if you like</a:t>
              </a:r>
            </a:p>
          </p:txBody>
        </p:sp>
      </p:grpSp>
      <p:pic>
        <p:nvPicPr>
          <p:cNvPr id="7" name="Picture 2" descr="Image result for story point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76320" y="332656"/>
            <a:ext cx="2880320" cy="2208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434824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slide(fromBottom)">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9</a:t>
            </a:fld>
            <a:endParaRPr lang="en-US" dirty="0"/>
          </a:p>
        </p:txBody>
      </p:sp>
      <p:sp>
        <p:nvSpPr>
          <p:cNvPr id="12" name="Title 1"/>
          <p:cNvSpPr>
            <a:spLocks noGrp="1"/>
          </p:cNvSpPr>
          <p:nvPr>
            <p:ph type="title"/>
          </p:nvPr>
        </p:nvSpPr>
        <p:spPr>
          <a:xfrm>
            <a:off x="1415480" y="476672"/>
            <a:ext cx="5715000" cy="249008"/>
          </a:xfrm>
        </p:spPr>
        <p:txBody>
          <a:bodyPr/>
          <a:lstStyle/>
          <a:p>
            <a:r>
              <a:rPr lang="en-US" b="0" dirty="0"/>
              <a:t>Agile Values</a:t>
            </a:r>
          </a:p>
        </p:txBody>
      </p:sp>
      <p:sp>
        <p:nvSpPr>
          <p:cNvPr id="13" name="Content Placeholder 2"/>
          <p:cNvSpPr>
            <a:spLocks noGrp="1"/>
          </p:cNvSpPr>
          <p:nvPr>
            <p:ph idx="4294967295"/>
          </p:nvPr>
        </p:nvSpPr>
        <p:spPr>
          <a:xfrm>
            <a:off x="1415480" y="1268760"/>
            <a:ext cx="6534727" cy="4643011"/>
          </a:xfrm>
          <a:prstGeom prst="rect">
            <a:avLst/>
          </a:prstGeom>
          <a:solidFill>
            <a:srgbClr val="FFFFFF"/>
          </a:solidFill>
        </p:spPr>
        <p:txBody>
          <a:bodyPr/>
          <a:lstStyle/>
          <a:p>
            <a:r>
              <a:rPr lang="en-US" dirty="0"/>
              <a:t>Values are the foundation for all the activities and artifacts for a project following an Agile methodology. </a:t>
            </a:r>
          </a:p>
          <a:p>
            <a:endParaRPr lang="en-US" dirty="0"/>
          </a:p>
          <a:p>
            <a:pPr>
              <a:buFont typeface="Wingdings" charset="2"/>
              <a:buChar char="ü"/>
            </a:pPr>
            <a:r>
              <a:rPr lang="en-US" sz="1050" dirty="0"/>
              <a:t>Agile Values</a:t>
            </a:r>
          </a:p>
          <a:p>
            <a:pPr marL="264319" lvl="1">
              <a:buClr>
                <a:srgbClr val="FF6600"/>
              </a:buClr>
            </a:pPr>
            <a:r>
              <a:rPr lang="en-US" sz="900" dirty="0"/>
              <a:t>Commitment – the team committing to deliver functionality to the business by or before the end of their time box or quoted cycle time </a:t>
            </a:r>
          </a:p>
          <a:p>
            <a:pPr marL="264319" lvl="1">
              <a:buClr>
                <a:srgbClr val="FF6600"/>
              </a:buClr>
            </a:pPr>
            <a:r>
              <a:rPr lang="en-US" sz="900" dirty="0"/>
              <a:t>Courage – the courage to speak up even when a situation becomes uncomfortable</a:t>
            </a:r>
          </a:p>
          <a:p>
            <a:pPr marL="264319" lvl="1">
              <a:buClr>
                <a:srgbClr val="FF6600"/>
              </a:buClr>
            </a:pPr>
            <a:r>
              <a:rPr lang="en-US" sz="900" dirty="0"/>
              <a:t>Respect – treat individuals &amp; organizations with respect</a:t>
            </a:r>
          </a:p>
          <a:p>
            <a:pPr marL="264319" lvl="1">
              <a:buClr>
                <a:srgbClr val="FF6600"/>
              </a:buClr>
            </a:pPr>
            <a:r>
              <a:rPr lang="en-US" sz="900" dirty="0"/>
              <a:t>Openness – working in a way that issues, risks, successes &amp; failures are open to peers and management</a:t>
            </a:r>
          </a:p>
          <a:p>
            <a:pPr marL="264319" lvl="1">
              <a:buClr>
                <a:srgbClr val="FF6600"/>
              </a:buClr>
            </a:pPr>
            <a:r>
              <a:rPr lang="en-US" sz="900" dirty="0"/>
              <a:t>Focus – on the critical path</a:t>
            </a:r>
          </a:p>
          <a:p>
            <a:pPr lvl="1"/>
            <a:endParaRPr lang="en-US" sz="900" dirty="0"/>
          </a:p>
          <a:p>
            <a:pPr>
              <a:buFont typeface="Wingdings" charset="2"/>
              <a:buChar char="ü"/>
            </a:pPr>
            <a:r>
              <a:rPr lang="en-US" sz="1050" dirty="0"/>
              <a:t>Scrum Values</a:t>
            </a:r>
          </a:p>
          <a:p>
            <a:pPr marL="254794" lvl="1">
              <a:buClr>
                <a:srgbClr val="FF6600"/>
              </a:buClr>
            </a:pPr>
            <a:r>
              <a:rPr lang="en-US" sz="900" dirty="0"/>
              <a:t>Transparency – all work is performed in a transparent manner</a:t>
            </a:r>
          </a:p>
          <a:p>
            <a:pPr marL="254794" lvl="1">
              <a:buClr>
                <a:srgbClr val="FF6600"/>
              </a:buClr>
            </a:pPr>
            <a:r>
              <a:rPr lang="en-US" sz="900" dirty="0"/>
              <a:t>Inspection – review the team’s performance and their process at cadence checkpoints</a:t>
            </a:r>
          </a:p>
          <a:p>
            <a:pPr marL="254794" lvl="1">
              <a:buClr>
                <a:srgbClr val="FF6600"/>
              </a:buClr>
            </a:pPr>
            <a:r>
              <a:rPr lang="en-US" sz="900" dirty="0"/>
              <a:t>Adaptation – make adjustments to improve team performance or streamline the process</a:t>
            </a:r>
          </a:p>
          <a:p>
            <a:pPr lvl="1"/>
            <a:endParaRPr lang="en-US" sz="900" dirty="0"/>
          </a:p>
          <a:p>
            <a:pPr>
              <a:buFont typeface="Wingdings" charset="2"/>
              <a:buChar char="ü"/>
            </a:pPr>
            <a:r>
              <a:rPr lang="en-US" sz="1050" dirty="0"/>
              <a:t>XP Values</a:t>
            </a:r>
          </a:p>
          <a:p>
            <a:pPr marL="264319" lvl="1">
              <a:buClr>
                <a:srgbClr val="FF6600"/>
              </a:buClr>
            </a:pPr>
            <a:r>
              <a:rPr lang="en-US" sz="900" dirty="0"/>
              <a:t>Trust – between team members, between the team and the business, between the team and management</a:t>
            </a:r>
          </a:p>
          <a:p>
            <a:pPr marL="264319" lvl="1">
              <a:buClr>
                <a:srgbClr val="FF6600"/>
              </a:buClr>
            </a:pPr>
            <a:r>
              <a:rPr lang="en-US" sz="900" dirty="0"/>
              <a:t>Simplicity – focus on the simplest design first and iterate to increase complexity</a:t>
            </a:r>
          </a:p>
          <a:p>
            <a:pPr marL="264319" lvl="1">
              <a:buClr>
                <a:srgbClr val="FF6600"/>
              </a:buClr>
            </a:pPr>
            <a:r>
              <a:rPr lang="en-US" sz="900" dirty="0"/>
              <a:t>Feedback – seek out feedback from stakeholders and end users frequently</a:t>
            </a:r>
          </a:p>
          <a:p>
            <a:pPr marL="264319" lvl="1"/>
            <a:endParaRPr lang="en-US" sz="900" dirty="0"/>
          </a:p>
        </p:txBody>
      </p:sp>
      <p:sp>
        <p:nvSpPr>
          <p:cNvPr id="16" name="Right Brace 15"/>
          <p:cNvSpPr/>
          <p:nvPr/>
        </p:nvSpPr>
        <p:spPr bwMode="auto">
          <a:xfrm>
            <a:off x="8040216" y="2156892"/>
            <a:ext cx="224598" cy="3510390"/>
          </a:xfrm>
          <a:prstGeom prst="rightBrace">
            <a:avLst/>
          </a:prstGeom>
          <a:no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eaLnBrk="0" fontAlgn="base" hangingPunct="0">
              <a:spcBef>
                <a:spcPct val="0"/>
              </a:spcBef>
              <a:spcAft>
                <a:spcPct val="0"/>
              </a:spcAft>
            </a:pPr>
            <a:endParaRPr lang="en-US" b="1">
              <a:latin typeface="Arial" pitchFamily="-12" charset="0"/>
              <a:ea typeface="ＭＳ Ｐゴシック" pitchFamily="-12" charset="-128"/>
              <a:cs typeface="ＭＳ Ｐゴシック" pitchFamily="-12" charset="-128"/>
            </a:endParaRPr>
          </a:p>
        </p:txBody>
      </p:sp>
      <p:pic>
        <p:nvPicPr>
          <p:cNvPr id="33796" name="Picture 4" descr="Image result for principles"/>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5575" y="-8275638"/>
            <a:ext cx="1655674" cy="1103376"/>
          </a:xfrm>
          <a:prstGeom prst="rect">
            <a:avLst/>
          </a:prstGeom>
          <a:noFill/>
          <a:extLst>
            <a:ext uri="{909E8E84-426E-40DD-AFC4-6F175D3DCCD1}">
              <a14:hiddenFill xmlns:a14="http://schemas.microsoft.com/office/drawing/2010/main">
                <a:solidFill>
                  <a:srgbClr val="FFFFFF"/>
                </a:solidFill>
              </a14:hiddenFill>
            </a:ext>
          </a:extLst>
        </p:spPr>
      </p:pic>
      <p:pic>
        <p:nvPicPr>
          <p:cNvPr id="33798"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66580" y="2853137"/>
            <a:ext cx="2826093" cy="21178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554261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7" name="Content Placeholder 2"/>
          <p:cNvSpPr>
            <a:spLocks noGrp="1"/>
          </p:cNvSpPr>
          <p:nvPr>
            <p:ph sz="quarter" idx="14"/>
          </p:nvPr>
        </p:nvSpPr>
        <p:spPr>
          <a:xfrm>
            <a:off x="2423592" y="1657640"/>
            <a:ext cx="7128295" cy="4608511"/>
          </a:xfrm>
        </p:spPr>
        <p:txBody>
          <a:bodyPr/>
          <a:lstStyle/>
          <a:p>
            <a:pPr eaLnBrk="1" hangingPunct="1"/>
            <a:r>
              <a:rPr lang="en-US" altLang="en-US" sz="1800" dirty="0">
                <a:latin typeface="Arial" panose="020B0604020202020204" pitchFamily="34" charset="0"/>
              </a:rPr>
              <a:t>An iterative approach to estimating</a:t>
            </a:r>
          </a:p>
          <a:p>
            <a:pPr eaLnBrk="1" hangingPunct="1"/>
            <a:r>
              <a:rPr lang="en-US" altLang="en-US" sz="1800" dirty="0">
                <a:latin typeface="Arial" panose="020B0604020202020204" pitchFamily="34" charset="0"/>
              </a:rPr>
              <a:t>Steps</a:t>
            </a:r>
          </a:p>
          <a:p>
            <a:pPr eaLnBrk="1" hangingPunct="1"/>
            <a:endParaRPr lang="en-US" altLang="en-US" sz="1800" dirty="0">
              <a:latin typeface="Arial" panose="020B0604020202020204" pitchFamily="34" charset="0"/>
            </a:endParaRPr>
          </a:p>
          <a:p>
            <a:pPr lvl="1" eaLnBrk="1" hangingPunct="1"/>
            <a:r>
              <a:rPr lang="en-US" altLang="en-US" sz="1600" dirty="0">
                <a:latin typeface="Arial" panose="020B0604020202020204" pitchFamily="34" charset="0"/>
              </a:rPr>
              <a:t>Each estimator is given a deck of cards, each card has a valid estimate written on it</a:t>
            </a:r>
          </a:p>
          <a:p>
            <a:pPr lvl="1" eaLnBrk="1" hangingPunct="1"/>
            <a:r>
              <a:rPr lang="en-US" altLang="en-US" sz="1600" dirty="0">
                <a:latin typeface="Arial" panose="020B0604020202020204" pitchFamily="34" charset="0"/>
              </a:rPr>
              <a:t>Customer/Product owner reads a story and it’s discussed briefly</a:t>
            </a:r>
          </a:p>
          <a:p>
            <a:pPr lvl="1" eaLnBrk="1" hangingPunct="1"/>
            <a:r>
              <a:rPr lang="en-US" altLang="en-US" sz="1600" dirty="0">
                <a:latin typeface="Arial" panose="020B0604020202020204" pitchFamily="34" charset="0"/>
              </a:rPr>
              <a:t>Each estimator selects a card that’s his or her estimate</a:t>
            </a:r>
          </a:p>
          <a:p>
            <a:pPr lvl="1" eaLnBrk="1" hangingPunct="1"/>
            <a:r>
              <a:rPr lang="en-US" altLang="en-US" sz="1600" dirty="0">
                <a:latin typeface="Arial" panose="020B0604020202020204" pitchFamily="34" charset="0"/>
              </a:rPr>
              <a:t>Cards are turned over so all can see them</a:t>
            </a:r>
          </a:p>
          <a:p>
            <a:pPr lvl="1" eaLnBrk="1" hangingPunct="1"/>
            <a:r>
              <a:rPr lang="en-US" altLang="en-US" sz="1600" dirty="0">
                <a:latin typeface="Arial" panose="020B0604020202020204" pitchFamily="34" charset="0"/>
              </a:rPr>
              <a:t>Discuss differences (especially outliers)</a:t>
            </a:r>
          </a:p>
          <a:p>
            <a:pPr lvl="1" eaLnBrk="1" hangingPunct="1"/>
            <a:r>
              <a:rPr lang="en-US" altLang="en-US" sz="1600" dirty="0">
                <a:latin typeface="Arial" panose="020B0604020202020204" pitchFamily="34" charset="0"/>
              </a:rPr>
              <a:t>Re-estimate until estimates converge</a:t>
            </a:r>
          </a:p>
        </p:txBody>
      </p:sp>
      <p:sp>
        <p:nvSpPr>
          <p:cNvPr id="103426" name="Title 1"/>
          <p:cNvSpPr>
            <a:spLocks noGrp="1"/>
          </p:cNvSpPr>
          <p:nvPr>
            <p:ph type="title"/>
          </p:nvPr>
        </p:nvSpPr>
        <p:spPr>
          <a:xfrm>
            <a:off x="2423593" y="476672"/>
            <a:ext cx="9433048" cy="249008"/>
          </a:xfrm>
        </p:spPr>
        <p:txBody>
          <a:bodyPr/>
          <a:lstStyle/>
          <a:p>
            <a:pPr eaLnBrk="1" hangingPunct="1"/>
            <a:r>
              <a:rPr lang="en-US" altLang="en-US" b="0" dirty="0">
                <a:latin typeface="Arial" panose="020B0604020202020204" pitchFamily="34" charset="0"/>
              </a:rPr>
              <a:t>Planning poker</a:t>
            </a:r>
          </a:p>
        </p:txBody>
      </p:sp>
      <p:pic>
        <p:nvPicPr>
          <p:cNvPr id="103428"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36360" y="1052736"/>
            <a:ext cx="2286000"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4412857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Title 1"/>
          <p:cNvSpPr>
            <a:spLocks noGrp="1"/>
          </p:cNvSpPr>
          <p:nvPr>
            <p:ph type="title"/>
          </p:nvPr>
        </p:nvSpPr>
        <p:spPr>
          <a:xfrm>
            <a:off x="2800420" y="218395"/>
            <a:ext cx="7136060" cy="249008"/>
          </a:xfrm>
        </p:spPr>
        <p:txBody>
          <a:bodyPr/>
          <a:lstStyle/>
          <a:p>
            <a:pPr eaLnBrk="1" hangingPunct="1"/>
            <a:r>
              <a:rPr lang="en-US" altLang="en-US" b="0" dirty="0">
                <a:latin typeface="Arial" panose="020B0604020202020204" pitchFamily="34" charset="0"/>
              </a:rPr>
              <a:t>Planning poker—an example</a:t>
            </a:r>
          </a:p>
        </p:txBody>
      </p:sp>
      <p:pic>
        <p:nvPicPr>
          <p:cNvPr id="104451"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97284" y="1160114"/>
            <a:ext cx="2887236" cy="22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a:spLocks noChangeArrowheads="1"/>
          </p:cNvSpPr>
          <p:nvPr/>
        </p:nvSpPr>
        <p:spPr bwMode="auto">
          <a:xfrm>
            <a:off x="5684520" y="3429000"/>
            <a:ext cx="1783080" cy="685800"/>
          </a:xfrm>
          <a:prstGeom prst="rect">
            <a:avLst/>
          </a:prstGeom>
          <a:gradFill rotWithShape="1">
            <a:gsLst>
              <a:gs pos="0">
                <a:srgbClr val="ECF0EC"/>
              </a:gs>
              <a:gs pos="64999">
                <a:srgbClr val="CCD8CE"/>
              </a:gs>
              <a:gs pos="100000">
                <a:srgbClr val="B6C8B8"/>
              </a:gs>
            </a:gsLst>
            <a:lin ang="5400000" scaled="1"/>
          </a:gra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GB" sz="2000" dirty="0"/>
              <a:t>Jean-Luc</a:t>
            </a:r>
            <a:endParaRPr lang="en-US" altLang="en-US" sz="2000" dirty="0">
              <a:solidFill>
                <a:schemeClr val="tx1"/>
              </a:solidFill>
              <a:latin typeface="Arial" panose="020B0604020202020204" pitchFamily="34" charset="0"/>
              <a:cs typeface="Arial" panose="020B0604020202020204" pitchFamily="34" charset="0"/>
            </a:endParaRPr>
          </a:p>
        </p:txBody>
      </p:sp>
      <p:sp>
        <p:nvSpPr>
          <p:cNvPr id="8" name="Rectangle 7"/>
          <p:cNvSpPr>
            <a:spLocks noChangeArrowheads="1"/>
          </p:cNvSpPr>
          <p:nvPr/>
        </p:nvSpPr>
        <p:spPr bwMode="auto">
          <a:xfrm>
            <a:off x="5684520" y="4114800"/>
            <a:ext cx="1783080" cy="685800"/>
          </a:xfrm>
          <a:prstGeom prst="rect">
            <a:avLst/>
          </a:prstGeom>
          <a:gradFill rotWithShape="1">
            <a:gsLst>
              <a:gs pos="0">
                <a:srgbClr val="ECF0EC"/>
              </a:gs>
              <a:gs pos="64999">
                <a:srgbClr val="CCD8CE"/>
              </a:gs>
              <a:gs pos="100000">
                <a:srgbClr val="B6C8B8"/>
              </a:gs>
            </a:gsLst>
            <a:lin ang="5400000" scaled="1"/>
          </a:gra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000" dirty="0">
                <a:solidFill>
                  <a:schemeClr val="tx1"/>
                </a:solidFill>
                <a:latin typeface="Arial" panose="020B0604020202020204" pitchFamily="34" charset="0"/>
                <a:cs typeface="Arial" panose="020B0604020202020204" pitchFamily="34" charset="0"/>
              </a:rPr>
              <a:t>Xavier Rouault</a:t>
            </a:r>
          </a:p>
        </p:txBody>
      </p:sp>
      <p:sp>
        <p:nvSpPr>
          <p:cNvPr id="9" name="Rectangle 8"/>
          <p:cNvSpPr>
            <a:spLocks noChangeArrowheads="1"/>
          </p:cNvSpPr>
          <p:nvPr/>
        </p:nvSpPr>
        <p:spPr bwMode="auto">
          <a:xfrm>
            <a:off x="5684520" y="4800600"/>
            <a:ext cx="1783080" cy="685800"/>
          </a:xfrm>
          <a:prstGeom prst="rect">
            <a:avLst/>
          </a:prstGeom>
          <a:gradFill rotWithShape="1">
            <a:gsLst>
              <a:gs pos="0">
                <a:srgbClr val="ECF0EC"/>
              </a:gs>
              <a:gs pos="64999">
                <a:srgbClr val="CCD8CE"/>
              </a:gs>
              <a:gs pos="100000">
                <a:srgbClr val="B6C8B8"/>
              </a:gs>
            </a:gsLst>
            <a:lin ang="5400000" scaled="1"/>
          </a:gra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r>
              <a:rPr lang="en-GB" sz="2000" dirty="0"/>
              <a:t>Sylvain Vernier</a:t>
            </a:r>
          </a:p>
        </p:txBody>
      </p:sp>
      <p:sp>
        <p:nvSpPr>
          <p:cNvPr id="10" name="Rectangle 9"/>
          <p:cNvSpPr>
            <a:spLocks noChangeArrowheads="1"/>
          </p:cNvSpPr>
          <p:nvPr/>
        </p:nvSpPr>
        <p:spPr bwMode="auto">
          <a:xfrm>
            <a:off x="5684520" y="5486400"/>
            <a:ext cx="1783080" cy="685800"/>
          </a:xfrm>
          <a:prstGeom prst="rect">
            <a:avLst/>
          </a:prstGeom>
          <a:gradFill rotWithShape="1">
            <a:gsLst>
              <a:gs pos="0">
                <a:srgbClr val="ECF0EC"/>
              </a:gs>
              <a:gs pos="64999">
                <a:srgbClr val="CCD8CE"/>
              </a:gs>
              <a:gs pos="100000">
                <a:srgbClr val="B6C8B8"/>
              </a:gs>
            </a:gsLst>
            <a:lin ang="5400000" scaled="1"/>
          </a:gra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r>
              <a:rPr lang="en-US" altLang="en-US" sz="2000" dirty="0">
                <a:solidFill>
                  <a:schemeClr val="tx1"/>
                </a:solidFill>
                <a:latin typeface="Arial" panose="020B0604020202020204" pitchFamily="34" charset="0"/>
                <a:cs typeface="Arial" panose="020B0604020202020204" pitchFamily="34" charset="0"/>
              </a:rPr>
              <a:t>Rene </a:t>
            </a:r>
          </a:p>
        </p:txBody>
      </p:sp>
      <p:sp>
        <p:nvSpPr>
          <p:cNvPr id="11" name="Rectangle 10"/>
          <p:cNvSpPr>
            <a:spLocks noChangeArrowheads="1"/>
          </p:cNvSpPr>
          <p:nvPr/>
        </p:nvSpPr>
        <p:spPr bwMode="auto">
          <a:xfrm>
            <a:off x="7467600" y="3429000"/>
            <a:ext cx="1234440" cy="685800"/>
          </a:xfrm>
          <a:prstGeom prst="rect">
            <a:avLst/>
          </a:prstGeom>
          <a:solidFill>
            <a:schemeClr val="bg1"/>
          </a:soli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solidFill>
                  <a:schemeClr val="tx1"/>
                </a:solidFill>
                <a:latin typeface="Arial" panose="020B0604020202020204" pitchFamily="34" charset="0"/>
                <a:cs typeface="Arial" panose="020B0604020202020204" pitchFamily="34" charset="0"/>
              </a:rPr>
              <a:t>3</a:t>
            </a:r>
          </a:p>
        </p:txBody>
      </p:sp>
      <p:sp>
        <p:nvSpPr>
          <p:cNvPr id="12" name="Rectangle 11"/>
          <p:cNvSpPr>
            <a:spLocks noChangeArrowheads="1"/>
          </p:cNvSpPr>
          <p:nvPr/>
        </p:nvSpPr>
        <p:spPr bwMode="auto">
          <a:xfrm>
            <a:off x="7467600" y="4114800"/>
            <a:ext cx="1234440" cy="685800"/>
          </a:xfrm>
          <a:prstGeom prst="rect">
            <a:avLst/>
          </a:prstGeom>
          <a:solidFill>
            <a:schemeClr val="bg1"/>
          </a:soli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solidFill>
                  <a:schemeClr val="tx1"/>
                </a:solidFill>
                <a:latin typeface="Arial" panose="020B0604020202020204" pitchFamily="34" charset="0"/>
                <a:cs typeface="Arial" panose="020B0604020202020204" pitchFamily="34" charset="0"/>
              </a:rPr>
              <a:t>8</a:t>
            </a:r>
          </a:p>
        </p:txBody>
      </p:sp>
      <p:sp>
        <p:nvSpPr>
          <p:cNvPr id="13" name="Rectangle 12"/>
          <p:cNvSpPr>
            <a:spLocks noChangeArrowheads="1"/>
          </p:cNvSpPr>
          <p:nvPr/>
        </p:nvSpPr>
        <p:spPr bwMode="auto">
          <a:xfrm>
            <a:off x="7467600" y="4800600"/>
            <a:ext cx="1234440" cy="685800"/>
          </a:xfrm>
          <a:prstGeom prst="rect">
            <a:avLst/>
          </a:prstGeom>
          <a:solidFill>
            <a:schemeClr val="bg1"/>
          </a:soli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solidFill>
                  <a:schemeClr val="tx1"/>
                </a:solidFill>
                <a:latin typeface="Arial" panose="020B0604020202020204" pitchFamily="34" charset="0"/>
                <a:cs typeface="Arial" panose="020B0604020202020204" pitchFamily="34" charset="0"/>
              </a:rPr>
              <a:t>2</a:t>
            </a:r>
          </a:p>
        </p:txBody>
      </p:sp>
      <p:sp>
        <p:nvSpPr>
          <p:cNvPr id="14" name="Rectangle 13"/>
          <p:cNvSpPr>
            <a:spLocks noChangeArrowheads="1"/>
          </p:cNvSpPr>
          <p:nvPr/>
        </p:nvSpPr>
        <p:spPr bwMode="auto">
          <a:xfrm>
            <a:off x="7467600" y="5486400"/>
            <a:ext cx="1234440" cy="685800"/>
          </a:xfrm>
          <a:prstGeom prst="rect">
            <a:avLst/>
          </a:prstGeom>
          <a:solidFill>
            <a:schemeClr val="bg1"/>
          </a:soli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solidFill>
                  <a:schemeClr val="tx1"/>
                </a:solidFill>
                <a:latin typeface="Arial" panose="020B0604020202020204" pitchFamily="34" charset="0"/>
                <a:cs typeface="Arial" panose="020B0604020202020204" pitchFamily="34" charset="0"/>
              </a:rPr>
              <a:t>5</a:t>
            </a:r>
          </a:p>
        </p:txBody>
      </p:sp>
      <p:sp>
        <p:nvSpPr>
          <p:cNvPr id="19" name="Rectangle 18"/>
          <p:cNvSpPr>
            <a:spLocks noChangeArrowheads="1"/>
          </p:cNvSpPr>
          <p:nvPr/>
        </p:nvSpPr>
        <p:spPr bwMode="auto">
          <a:xfrm>
            <a:off x="5684520" y="2743200"/>
            <a:ext cx="1783080" cy="685800"/>
          </a:xfrm>
          <a:prstGeom prst="rect">
            <a:avLst/>
          </a:prstGeom>
          <a:gradFill rotWithShape="1">
            <a:gsLst>
              <a:gs pos="0">
                <a:srgbClr val="ECF0EC"/>
              </a:gs>
              <a:gs pos="64999">
                <a:srgbClr val="CCD8CE"/>
              </a:gs>
              <a:gs pos="100000">
                <a:srgbClr val="B6C8B8"/>
              </a:gs>
            </a:gsLst>
            <a:lin ang="5400000" scaled="1"/>
          </a:gra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r>
              <a:rPr lang="en-US" altLang="en-US" sz="2160">
                <a:solidFill>
                  <a:schemeClr val="tx1"/>
                </a:solidFill>
                <a:latin typeface="Arial" panose="020B0604020202020204" pitchFamily="34" charset="0"/>
                <a:cs typeface="Arial" panose="020B0604020202020204" pitchFamily="34" charset="0"/>
              </a:rPr>
              <a:t>Estimator</a:t>
            </a:r>
          </a:p>
        </p:txBody>
      </p:sp>
      <p:sp>
        <p:nvSpPr>
          <p:cNvPr id="20" name="Rectangle 19"/>
          <p:cNvSpPr>
            <a:spLocks noChangeArrowheads="1"/>
          </p:cNvSpPr>
          <p:nvPr/>
        </p:nvSpPr>
        <p:spPr bwMode="auto">
          <a:xfrm>
            <a:off x="7467600" y="2743200"/>
            <a:ext cx="1234440" cy="685800"/>
          </a:xfrm>
          <a:prstGeom prst="rect">
            <a:avLst/>
          </a:prstGeom>
          <a:gradFill rotWithShape="1">
            <a:gsLst>
              <a:gs pos="0">
                <a:srgbClr val="ECF0EC"/>
              </a:gs>
              <a:gs pos="64999">
                <a:srgbClr val="CCD8CE"/>
              </a:gs>
              <a:gs pos="100000">
                <a:srgbClr val="B6C8B8"/>
              </a:gs>
            </a:gsLst>
            <a:lin ang="5400000" scaled="1"/>
          </a:gra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solidFill>
                  <a:schemeClr val="tx1"/>
                </a:solidFill>
                <a:latin typeface="Arial" panose="020B0604020202020204" pitchFamily="34" charset="0"/>
                <a:cs typeface="Arial" panose="020B0604020202020204" pitchFamily="34" charset="0"/>
              </a:rPr>
              <a:t>Round 1</a:t>
            </a:r>
          </a:p>
        </p:txBody>
      </p:sp>
      <p:grpSp>
        <p:nvGrpSpPr>
          <p:cNvPr id="2" name="Group 22"/>
          <p:cNvGrpSpPr>
            <a:grpSpLocks/>
          </p:cNvGrpSpPr>
          <p:nvPr/>
        </p:nvGrpSpPr>
        <p:grpSpPr bwMode="auto">
          <a:xfrm>
            <a:off x="8702040" y="2743200"/>
            <a:ext cx="1234440" cy="3429000"/>
            <a:chOff x="7975600" y="3048000"/>
            <a:chExt cx="1371600" cy="3810000"/>
          </a:xfrm>
        </p:grpSpPr>
        <p:sp>
          <p:nvSpPr>
            <p:cNvPr id="15" name="Rectangle 14"/>
            <p:cNvSpPr>
              <a:spLocks noChangeArrowheads="1"/>
            </p:cNvSpPr>
            <p:nvPr/>
          </p:nvSpPr>
          <p:spPr bwMode="auto">
            <a:xfrm>
              <a:off x="7975600" y="3810000"/>
              <a:ext cx="1371600" cy="762000"/>
            </a:xfrm>
            <a:prstGeom prst="rect">
              <a:avLst/>
            </a:prstGeom>
            <a:solidFill>
              <a:schemeClr val="bg1"/>
            </a:soli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solidFill>
                    <a:schemeClr val="tx1"/>
                  </a:solidFill>
                  <a:latin typeface="Arial" panose="020B0604020202020204" pitchFamily="34" charset="0"/>
                  <a:cs typeface="Arial" panose="020B0604020202020204" pitchFamily="34" charset="0"/>
                </a:rPr>
                <a:t>5</a:t>
              </a:r>
            </a:p>
          </p:txBody>
        </p:sp>
        <p:sp>
          <p:nvSpPr>
            <p:cNvPr id="16" name="Rectangle 15"/>
            <p:cNvSpPr>
              <a:spLocks noChangeArrowheads="1"/>
            </p:cNvSpPr>
            <p:nvPr/>
          </p:nvSpPr>
          <p:spPr bwMode="auto">
            <a:xfrm>
              <a:off x="7975600" y="4572000"/>
              <a:ext cx="1371600" cy="762000"/>
            </a:xfrm>
            <a:prstGeom prst="rect">
              <a:avLst/>
            </a:prstGeom>
            <a:solidFill>
              <a:schemeClr val="bg1"/>
            </a:soli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solidFill>
                    <a:schemeClr val="tx1"/>
                  </a:solidFill>
                  <a:latin typeface="Arial" panose="020B0604020202020204" pitchFamily="34" charset="0"/>
                  <a:cs typeface="Arial" panose="020B0604020202020204" pitchFamily="34" charset="0"/>
                </a:rPr>
                <a:t>5</a:t>
              </a:r>
            </a:p>
          </p:txBody>
        </p:sp>
        <p:sp>
          <p:nvSpPr>
            <p:cNvPr id="17" name="Rectangle 16"/>
            <p:cNvSpPr>
              <a:spLocks noChangeArrowheads="1"/>
            </p:cNvSpPr>
            <p:nvPr/>
          </p:nvSpPr>
          <p:spPr bwMode="auto">
            <a:xfrm>
              <a:off x="7975600" y="5334000"/>
              <a:ext cx="1371600" cy="762000"/>
            </a:xfrm>
            <a:prstGeom prst="rect">
              <a:avLst/>
            </a:prstGeom>
            <a:solidFill>
              <a:schemeClr val="bg1"/>
            </a:soli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solidFill>
                    <a:schemeClr val="tx1"/>
                  </a:solidFill>
                  <a:latin typeface="Arial" panose="020B0604020202020204" pitchFamily="34" charset="0"/>
                  <a:cs typeface="Arial" panose="020B0604020202020204" pitchFamily="34" charset="0"/>
                </a:rPr>
                <a:t>5</a:t>
              </a:r>
            </a:p>
          </p:txBody>
        </p:sp>
        <p:sp>
          <p:nvSpPr>
            <p:cNvPr id="18" name="Rectangle 17"/>
            <p:cNvSpPr>
              <a:spLocks noChangeArrowheads="1"/>
            </p:cNvSpPr>
            <p:nvPr/>
          </p:nvSpPr>
          <p:spPr bwMode="auto">
            <a:xfrm>
              <a:off x="7975600" y="6096000"/>
              <a:ext cx="1371600" cy="762000"/>
            </a:xfrm>
            <a:prstGeom prst="rect">
              <a:avLst/>
            </a:prstGeom>
            <a:solidFill>
              <a:schemeClr val="bg1"/>
            </a:soli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solidFill>
                    <a:schemeClr val="tx1"/>
                  </a:solidFill>
                  <a:latin typeface="Arial" panose="020B0604020202020204" pitchFamily="34" charset="0"/>
                  <a:cs typeface="Arial" panose="020B0604020202020204" pitchFamily="34" charset="0"/>
                </a:rPr>
                <a:t>8</a:t>
              </a:r>
            </a:p>
          </p:txBody>
        </p:sp>
        <p:sp>
          <p:nvSpPr>
            <p:cNvPr id="22" name="Rectangle 21"/>
            <p:cNvSpPr>
              <a:spLocks noChangeArrowheads="1"/>
            </p:cNvSpPr>
            <p:nvPr/>
          </p:nvSpPr>
          <p:spPr bwMode="auto">
            <a:xfrm>
              <a:off x="7975600" y="3048000"/>
              <a:ext cx="1371600" cy="762000"/>
            </a:xfrm>
            <a:prstGeom prst="rect">
              <a:avLst/>
            </a:prstGeom>
            <a:gradFill rotWithShape="1">
              <a:gsLst>
                <a:gs pos="0">
                  <a:srgbClr val="ECF0EC"/>
                </a:gs>
                <a:gs pos="64999">
                  <a:srgbClr val="CCD8CE"/>
                </a:gs>
                <a:gs pos="100000">
                  <a:srgbClr val="B6C8B8"/>
                </a:gs>
              </a:gsLst>
              <a:lin ang="5400000" scaled="1"/>
            </a:gradFill>
            <a:ln w="15875">
              <a:solidFill>
                <a:srgbClr val="0F4F1E"/>
              </a:solidFill>
              <a:round/>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solidFill>
                    <a:schemeClr val="tx1"/>
                  </a:solidFill>
                  <a:latin typeface="Arial" panose="020B0604020202020204" pitchFamily="34" charset="0"/>
                  <a:cs typeface="Arial" panose="020B0604020202020204" pitchFamily="34" charset="0"/>
                </a:rPr>
                <a:t>Round 2</a:t>
              </a:r>
            </a:p>
          </p:txBody>
        </p:sp>
      </p:grpSp>
    </p:spTree>
    <p:extLst>
      <p:ext uri="{BB962C8B-B14F-4D97-AF65-F5344CB8AC3E}">
        <p14:creationId xmlns:p14="http://schemas.microsoft.com/office/powerpoint/2010/main" val="182034624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endParaRPr lang="en-US"/>
          </a:p>
        </p:txBody>
      </p:sp>
      <p:sp>
        <p:nvSpPr>
          <p:cNvPr id="3" name="Titre 2"/>
          <p:cNvSpPr>
            <a:spLocks noGrp="1"/>
          </p:cNvSpPr>
          <p:nvPr>
            <p:ph type="title"/>
          </p:nvPr>
        </p:nvSpPr>
        <p:spPr/>
        <p:txBody>
          <a:bodyPr/>
          <a:lstStyle/>
          <a:p>
            <a:r>
              <a:rPr lang="fr-FR" dirty="0"/>
              <a:t>Release Planning</a:t>
            </a:r>
          </a:p>
        </p:txBody>
      </p:sp>
    </p:spTree>
    <p:extLst>
      <p:ext uri="{BB962C8B-B14F-4D97-AF65-F5344CB8AC3E}">
        <p14:creationId xmlns:p14="http://schemas.microsoft.com/office/powerpoint/2010/main" val="306472113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le 1"/>
          <p:cNvSpPr>
            <a:spLocks noGrp="1"/>
          </p:cNvSpPr>
          <p:nvPr>
            <p:ph type="title"/>
          </p:nvPr>
        </p:nvSpPr>
        <p:spPr>
          <a:xfrm>
            <a:off x="2118360" y="346483"/>
            <a:ext cx="9361040" cy="249008"/>
          </a:xfrm>
        </p:spPr>
        <p:txBody>
          <a:bodyPr/>
          <a:lstStyle/>
          <a:p>
            <a:r>
              <a:rPr lang="en-US" altLang="en-US" b="0" dirty="0">
                <a:latin typeface="Arial" panose="020B0604020202020204" pitchFamily="34" charset="0"/>
              </a:rPr>
              <a:t>Projections based on velocity</a:t>
            </a:r>
          </a:p>
        </p:txBody>
      </p:sp>
      <p:grpSp>
        <p:nvGrpSpPr>
          <p:cNvPr id="111619" name="Group 76"/>
          <p:cNvGrpSpPr>
            <a:grpSpLocks/>
          </p:cNvGrpSpPr>
          <p:nvPr/>
        </p:nvGrpSpPr>
        <p:grpSpPr bwMode="auto">
          <a:xfrm>
            <a:off x="2118360" y="1783081"/>
            <a:ext cx="4526280" cy="3785390"/>
            <a:chOff x="1422400" y="1828801"/>
            <a:chExt cx="5029200" cy="4205690"/>
          </a:xfrm>
        </p:grpSpPr>
        <p:sp>
          <p:nvSpPr>
            <p:cNvPr id="3" name="Rectangle 2"/>
            <p:cNvSpPr>
              <a:spLocks noChangeArrowheads="1"/>
            </p:cNvSpPr>
            <p:nvPr/>
          </p:nvSpPr>
          <p:spPr bwMode="auto">
            <a:xfrm>
              <a:off x="2260600" y="2666941"/>
              <a:ext cx="304800" cy="2903331"/>
            </a:xfrm>
            <a:prstGeom prst="rect">
              <a:avLst/>
            </a:prstGeom>
            <a:gradFill rotWithShape="1">
              <a:gsLst>
                <a:gs pos="0">
                  <a:srgbClr val="B0E5B7"/>
                </a:gs>
                <a:gs pos="100000">
                  <a:srgbClr val="4E9D5B"/>
                </a:gs>
              </a:gsLst>
              <a:lin ang="5400000"/>
            </a:gradFill>
            <a:ln w="19050">
              <a:solidFill>
                <a:schemeClr val="tx1"/>
              </a:solidFill>
              <a:round/>
              <a:headEnd/>
              <a:tailEnd/>
            </a:ln>
            <a:effectLst>
              <a:outerShdw blurRad="40000" dist="23000" dir="5400000" rotWithShape="0">
                <a:srgbClr val="808080">
                  <a:alpha val="34999"/>
                </a:srgbClr>
              </a:outerShdw>
            </a:effectLst>
          </p:spPr>
          <p:txBody>
            <a:bodyPr/>
            <a:lstStyle/>
            <a:p>
              <a:endParaRPr lang="en-US" sz="1620"/>
            </a:p>
          </p:txBody>
        </p:sp>
        <p:sp>
          <p:nvSpPr>
            <p:cNvPr id="26" name="Rectangle 25"/>
            <p:cNvSpPr>
              <a:spLocks noChangeArrowheads="1"/>
            </p:cNvSpPr>
            <p:nvPr/>
          </p:nvSpPr>
          <p:spPr bwMode="auto">
            <a:xfrm>
              <a:off x="2717800" y="2438358"/>
              <a:ext cx="304800" cy="3131915"/>
            </a:xfrm>
            <a:prstGeom prst="rect">
              <a:avLst/>
            </a:prstGeom>
            <a:gradFill rotWithShape="1">
              <a:gsLst>
                <a:gs pos="0">
                  <a:srgbClr val="B0E5B7"/>
                </a:gs>
                <a:gs pos="100000">
                  <a:srgbClr val="4E9D5B"/>
                </a:gs>
              </a:gsLst>
              <a:lin ang="5400000"/>
            </a:gradFill>
            <a:ln w="19050">
              <a:solidFill>
                <a:schemeClr val="tx1"/>
              </a:solidFill>
              <a:round/>
              <a:headEnd/>
              <a:tailEnd/>
            </a:ln>
            <a:effectLst>
              <a:outerShdw blurRad="40000" dist="23000" dir="5400000" rotWithShape="0">
                <a:srgbClr val="808080">
                  <a:alpha val="34999"/>
                </a:srgbClr>
              </a:outerShdw>
            </a:effectLst>
          </p:spPr>
          <p:txBody>
            <a:bodyPr/>
            <a:lstStyle/>
            <a:p>
              <a:endParaRPr lang="en-US" sz="1620"/>
            </a:p>
          </p:txBody>
        </p:sp>
        <p:sp>
          <p:nvSpPr>
            <p:cNvPr id="28" name="Rectangle 27"/>
            <p:cNvSpPr>
              <a:spLocks noChangeArrowheads="1"/>
            </p:cNvSpPr>
            <p:nvPr/>
          </p:nvSpPr>
          <p:spPr bwMode="auto">
            <a:xfrm>
              <a:off x="3175000" y="3200303"/>
              <a:ext cx="304800" cy="2369969"/>
            </a:xfrm>
            <a:prstGeom prst="rect">
              <a:avLst/>
            </a:prstGeom>
            <a:gradFill rotWithShape="1">
              <a:gsLst>
                <a:gs pos="0">
                  <a:srgbClr val="B0E5B7"/>
                </a:gs>
                <a:gs pos="100000">
                  <a:srgbClr val="4E9D5B"/>
                </a:gs>
              </a:gsLst>
              <a:lin ang="5400000"/>
            </a:gradFill>
            <a:ln w="19050">
              <a:solidFill>
                <a:schemeClr val="tx1"/>
              </a:solidFill>
              <a:round/>
              <a:headEnd/>
              <a:tailEnd/>
            </a:ln>
            <a:effectLst>
              <a:outerShdw blurRad="40000" dist="23000" dir="5400000" rotWithShape="0">
                <a:srgbClr val="808080">
                  <a:alpha val="34999"/>
                </a:srgbClr>
              </a:outerShdw>
            </a:effectLst>
          </p:spPr>
          <p:txBody>
            <a:bodyPr/>
            <a:lstStyle/>
            <a:p>
              <a:endParaRPr lang="en-US" sz="1620"/>
            </a:p>
          </p:txBody>
        </p:sp>
        <p:sp>
          <p:nvSpPr>
            <p:cNvPr id="30" name="Rectangle 29"/>
            <p:cNvSpPr>
              <a:spLocks noChangeArrowheads="1"/>
            </p:cNvSpPr>
            <p:nvPr/>
          </p:nvSpPr>
          <p:spPr bwMode="auto">
            <a:xfrm>
              <a:off x="3632200" y="2514552"/>
              <a:ext cx="304800" cy="3055720"/>
            </a:xfrm>
            <a:prstGeom prst="rect">
              <a:avLst/>
            </a:prstGeom>
            <a:gradFill rotWithShape="1">
              <a:gsLst>
                <a:gs pos="0">
                  <a:srgbClr val="B0E5B7"/>
                </a:gs>
                <a:gs pos="100000">
                  <a:srgbClr val="4E9D5B"/>
                </a:gs>
              </a:gsLst>
              <a:lin ang="5400000"/>
            </a:gradFill>
            <a:ln w="19050">
              <a:solidFill>
                <a:schemeClr val="tx1"/>
              </a:solidFill>
              <a:round/>
              <a:headEnd/>
              <a:tailEnd/>
            </a:ln>
            <a:effectLst>
              <a:outerShdw blurRad="40000" dist="23000" dir="5400000" rotWithShape="0">
                <a:srgbClr val="808080">
                  <a:alpha val="34999"/>
                </a:srgbClr>
              </a:outerShdw>
            </a:effectLst>
          </p:spPr>
          <p:txBody>
            <a:bodyPr/>
            <a:lstStyle/>
            <a:p>
              <a:endParaRPr lang="en-US" sz="1620"/>
            </a:p>
          </p:txBody>
        </p:sp>
        <p:sp>
          <p:nvSpPr>
            <p:cNvPr id="31" name="Rectangle 30"/>
            <p:cNvSpPr>
              <a:spLocks noChangeArrowheads="1"/>
            </p:cNvSpPr>
            <p:nvPr/>
          </p:nvSpPr>
          <p:spPr bwMode="auto">
            <a:xfrm>
              <a:off x="4089400" y="2362163"/>
              <a:ext cx="304800" cy="3208109"/>
            </a:xfrm>
            <a:prstGeom prst="rect">
              <a:avLst/>
            </a:prstGeom>
            <a:gradFill rotWithShape="1">
              <a:gsLst>
                <a:gs pos="0">
                  <a:srgbClr val="B0E5B7"/>
                </a:gs>
                <a:gs pos="100000">
                  <a:srgbClr val="4E9D5B"/>
                </a:gs>
              </a:gsLst>
              <a:lin ang="5400000"/>
            </a:gradFill>
            <a:ln w="19050">
              <a:solidFill>
                <a:schemeClr val="tx1"/>
              </a:solidFill>
              <a:round/>
              <a:headEnd/>
              <a:tailEnd/>
            </a:ln>
            <a:effectLst>
              <a:outerShdw blurRad="40000" dist="23000" dir="5400000" rotWithShape="0">
                <a:srgbClr val="808080">
                  <a:alpha val="34999"/>
                </a:srgbClr>
              </a:outerShdw>
            </a:effectLst>
          </p:spPr>
          <p:txBody>
            <a:bodyPr/>
            <a:lstStyle/>
            <a:p>
              <a:endParaRPr lang="en-US" sz="1620"/>
            </a:p>
          </p:txBody>
        </p:sp>
        <p:sp>
          <p:nvSpPr>
            <p:cNvPr id="33" name="Rectangle 32"/>
            <p:cNvSpPr>
              <a:spLocks noChangeArrowheads="1"/>
            </p:cNvSpPr>
            <p:nvPr/>
          </p:nvSpPr>
          <p:spPr bwMode="auto">
            <a:xfrm>
              <a:off x="4546600" y="3428887"/>
              <a:ext cx="304800" cy="2141385"/>
            </a:xfrm>
            <a:prstGeom prst="rect">
              <a:avLst/>
            </a:prstGeom>
            <a:gradFill rotWithShape="1">
              <a:gsLst>
                <a:gs pos="0">
                  <a:srgbClr val="B0E5B7"/>
                </a:gs>
                <a:gs pos="100000">
                  <a:srgbClr val="4E9D5B"/>
                </a:gs>
              </a:gsLst>
              <a:lin ang="5400000"/>
            </a:gradFill>
            <a:ln w="19050">
              <a:solidFill>
                <a:schemeClr val="tx1"/>
              </a:solidFill>
              <a:round/>
              <a:headEnd/>
              <a:tailEnd/>
            </a:ln>
            <a:effectLst>
              <a:outerShdw blurRad="40000" dist="23000" dir="5400000" rotWithShape="0">
                <a:srgbClr val="808080">
                  <a:alpha val="34999"/>
                </a:srgbClr>
              </a:outerShdw>
            </a:effectLst>
          </p:spPr>
          <p:txBody>
            <a:bodyPr/>
            <a:lstStyle/>
            <a:p>
              <a:endParaRPr lang="en-US" sz="1620"/>
            </a:p>
          </p:txBody>
        </p:sp>
        <p:sp>
          <p:nvSpPr>
            <p:cNvPr id="34" name="Rectangle 33"/>
            <p:cNvSpPr>
              <a:spLocks noChangeArrowheads="1"/>
            </p:cNvSpPr>
            <p:nvPr/>
          </p:nvSpPr>
          <p:spPr bwMode="auto">
            <a:xfrm>
              <a:off x="5003800" y="2666941"/>
              <a:ext cx="304800" cy="2903331"/>
            </a:xfrm>
            <a:prstGeom prst="rect">
              <a:avLst/>
            </a:prstGeom>
            <a:gradFill rotWithShape="1">
              <a:gsLst>
                <a:gs pos="0">
                  <a:srgbClr val="B0E5B7"/>
                </a:gs>
                <a:gs pos="100000">
                  <a:srgbClr val="4E9D5B"/>
                </a:gs>
              </a:gsLst>
              <a:lin ang="5400000"/>
            </a:gradFill>
            <a:ln w="19050">
              <a:solidFill>
                <a:schemeClr val="tx1"/>
              </a:solidFill>
              <a:round/>
              <a:headEnd/>
              <a:tailEnd/>
            </a:ln>
            <a:effectLst>
              <a:outerShdw blurRad="40000" dist="23000" dir="5400000" rotWithShape="0">
                <a:srgbClr val="808080">
                  <a:alpha val="34999"/>
                </a:srgbClr>
              </a:outerShdw>
            </a:effectLst>
          </p:spPr>
          <p:txBody>
            <a:bodyPr/>
            <a:lstStyle/>
            <a:p>
              <a:endParaRPr lang="en-US" sz="1620"/>
            </a:p>
          </p:txBody>
        </p:sp>
        <p:sp>
          <p:nvSpPr>
            <p:cNvPr id="35" name="Rectangle 34"/>
            <p:cNvSpPr>
              <a:spLocks noChangeArrowheads="1"/>
            </p:cNvSpPr>
            <p:nvPr/>
          </p:nvSpPr>
          <p:spPr bwMode="auto">
            <a:xfrm>
              <a:off x="5461000" y="2819330"/>
              <a:ext cx="304800" cy="2750942"/>
            </a:xfrm>
            <a:prstGeom prst="rect">
              <a:avLst/>
            </a:prstGeom>
            <a:gradFill rotWithShape="1">
              <a:gsLst>
                <a:gs pos="0">
                  <a:srgbClr val="B0E5B7"/>
                </a:gs>
                <a:gs pos="100000">
                  <a:srgbClr val="4E9D5B"/>
                </a:gs>
              </a:gsLst>
              <a:lin ang="5400000"/>
            </a:gradFill>
            <a:ln w="19050">
              <a:solidFill>
                <a:schemeClr val="tx1"/>
              </a:solidFill>
              <a:round/>
              <a:headEnd/>
              <a:tailEnd/>
            </a:ln>
            <a:effectLst>
              <a:outerShdw blurRad="40000" dist="23000" dir="5400000" rotWithShape="0">
                <a:srgbClr val="808080">
                  <a:alpha val="34999"/>
                </a:srgbClr>
              </a:outerShdw>
            </a:effectLst>
          </p:spPr>
          <p:txBody>
            <a:bodyPr/>
            <a:lstStyle/>
            <a:p>
              <a:endParaRPr lang="en-US" sz="1620"/>
            </a:p>
          </p:txBody>
        </p:sp>
        <p:sp>
          <p:nvSpPr>
            <p:cNvPr id="36" name="Rectangle 35"/>
            <p:cNvSpPr>
              <a:spLocks noChangeArrowheads="1"/>
            </p:cNvSpPr>
            <p:nvPr/>
          </p:nvSpPr>
          <p:spPr bwMode="auto">
            <a:xfrm>
              <a:off x="5918200" y="2514552"/>
              <a:ext cx="304800" cy="3055720"/>
            </a:xfrm>
            <a:prstGeom prst="rect">
              <a:avLst/>
            </a:prstGeom>
            <a:gradFill rotWithShape="1">
              <a:gsLst>
                <a:gs pos="0">
                  <a:srgbClr val="B0E5B7"/>
                </a:gs>
                <a:gs pos="100000">
                  <a:srgbClr val="4E9D5B"/>
                </a:gs>
              </a:gsLst>
              <a:lin ang="5400000"/>
            </a:gradFill>
            <a:ln w="19050">
              <a:solidFill>
                <a:schemeClr val="tx1"/>
              </a:solidFill>
              <a:round/>
              <a:headEnd/>
              <a:tailEnd/>
            </a:ln>
            <a:effectLst>
              <a:outerShdw blurRad="40000" dist="23000" dir="5400000" rotWithShape="0">
                <a:srgbClr val="808080">
                  <a:alpha val="34999"/>
                </a:srgbClr>
              </a:outerShdw>
            </a:effectLst>
          </p:spPr>
          <p:txBody>
            <a:bodyPr/>
            <a:lstStyle/>
            <a:p>
              <a:endParaRPr lang="en-US" sz="1620"/>
            </a:p>
          </p:txBody>
        </p:sp>
        <p:cxnSp>
          <p:nvCxnSpPr>
            <p:cNvPr id="111638" name="Straight Connector 37"/>
            <p:cNvCxnSpPr>
              <a:cxnSpLocks noChangeShapeType="1"/>
            </p:cNvCxnSpPr>
            <p:nvPr/>
          </p:nvCxnSpPr>
          <p:spPr bwMode="auto">
            <a:xfrm rot="5400000">
              <a:off x="164306" y="3694906"/>
              <a:ext cx="3733800" cy="1589"/>
            </a:xfrm>
            <a:prstGeom prst="line">
              <a:avLst/>
            </a:prstGeom>
            <a:noFill/>
            <a:ln w="31750">
              <a:solidFill>
                <a:srgbClr val="000000"/>
              </a:solidFill>
              <a:round/>
              <a:headEnd/>
              <a:tailEnd/>
            </a:ln>
            <a:extLst>
              <a:ext uri="{909E8E84-426E-40DD-AFC4-6F175D3DCCD1}">
                <a14:hiddenFill xmlns:a14="http://schemas.microsoft.com/office/drawing/2010/main">
                  <a:noFill/>
                </a14:hiddenFill>
              </a:ext>
            </a:extLst>
          </p:spPr>
        </p:cxnSp>
        <p:cxnSp>
          <p:nvCxnSpPr>
            <p:cNvPr id="111639" name="Straight Connector 38"/>
            <p:cNvCxnSpPr>
              <a:cxnSpLocks noChangeShapeType="1"/>
            </p:cNvCxnSpPr>
            <p:nvPr/>
          </p:nvCxnSpPr>
          <p:spPr bwMode="auto">
            <a:xfrm rot="10800000">
              <a:off x="2031206" y="5562600"/>
              <a:ext cx="4420394" cy="1588"/>
            </a:xfrm>
            <a:prstGeom prst="line">
              <a:avLst/>
            </a:prstGeom>
            <a:noFill/>
            <a:ln w="31750">
              <a:solidFill>
                <a:srgbClr val="000000"/>
              </a:solidFill>
              <a:round/>
              <a:headEnd/>
              <a:tailEnd/>
            </a:ln>
            <a:extLst>
              <a:ext uri="{909E8E84-426E-40DD-AFC4-6F175D3DCCD1}">
                <a14:hiddenFill xmlns:a14="http://schemas.microsoft.com/office/drawing/2010/main">
                  <a:noFill/>
                </a14:hiddenFill>
              </a:ext>
            </a:extLst>
          </p:spPr>
        </p:cxnSp>
        <p:cxnSp>
          <p:nvCxnSpPr>
            <p:cNvPr id="111640" name="Straight Connector 49"/>
            <p:cNvCxnSpPr>
              <a:cxnSpLocks noChangeShapeType="1"/>
            </p:cNvCxnSpPr>
            <p:nvPr/>
          </p:nvCxnSpPr>
          <p:spPr bwMode="auto">
            <a:xfrm rot="10800000">
              <a:off x="1879600" y="2209800"/>
              <a:ext cx="304800" cy="1588"/>
            </a:xfrm>
            <a:prstGeom prst="line">
              <a:avLst/>
            </a:prstGeom>
            <a:noFill/>
            <a:ln w="31750">
              <a:solidFill>
                <a:srgbClr val="000000"/>
              </a:solidFill>
              <a:round/>
              <a:headEnd/>
              <a:tailEnd/>
            </a:ln>
            <a:extLst>
              <a:ext uri="{909E8E84-426E-40DD-AFC4-6F175D3DCCD1}">
                <a14:hiddenFill xmlns:a14="http://schemas.microsoft.com/office/drawing/2010/main">
                  <a:noFill/>
                </a14:hiddenFill>
              </a:ext>
            </a:extLst>
          </p:spPr>
        </p:cxnSp>
        <p:sp>
          <p:nvSpPr>
            <p:cNvPr id="111641" name="TextBox 52"/>
            <p:cNvSpPr txBox="1">
              <a:spLocks noChangeArrowheads="1"/>
            </p:cNvSpPr>
            <p:nvPr/>
          </p:nvSpPr>
          <p:spPr bwMode="auto">
            <a:xfrm>
              <a:off x="1428793" y="1981200"/>
              <a:ext cx="547159" cy="471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40</a:t>
              </a:r>
            </a:p>
          </p:txBody>
        </p:sp>
        <p:cxnSp>
          <p:nvCxnSpPr>
            <p:cNvPr id="111642" name="Straight Connector 53"/>
            <p:cNvCxnSpPr>
              <a:cxnSpLocks noChangeShapeType="1"/>
            </p:cNvCxnSpPr>
            <p:nvPr/>
          </p:nvCxnSpPr>
          <p:spPr bwMode="auto">
            <a:xfrm rot="10800000">
              <a:off x="1873207" y="3048000"/>
              <a:ext cx="304800" cy="1588"/>
            </a:xfrm>
            <a:prstGeom prst="line">
              <a:avLst/>
            </a:prstGeom>
            <a:noFill/>
            <a:ln w="31750">
              <a:solidFill>
                <a:srgbClr val="000000"/>
              </a:solidFill>
              <a:round/>
              <a:headEnd/>
              <a:tailEnd/>
            </a:ln>
            <a:extLst>
              <a:ext uri="{909E8E84-426E-40DD-AFC4-6F175D3DCCD1}">
                <a14:hiddenFill xmlns:a14="http://schemas.microsoft.com/office/drawing/2010/main">
                  <a:noFill/>
                </a14:hiddenFill>
              </a:ext>
            </a:extLst>
          </p:spPr>
        </p:cxnSp>
        <p:sp>
          <p:nvSpPr>
            <p:cNvPr id="111643" name="TextBox 54"/>
            <p:cNvSpPr txBox="1">
              <a:spLocks noChangeArrowheads="1"/>
            </p:cNvSpPr>
            <p:nvPr/>
          </p:nvSpPr>
          <p:spPr bwMode="auto">
            <a:xfrm>
              <a:off x="1422400" y="2819399"/>
              <a:ext cx="547159" cy="471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30</a:t>
              </a:r>
            </a:p>
          </p:txBody>
        </p:sp>
        <p:cxnSp>
          <p:nvCxnSpPr>
            <p:cNvPr id="111644" name="Straight Connector 55"/>
            <p:cNvCxnSpPr>
              <a:cxnSpLocks noChangeShapeType="1"/>
            </p:cNvCxnSpPr>
            <p:nvPr/>
          </p:nvCxnSpPr>
          <p:spPr bwMode="auto">
            <a:xfrm rot="10800000">
              <a:off x="1873207" y="3886200"/>
              <a:ext cx="304800" cy="1588"/>
            </a:xfrm>
            <a:prstGeom prst="line">
              <a:avLst/>
            </a:prstGeom>
            <a:noFill/>
            <a:ln w="31750">
              <a:solidFill>
                <a:srgbClr val="000000"/>
              </a:solidFill>
              <a:round/>
              <a:headEnd/>
              <a:tailEnd/>
            </a:ln>
            <a:extLst>
              <a:ext uri="{909E8E84-426E-40DD-AFC4-6F175D3DCCD1}">
                <a14:hiddenFill xmlns:a14="http://schemas.microsoft.com/office/drawing/2010/main">
                  <a:noFill/>
                </a14:hiddenFill>
              </a:ext>
            </a:extLst>
          </p:spPr>
        </p:cxnSp>
        <p:sp>
          <p:nvSpPr>
            <p:cNvPr id="111645" name="TextBox 56"/>
            <p:cNvSpPr txBox="1">
              <a:spLocks noChangeArrowheads="1"/>
            </p:cNvSpPr>
            <p:nvPr/>
          </p:nvSpPr>
          <p:spPr bwMode="auto">
            <a:xfrm>
              <a:off x="1422400" y="3657600"/>
              <a:ext cx="547159" cy="471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20</a:t>
              </a:r>
            </a:p>
          </p:txBody>
        </p:sp>
        <p:cxnSp>
          <p:nvCxnSpPr>
            <p:cNvPr id="111646" name="Straight Connector 57"/>
            <p:cNvCxnSpPr>
              <a:cxnSpLocks noChangeShapeType="1"/>
            </p:cNvCxnSpPr>
            <p:nvPr/>
          </p:nvCxnSpPr>
          <p:spPr bwMode="auto">
            <a:xfrm rot="10800000">
              <a:off x="1873207" y="4724400"/>
              <a:ext cx="304800" cy="1588"/>
            </a:xfrm>
            <a:prstGeom prst="line">
              <a:avLst/>
            </a:prstGeom>
            <a:noFill/>
            <a:ln w="31750">
              <a:solidFill>
                <a:srgbClr val="000000"/>
              </a:solidFill>
              <a:round/>
              <a:headEnd/>
              <a:tailEnd/>
            </a:ln>
            <a:extLst>
              <a:ext uri="{909E8E84-426E-40DD-AFC4-6F175D3DCCD1}">
                <a14:hiddenFill xmlns:a14="http://schemas.microsoft.com/office/drawing/2010/main">
                  <a:noFill/>
                </a14:hiddenFill>
              </a:ext>
            </a:extLst>
          </p:spPr>
        </p:cxnSp>
        <p:sp>
          <p:nvSpPr>
            <p:cNvPr id="111647" name="TextBox 58"/>
            <p:cNvSpPr txBox="1">
              <a:spLocks noChangeArrowheads="1"/>
            </p:cNvSpPr>
            <p:nvPr/>
          </p:nvSpPr>
          <p:spPr bwMode="auto">
            <a:xfrm>
              <a:off x="1422400" y="4495800"/>
              <a:ext cx="547159" cy="471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10</a:t>
              </a:r>
            </a:p>
          </p:txBody>
        </p:sp>
        <p:cxnSp>
          <p:nvCxnSpPr>
            <p:cNvPr id="111648" name="Straight Connector 59"/>
            <p:cNvCxnSpPr>
              <a:cxnSpLocks noChangeShapeType="1"/>
            </p:cNvCxnSpPr>
            <p:nvPr/>
          </p:nvCxnSpPr>
          <p:spPr bwMode="auto">
            <a:xfrm rot="10800000">
              <a:off x="1873207" y="5562600"/>
              <a:ext cx="304800" cy="1588"/>
            </a:xfrm>
            <a:prstGeom prst="line">
              <a:avLst/>
            </a:prstGeom>
            <a:noFill/>
            <a:ln w="31750">
              <a:solidFill>
                <a:srgbClr val="000000"/>
              </a:solidFill>
              <a:round/>
              <a:headEnd/>
              <a:tailEnd/>
            </a:ln>
            <a:extLst>
              <a:ext uri="{909E8E84-426E-40DD-AFC4-6F175D3DCCD1}">
                <a14:hiddenFill xmlns:a14="http://schemas.microsoft.com/office/drawing/2010/main">
                  <a:noFill/>
                </a14:hiddenFill>
              </a:ext>
            </a:extLst>
          </p:spPr>
        </p:cxnSp>
        <p:sp>
          <p:nvSpPr>
            <p:cNvPr id="111649" name="TextBox 60"/>
            <p:cNvSpPr txBox="1">
              <a:spLocks noChangeArrowheads="1"/>
            </p:cNvSpPr>
            <p:nvPr/>
          </p:nvSpPr>
          <p:spPr bwMode="auto">
            <a:xfrm>
              <a:off x="1422400" y="5334000"/>
              <a:ext cx="533400" cy="471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r" eaLnBrk="1" hangingPunct="1"/>
              <a:r>
                <a:rPr lang="en-US" altLang="en-US" sz="2160">
                  <a:latin typeface="Arial" panose="020B0604020202020204" pitchFamily="34" charset="0"/>
                  <a:cs typeface="Arial" panose="020B0604020202020204" pitchFamily="34" charset="0"/>
                </a:rPr>
                <a:t>0</a:t>
              </a:r>
            </a:p>
          </p:txBody>
        </p:sp>
        <p:sp>
          <p:nvSpPr>
            <p:cNvPr id="111650" name="TextBox 67"/>
            <p:cNvSpPr txBox="1">
              <a:spLocks noChangeArrowheads="1"/>
            </p:cNvSpPr>
            <p:nvPr/>
          </p:nvSpPr>
          <p:spPr bwMode="auto">
            <a:xfrm>
              <a:off x="2717801" y="5562600"/>
              <a:ext cx="304800" cy="471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2</a:t>
              </a:r>
            </a:p>
          </p:txBody>
        </p:sp>
        <p:sp>
          <p:nvSpPr>
            <p:cNvPr id="111651" name="TextBox 68"/>
            <p:cNvSpPr txBox="1">
              <a:spLocks noChangeArrowheads="1"/>
            </p:cNvSpPr>
            <p:nvPr/>
          </p:nvSpPr>
          <p:spPr bwMode="auto">
            <a:xfrm>
              <a:off x="2260600" y="5562600"/>
              <a:ext cx="304800" cy="471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1</a:t>
              </a:r>
            </a:p>
          </p:txBody>
        </p:sp>
        <p:sp>
          <p:nvSpPr>
            <p:cNvPr id="111652" name="TextBox 69"/>
            <p:cNvSpPr txBox="1">
              <a:spLocks noChangeArrowheads="1"/>
            </p:cNvSpPr>
            <p:nvPr/>
          </p:nvSpPr>
          <p:spPr bwMode="auto">
            <a:xfrm>
              <a:off x="3175000" y="5562600"/>
              <a:ext cx="304800" cy="471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3</a:t>
              </a:r>
            </a:p>
          </p:txBody>
        </p:sp>
        <p:sp>
          <p:nvSpPr>
            <p:cNvPr id="111653" name="TextBox 70"/>
            <p:cNvSpPr txBox="1">
              <a:spLocks noChangeArrowheads="1"/>
            </p:cNvSpPr>
            <p:nvPr/>
          </p:nvSpPr>
          <p:spPr bwMode="auto">
            <a:xfrm>
              <a:off x="3632200" y="5562600"/>
              <a:ext cx="304800" cy="471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4</a:t>
              </a:r>
            </a:p>
          </p:txBody>
        </p:sp>
        <p:sp>
          <p:nvSpPr>
            <p:cNvPr id="111654" name="TextBox 71"/>
            <p:cNvSpPr txBox="1">
              <a:spLocks noChangeArrowheads="1"/>
            </p:cNvSpPr>
            <p:nvPr/>
          </p:nvSpPr>
          <p:spPr bwMode="auto">
            <a:xfrm>
              <a:off x="4089400" y="5562600"/>
              <a:ext cx="304800" cy="471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5</a:t>
              </a:r>
            </a:p>
          </p:txBody>
        </p:sp>
        <p:sp>
          <p:nvSpPr>
            <p:cNvPr id="111655" name="TextBox 72"/>
            <p:cNvSpPr txBox="1">
              <a:spLocks noChangeArrowheads="1"/>
            </p:cNvSpPr>
            <p:nvPr/>
          </p:nvSpPr>
          <p:spPr bwMode="auto">
            <a:xfrm>
              <a:off x="4546601" y="5562600"/>
              <a:ext cx="304800" cy="471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6</a:t>
              </a:r>
            </a:p>
          </p:txBody>
        </p:sp>
        <p:sp>
          <p:nvSpPr>
            <p:cNvPr id="111656" name="TextBox 73"/>
            <p:cNvSpPr txBox="1">
              <a:spLocks noChangeArrowheads="1"/>
            </p:cNvSpPr>
            <p:nvPr/>
          </p:nvSpPr>
          <p:spPr bwMode="auto">
            <a:xfrm>
              <a:off x="5003800" y="5562600"/>
              <a:ext cx="304800" cy="471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7</a:t>
              </a:r>
            </a:p>
          </p:txBody>
        </p:sp>
        <p:sp>
          <p:nvSpPr>
            <p:cNvPr id="111657" name="TextBox 74"/>
            <p:cNvSpPr txBox="1">
              <a:spLocks noChangeArrowheads="1"/>
            </p:cNvSpPr>
            <p:nvPr/>
          </p:nvSpPr>
          <p:spPr bwMode="auto">
            <a:xfrm>
              <a:off x="5461000" y="5562600"/>
              <a:ext cx="304800" cy="471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8</a:t>
              </a:r>
            </a:p>
          </p:txBody>
        </p:sp>
        <p:sp>
          <p:nvSpPr>
            <p:cNvPr id="111658" name="TextBox 75"/>
            <p:cNvSpPr txBox="1">
              <a:spLocks noChangeArrowheads="1"/>
            </p:cNvSpPr>
            <p:nvPr/>
          </p:nvSpPr>
          <p:spPr bwMode="auto">
            <a:xfrm>
              <a:off x="5918200" y="5562600"/>
              <a:ext cx="304800" cy="471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latin typeface="Arial" panose="020B0604020202020204" pitchFamily="34" charset="0"/>
                  <a:cs typeface="Arial" panose="020B0604020202020204" pitchFamily="34" charset="0"/>
                </a:rPr>
                <a:t>9</a:t>
              </a:r>
            </a:p>
          </p:txBody>
        </p:sp>
      </p:grpSp>
      <p:grpSp>
        <p:nvGrpSpPr>
          <p:cNvPr id="4" name="Group 77"/>
          <p:cNvGrpSpPr>
            <a:grpSpLocks/>
          </p:cNvGrpSpPr>
          <p:nvPr/>
        </p:nvGrpSpPr>
        <p:grpSpPr bwMode="auto">
          <a:xfrm>
            <a:off x="3284221" y="2057400"/>
            <a:ext cx="6369067" cy="480131"/>
            <a:chOff x="1955800" y="2286000"/>
            <a:chExt cx="7077073" cy="532812"/>
          </a:xfrm>
        </p:grpSpPr>
        <p:sp>
          <p:nvSpPr>
            <p:cNvPr id="111627" name="TextBox 65"/>
            <p:cNvSpPr txBox="1">
              <a:spLocks noChangeArrowheads="1"/>
            </p:cNvSpPr>
            <p:nvPr/>
          </p:nvSpPr>
          <p:spPr bwMode="auto">
            <a:xfrm>
              <a:off x="5765800" y="2286000"/>
              <a:ext cx="3267073" cy="532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r>
                <a:rPr lang="en-US" altLang="en-US" sz="2520">
                  <a:latin typeface="Arial" panose="020B0604020202020204" pitchFamily="34" charset="0"/>
                  <a:cs typeface="Arial" panose="020B0604020202020204" pitchFamily="34" charset="0"/>
                </a:rPr>
                <a:t>Mean (Best 3) = 37</a:t>
              </a:r>
            </a:p>
          </p:txBody>
        </p:sp>
        <p:cxnSp>
          <p:nvCxnSpPr>
            <p:cNvPr id="111628" name="Straight Connector 63"/>
            <p:cNvCxnSpPr>
              <a:cxnSpLocks noChangeShapeType="1"/>
            </p:cNvCxnSpPr>
            <p:nvPr/>
          </p:nvCxnSpPr>
          <p:spPr bwMode="auto">
            <a:xfrm rot="10800000">
              <a:off x="1955800" y="2590800"/>
              <a:ext cx="3810000" cy="1588"/>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cxnSp>
      </p:grpSp>
      <p:grpSp>
        <p:nvGrpSpPr>
          <p:cNvPr id="5" name="Group 80"/>
          <p:cNvGrpSpPr>
            <a:grpSpLocks/>
          </p:cNvGrpSpPr>
          <p:nvPr/>
        </p:nvGrpSpPr>
        <p:grpSpPr bwMode="auto">
          <a:xfrm>
            <a:off x="3284220" y="2331719"/>
            <a:ext cx="6333856" cy="480131"/>
            <a:chOff x="1955800" y="2590800"/>
            <a:chExt cx="7037836" cy="532812"/>
          </a:xfrm>
        </p:grpSpPr>
        <p:sp>
          <p:nvSpPr>
            <p:cNvPr id="111625" name="TextBox 78"/>
            <p:cNvSpPr txBox="1">
              <a:spLocks noChangeArrowheads="1"/>
            </p:cNvSpPr>
            <p:nvPr/>
          </p:nvSpPr>
          <p:spPr bwMode="auto">
            <a:xfrm>
              <a:off x="5765800" y="2590800"/>
              <a:ext cx="3227836" cy="532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r>
                <a:rPr lang="en-US" altLang="en-US" sz="2520">
                  <a:latin typeface="Arial" panose="020B0604020202020204" pitchFamily="34" charset="0"/>
                  <a:cs typeface="Arial" panose="020B0604020202020204" pitchFamily="34" charset="0"/>
                </a:rPr>
                <a:t>Mean (Last 8) = 33</a:t>
              </a:r>
            </a:p>
          </p:txBody>
        </p:sp>
        <p:cxnSp>
          <p:nvCxnSpPr>
            <p:cNvPr id="111626" name="Straight Connector 79"/>
            <p:cNvCxnSpPr>
              <a:cxnSpLocks noChangeShapeType="1"/>
            </p:cNvCxnSpPr>
            <p:nvPr/>
          </p:nvCxnSpPr>
          <p:spPr bwMode="auto">
            <a:xfrm rot="10800000">
              <a:off x="1955800" y="2895600"/>
              <a:ext cx="3810000" cy="1588"/>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cxnSp>
      </p:grpSp>
      <p:grpSp>
        <p:nvGrpSpPr>
          <p:cNvPr id="6" name="Group 83"/>
          <p:cNvGrpSpPr>
            <a:grpSpLocks/>
          </p:cNvGrpSpPr>
          <p:nvPr/>
        </p:nvGrpSpPr>
        <p:grpSpPr bwMode="auto">
          <a:xfrm>
            <a:off x="3284221" y="2743200"/>
            <a:ext cx="6560516" cy="480131"/>
            <a:chOff x="1955800" y="3048000"/>
            <a:chExt cx="7289565" cy="532812"/>
          </a:xfrm>
        </p:grpSpPr>
        <p:sp>
          <p:nvSpPr>
            <p:cNvPr id="111623" name="TextBox 81"/>
            <p:cNvSpPr txBox="1">
              <a:spLocks noChangeArrowheads="1"/>
            </p:cNvSpPr>
            <p:nvPr/>
          </p:nvSpPr>
          <p:spPr bwMode="auto">
            <a:xfrm>
              <a:off x="5765801" y="3048000"/>
              <a:ext cx="3479564" cy="532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r>
                <a:rPr lang="en-US" altLang="en-US" sz="2520">
                  <a:latin typeface="Arial" panose="020B0604020202020204" pitchFamily="34" charset="0"/>
                  <a:cs typeface="Arial" panose="020B0604020202020204" pitchFamily="34" charset="0"/>
                </a:rPr>
                <a:t>Mean (Worst 3) = 28</a:t>
              </a:r>
            </a:p>
          </p:txBody>
        </p:sp>
        <p:cxnSp>
          <p:nvCxnSpPr>
            <p:cNvPr id="111624" name="Straight Connector 82"/>
            <p:cNvCxnSpPr>
              <a:cxnSpLocks noChangeShapeType="1"/>
            </p:cNvCxnSpPr>
            <p:nvPr/>
          </p:nvCxnSpPr>
          <p:spPr bwMode="auto">
            <a:xfrm rot="10800000">
              <a:off x="1955800" y="3352800"/>
              <a:ext cx="3810000" cy="1588"/>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855702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Title 1"/>
          <p:cNvSpPr>
            <a:spLocks noGrp="1"/>
          </p:cNvSpPr>
          <p:nvPr>
            <p:ph type="title"/>
          </p:nvPr>
        </p:nvSpPr>
        <p:spPr>
          <a:xfrm>
            <a:off x="1219200" y="388620"/>
            <a:ext cx="10972800" cy="249008"/>
          </a:xfrm>
        </p:spPr>
        <p:txBody>
          <a:bodyPr/>
          <a:lstStyle/>
          <a:p>
            <a:r>
              <a:rPr lang="en-US" altLang="en-US" b="0" dirty="0">
                <a:latin typeface="Arial" panose="020B0604020202020204" pitchFamily="34" charset="0"/>
              </a:rPr>
              <a:t>Extrapolate from velocity</a:t>
            </a:r>
          </a:p>
        </p:txBody>
      </p:sp>
      <p:grpSp>
        <p:nvGrpSpPr>
          <p:cNvPr id="112643" name="Group 59"/>
          <p:cNvGrpSpPr>
            <a:grpSpLocks/>
          </p:cNvGrpSpPr>
          <p:nvPr/>
        </p:nvGrpSpPr>
        <p:grpSpPr bwMode="auto">
          <a:xfrm>
            <a:off x="1775460" y="1234440"/>
            <a:ext cx="1531620" cy="4846320"/>
            <a:chOff x="279400" y="1371600"/>
            <a:chExt cx="1701800" cy="5384800"/>
          </a:xfrm>
        </p:grpSpPr>
        <p:pic>
          <p:nvPicPr>
            <p:cNvPr id="112656"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9400" y="13716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57"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31800" y="15240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58"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4200" y="16764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59" name="Picture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9400" y="28194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60" name="Picture 8"/>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31800" y="29718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61"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4200" y="31242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62" name="Picture 1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9400" y="19812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63" name="Picture 1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31800" y="21336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64" name="Picture 18"/>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4200" y="22860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65" name="Picture 1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36600" y="23622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66" name="Picture 2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89000" y="25146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67" name="Picture 2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9400" y="35814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68" name="Picture 2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31800" y="37338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69" name="Picture 2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4200" y="38862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0" name="Picture 2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9400" y="42672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1" name="Picture 2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31800" y="44196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2" name="Picture 2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4200" y="45720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3" name="Picture 2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9400" y="48768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4" name="Picture 28"/>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31800" y="50292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5" name="Picture 2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4200" y="51816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6" name="Picture 3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36600" y="52578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7" name="Picture 3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9400" y="55626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8" name="Picture 3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31800" y="57150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9" name="Picture 38"/>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4200" y="58674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80" name="Picture 3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36600" y="59436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12644" name="Picture 4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24100" y="5486400"/>
            <a:ext cx="982980"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60"/>
          <p:cNvGrpSpPr>
            <a:grpSpLocks/>
          </p:cNvGrpSpPr>
          <p:nvPr/>
        </p:nvGrpSpPr>
        <p:grpSpPr bwMode="auto">
          <a:xfrm>
            <a:off x="3352800" y="2768914"/>
            <a:ext cx="6738711" cy="424732"/>
            <a:chOff x="2032000" y="3076863"/>
            <a:chExt cx="7486611" cy="471620"/>
          </a:xfrm>
        </p:grpSpPr>
        <p:sp>
          <p:nvSpPr>
            <p:cNvPr id="43" name="Left Arrow 42"/>
            <p:cNvSpPr>
              <a:spLocks noChangeArrowheads="1"/>
            </p:cNvSpPr>
            <p:nvPr/>
          </p:nvSpPr>
          <p:spPr bwMode="auto">
            <a:xfrm>
              <a:off x="2032000" y="3124457"/>
              <a:ext cx="914297" cy="380754"/>
            </a:xfrm>
            <a:prstGeom prst="leftArrow">
              <a:avLst>
                <a:gd name="adj1" fmla="val 50000"/>
                <a:gd name="adj2" fmla="val 50004"/>
              </a:avLst>
            </a:prstGeom>
            <a:blipFill dpi="0" rotWithShape="0">
              <a:blip r:embed="rId3"/>
              <a:srcRect/>
              <a:tile tx="0" ty="0" sx="100000" sy="100000" flip="none" algn="tl"/>
            </a:blipFill>
            <a:ln w="25400">
              <a:solidFill>
                <a:srgbClr val="023D7F"/>
              </a:solidFill>
              <a:round/>
              <a:headEnd/>
              <a:tailEnd/>
            </a:ln>
            <a:effectLst>
              <a:outerShdw blurRad="114300" dist="63500" dir="2700000" algn="ctr" rotWithShape="0">
                <a:schemeClr val="bg2">
                  <a:alpha val="29999"/>
                </a:schemeClr>
              </a:outerShdw>
            </a:effectLst>
          </p:spPr>
          <p:txBody>
            <a:bodyPr lIns="0" tIns="0" rIns="0" bIns="0" anchor="ctr"/>
            <a:lstStyle>
              <a:lvl1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2pPr>
              <a:lvl3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3pPr>
              <a:lvl4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4pPr>
              <a:lvl5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9pPr>
            </a:lstStyle>
            <a:p>
              <a:pPr eaLnBrk="1" hangingPunct="1"/>
              <a:endParaRPr lang="en-US" altLang="en-US" sz="2160">
                <a:solidFill>
                  <a:srgbClr val="FFFFFF"/>
                </a:solidFill>
                <a:cs typeface="Gill Sans" pitchFamily="-65" charset="0"/>
              </a:endParaRPr>
            </a:p>
          </p:txBody>
        </p:sp>
        <p:sp>
          <p:nvSpPr>
            <p:cNvPr id="112655" name="TextBox 49"/>
            <p:cNvSpPr txBox="1">
              <a:spLocks noChangeArrowheads="1"/>
            </p:cNvSpPr>
            <p:nvPr/>
          </p:nvSpPr>
          <p:spPr bwMode="auto">
            <a:xfrm>
              <a:off x="2946400" y="3076863"/>
              <a:ext cx="6572211" cy="471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t>At our slowest velocity, we’ll end here (5 × 28)</a:t>
              </a:r>
            </a:p>
          </p:txBody>
        </p:sp>
      </p:grpSp>
      <p:grpSp>
        <p:nvGrpSpPr>
          <p:cNvPr id="4" name="Group 61"/>
          <p:cNvGrpSpPr>
            <a:grpSpLocks/>
          </p:cNvGrpSpPr>
          <p:nvPr/>
        </p:nvGrpSpPr>
        <p:grpSpPr bwMode="auto">
          <a:xfrm>
            <a:off x="3352800" y="3317555"/>
            <a:ext cx="6817227" cy="424732"/>
            <a:chOff x="2032000" y="3686463"/>
            <a:chExt cx="7574139" cy="471620"/>
          </a:xfrm>
        </p:grpSpPr>
        <p:sp>
          <p:nvSpPr>
            <p:cNvPr id="51" name="Left Arrow 50"/>
            <p:cNvSpPr>
              <a:spLocks noChangeArrowheads="1"/>
            </p:cNvSpPr>
            <p:nvPr/>
          </p:nvSpPr>
          <p:spPr bwMode="auto">
            <a:xfrm>
              <a:off x="2032000" y="3734057"/>
              <a:ext cx="914333" cy="380754"/>
            </a:xfrm>
            <a:prstGeom prst="leftArrow">
              <a:avLst>
                <a:gd name="adj1" fmla="val 50000"/>
                <a:gd name="adj2" fmla="val 49995"/>
              </a:avLst>
            </a:prstGeom>
            <a:blipFill dpi="0" rotWithShape="0">
              <a:blip r:embed="rId3"/>
              <a:srcRect/>
              <a:tile tx="0" ty="0" sx="100000" sy="100000" flip="none" algn="tl"/>
            </a:blipFill>
            <a:ln w="25400">
              <a:solidFill>
                <a:srgbClr val="023D7F"/>
              </a:solidFill>
              <a:round/>
              <a:headEnd/>
              <a:tailEnd/>
            </a:ln>
            <a:effectLst>
              <a:outerShdw blurRad="114300" dist="63500" dir="2700000" algn="ctr" rotWithShape="0">
                <a:schemeClr val="bg2">
                  <a:alpha val="29999"/>
                </a:schemeClr>
              </a:outerShdw>
            </a:effectLst>
          </p:spPr>
          <p:txBody>
            <a:bodyPr lIns="0" tIns="0" rIns="0" bIns="0" anchor="ctr"/>
            <a:lstStyle>
              <a:lvl1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2pPr>
              <a:lvl3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3pPr>
              <a:lvl4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4pPr>
              <a:lvl5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9pPr>
            </a:lstStyle>
            <a:p>
              <a:pPr eaLnBrk="1" hangingPunct="1"/>
              <a:endParaRPr lang="en-US" altLang="en-US" sz="2160">
                <a:solidFill>
                  <a:srgbClr val="FFFFFF"/>
                </a:solidFill>
                <a:cs typeface="Gill Sans" pitchFamily="-65" charset="0"/>
              </a:endParaRPr>
            </a:p>
          </p:txBody>
        </p:sp>
        <p:sp>
          <p:nvSpPr>
            <p:cNvPr id="112653" name="TextBox 51"/>
            <p:cNvSpPr txBox="1">
              <a:spLocks noChangeArrowheads="1"/>
            </p:cNvSpPr>
            <p:nvPr/>
          </p:nvSpPr>
          <p:spPr bwMode="auto">
            <a:xfrm>
              <a:off x="2946401" y="3686463"/>
              <a:ext cx="6659738" cy="471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t>At our average velocity, we’ll end here (5 × 33)</a:t>
              </a:r>
            </a:p>
          </p:txBody>
        </p:sp>
      </p:grpSp>
      <p:grpSp>
        <p:nvGrpSpPr>
          <p:cNvPr id="5" name="Group 62"/>
          <p:cNvGrpSpPr>
            <a:grpSpLocks/>
          </p:cNvGrpSpPr>
          <p:nvPr/>
        </p:nvGrpSpPr>
        <p:grpSpPr bwMode="auto">
          <a:xfrm>
            <a:off x="3352800" y="3866194"/>
            <a:ext cx="6817227" cy="424732"/>
            <a:chOff x="2032000" y="4296063"/>
            <a:chExt cx="7574139" cy="471620"/>
          </a:xfrm>
        </p:grpSpPr>
        <p:sp>
          <p:nvSpPr>
            <p:cNvPr id="53" name="Left Arrow 52"/>
            <p:cNvSpPr>
              <a:spLocks noChangeArrowheads="1"/>
            </p:cNvSpPr>
            <p:nvPr/>
          </p:nvSpPr>
          <p:spPr bwMode="auto">
            <a:xfrm>
              <a:off x="2032000" y="4343657"/>
              <a:ext cx="914333" cy="380754"/>
            </a:xfrm>
            <a:prstGeom prst="leftArrow">
              <a:avLst>
                <a:gd name="adj1" fmla="val 50000"/>
                <a:gd name="adj2" fmla="val 49995"/>
              </a:avLst>
            </a:prstGeom>
            <a:blipFill dpi="0" rotWithShape="0">
              <a:blip r:embed="rId3"/>
              <a:srcRect/>
              <a:tile tx="0" ty="0" sx="100000" sy="100000" flip="none" algn="tl"/>
            </a:blipFill>
            <a:ln w="25400">
              <a:solidFill>
                <a:srgbClr val="023D7F"/>
              </a:solidFill>
              <a:round/>
              <a:headEnd/>
              <a:tailEnd/>
            </a:ln>
            <a:effectLst>
              <a:outerShdw blurRad="114300" dist="63500" dir="2700000" algn="ctr" rotWithShape="0">
                <a:schemeClr val="bg2">
                  <a:alpha val="29999"/>
                </a:schemeClr>
              </a:outerShdw>
            </a:effectLst>
          </p:spPr>
          <p:txBody>
            <a:bodyPr lIns="0" tIns="0" rIns="0" bIns="0" anchor="ctr"/>
            <a:lstStyle>
              <a:lvl1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2pPr>
              <a:lvl3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3pPr>
              <a:lvl4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4pPr>
              <a:lvl5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9pPr>
            </a:lstStyle>
            <a:p>
              <a:pPr eaLnBrk="1" hangingPunct="1"/>
              <a:endParaRPr lang="en-US" altLang="en-US" sz="2160">
                <a:solidFill>
                  <a:srgbClr val="FFFFFF"/>
                </a:solidFill>
                <a:cs typeface="Gill Sans" pitchFamily="-65" charset="0"/>
              </a:endParaRPr>
            </a:p>
          </p:txBody>
        </p:sp>
        <p:sp>
          <p:nvSpPr>
            <p:cNvPr id="112651" name="TextBox 53"/>
            <p:cNvSpPr txBox="1">
              <a:spLocks noChangeArrowheads="1"/>
            </p:cNvSpPr>
            <p:nvPr/>
          </p:nvSpPr>
          <p:spPr bwMode="auto">
            <a:xfrm>
              <a:off x="2946401" y="4296063"/>
              <a:ext cx="6659738" cy="471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160"/>
                <a:t>At our average velocity, we’ll end here (5 × 37)</a:t>
              </a:r>
            </a:p>
          </p:txBody>
        </p:sp>
      </p:grpSp>
      <p:pic>
        <p:nvPicPr>
          <p:cNvPr id="112648" name="Picture 5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615940" y="960120"/>
            <a:ext cx="2125980" cy="1674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49" name="TextBox 56"/>
          <p:cNvSpPr txBox="1">
            <a:spLocks noChangeArrowheads="1"/>
          </p:cNvSpPr>
          <p:nvPr/>
        </p:nvSpPr>
        <p:spPr bwMode="auto">
          <a:xfrm>
            <a:off x="5684520" y="1303020"/>
            <a:ext cx="1851660" cy="867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latin typeface="Arial" panose="020B0604020202020204" pitchFamily="34" charset="0"/>
                <a:cs typeface="Arial" panose="020B0604020202020204" pitchFamily="34" charset="0"/>
              </a:rPr>
              <a:t>Assume 5 sprints left</a:t>
            </a:r>
          </a:p>
        </p:txBody>
      </p:sp>
    </p:spTree>
    <p:extLst>
      <p:ext uri="{BB962C8B-B14F-4D97-AF65-F5344CB8AC3E}">
        <p14:creationId xmlns:p14="http://schemas.microsoft.com/office/powerpoint/2010/main" val="109345244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Title 1"/>
          <p:cNvSpPr>
            <a:spLocks noGrp="1"/>
          </p:cNvSpPr>
          <p:nvPr>
            <p:ph type="title"/>
          </p:nvPr>
        </p:nvSpPr>
        <p:spPr>
          <a:xfrm>
            <a:off x="1797621" y="332656"/>
            <a:ext cx="9341296" cy="249008"/>
          </a:xfrm>
        </p:spPr>
        <p:txBody>
          <a:bodyPr/>
          <a:lstStyle/>
          <a:p>
            <a:r>
              <a:rPr lang="en-US" altLang="en-US" b="0" dirty="0">
                <a:latin typeface="Arial" panose="020B0604020202020204" pitchFamily="34" charset="0"/>
              </a:rPr>
              <a:t>Fixed-date planning</a:t>
            </a:r>
          </a:p>
        </p:txBody>
      </p:sp>
      <p:sp>
        <p:nvSpPr>
          <p:cNvPr id="113667" name="Content Placeholder 2"/>
          <p:cNvSpPr>
            <a:spLocks noGrp="1"/>
          </p:cNvSpPr>
          <p:nvPr>
            <p:ph idx="1"/>
          </p:nvPr>
        </p:nvSpPr>
        <p:spPr>
          <a:xfrm>
            <a:off x="2376017" y="2696270"/>
            <a:ext cx="8496944" cy="2946231"/>
          </a:xfrm>
        </p:spPr>
        <p:txBody>
          <a:bodyPr/>
          <a:lstStyle/>
          <a:p>
            <a:r>
              <a:rPr lang="en-US" altLang="en-US" sz="1600" dirty="0">
                <a:latin typeface="Arial" panose="020B0604020202020204" pitchFamily="34" charset="0"/>
              </a:rPr>
              <a:t>Determine how many sprints you have</a:t>
            </a:r>
          </a:p>
          <a:p>
            <a:r>
              <a:rPr lang="en-US" altLang="en-US" sz="1600" dirty="0">
                <a:latin typeface="Arial" panose="020B0604020202020204" pitchFamily="34" charset="0"/>
              </a:rPr>
              <a:t>Estimate velocity as a range</a:t>
            </a:r>
          </a:p>
          <a:p>
            <a:r>
              <a:rPr lang="en-US" altLang="en-US" sz="1600" dirty="0">
                <a:latin typeface="Arial" panose="020B0604020202020204" pitchFamily="34" charset="0"/>
              </a:rPr>
              <a:t>Multiply low velocity × number of sprints</a:t>
            </a:r>
          </a:p>
          <a:p>
            <a:pPr lvl="1"/>
            <a:r>
              <a:rPr lang="en-US" altLang="en-US" sz="1600" dirty="0">
                <a:latin typeface="Arial" panose="020B0604020202020204" pitchFamily="34" charset="0"/>
              </a:rPr>
              <a:t>Count off that many points; These are “Will Have” items</a:t>
            </a:r>
          </a:p>
          <a:p>
            <a:r>
              <a:rPr lang="en-US" altLang="en-US" sz="1600" dirty="0">
                <a:latin typeface="Arial" panose="020B0604020202020204" pitchFamily="34" charset="0"/>
              </a:rPr>
              <a:t>Multiply high velocity × number of sprints</a:t>
            </a:r>
          </a:p>
          <a:p>
            <a:pPr lvl="1"/>
            <a:r>
              <a:rPr lang="en-US" altLang="en-US" sz="1600" dirty="0">
                <a:latin typeface="Arial" panose="020B0604020202020204" pitchFamily="34" charset="0"/>
              </a:rPr>
              <a:t>Count off that many more points; these are “might haves</a:t>
            </a:r>
            <a:r>
              <a:rPr lang="en-US" altLang="en-US" sz="2160" dirty="0">
                <a:latin typeface="Arial" panose="020B0604020202020204" pitchFamily="34" charset="0"/>
              </a:rPr>
              <a:t>”</a:t>
            </a:r>
          </a:p>
        </p:txBody>
      </p:sp>
      <p:sp>
        <p:nvSpPr>
          <p:cNvPr id="4" name="Snip and Round Single Corner Rectangle 3"/>
          <p:cNvSpPr>
            <a:spLocks noChangeArrowheads="1"/>
          </p:cNvSpPr>
          <p:nvPr/>
        </p:nvSpPr>
        <p:spPr bwMode="auto">
          <a:xfrm>
            <a:off x="2376017" y="1253490"/>
            <a:ext cx="6004148" cy="770954"/>
          </a:xfrm>
          <a:custGeom>
            <a:avLst/>
            <a:gdLst>
              <a:gd name="T0" fmla="*/ 8686800 w 8686800"/>
              <a:gd name="T1" fmla="*/ 495300 h 990600"/>
              <a:gd name="T2" fmla="*/ 4343400 w 8686800"/>
              <a:gd name="T3" fmla="*/ 990600 h 990600"/>
              <a:gd name="T4" fmla="*/ 0 w 8686800"/>
              <a:gd name="T5" fmla="*/ 495300 h 990600"/>
              <a:gd name="T6" fmla="*/ 4343400 w 8686800"/>
              <a:gd name="T7" fmla="*/ 0 h 990600"/>
              <a:gd name="T8" fmla="*/ 0 60000 65536"/>
              <a:gd name="T9" fmla="*/ 1 60000 65536"/>
              <a:gd name="T10" fmla="*/ 2 60000 65536"/>
              <a:gd name="T11" fmla="*/ 3 60000 65536"/>
              <a:gd name="T12" fmla="*/ 48357 w 8686800"/>
              <a:gd name="T13" fmla="*/ 48357 h 990600"/>
              <a:gd name="T14" fmla="*/ 8604248 w 8686800"/>
              <a:gd name="T15" fmla="*/ 990600 h 990600"/>
            </a:gdLst>
            <a:ahLst/>
            <a:cxnLst>
              <a:cxn ang="T8">
                <a:pos x="T0" y="T1"/>
              </a:cxn>
              <a:cxn ang="T9">
                <a:pos x="T2" y="T3"/>
              </a:cxn>
              <a:cxn ang="T10">
                <a:pos x="T4" y="T5"/>
              </a:cxn>
              <a:cxn ang="T11">
                <a:pos x="T6" y="T7"/>
              </a:cxn>
            </a:cxnLst>
            <a:rect l="T12" t="T13" r="T14" b="T15"/>
            <a:pathLst>
              <a:path w="8686800" h="990600">
                <a:moveTo>
                  <a:pt x="165103" y="0"/>
                </a:moveTo>
                <a:lnTo>
                  <a:pt x="8521697" y="0"/>
                </a:lnTo>
                <a:lnTo>
                  <a:pt x="8686800" y="165103"/>
                </a:lnTo>
                <a:lnTo>
                  <a:pt x="8686800" y="990600"/>
                </a:lnTo>
                <a:lnTo>
                  <a:pt x="0" y="990600"/>
                </a:lnTo>
                <a:lnTo>
                  <a:pt x="0" y="165103"/>
                </a:lnTo>
                <a:lnTo>
                  <a:pt x="0" y="165102"/>
                </a:lnTo>
                <a:cubicBezTo>
                  <a:pt x="0" y="73919"/>
                  <a:pt x="73919" y="0"/>
                  <a:pt x="165103" y="0"/>
                </a:cubicBezTo>
                <a:close/>
              </a:path>
            </a:pathLst>
          </a:custGeom>
          <a:blipFill dpi="0" rotWithShape="0">
            <a:blip r:embed="rId2"/>
            <a:srcRect/>
            <a:tile tx="0" ty="0" sx="100000" sy="100000" flip="none" algn="tl"/>
          </a:blipFill>
          <a:ln w="25400">
            <a:solidFill>
              <a:srgbClr val="023D7F"/>
            </a:solidFill>
            <a:round/>
            <a:headEnd/>
            <a:tailEnd/>
          </a:ln>
          <a:effectLst>
            <a:outerShdw blurRad="114300" dist="63500" dir="2700000" algn="ctr" rotWithShape="0">
              <a:schemeClr val="bg2">
                <a:alpha val="29999"/>
              </a:schemeClr>
            </a:outerShdw>
          </a:effectLst>
        </p:spPr>
        <p:txBody>
          <a:bodyPr lIns="0" tIns="0" rIns="0" bIns="0" anchor="ctr"/>
          <a:lstStyle>
            <a:lvl1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2pPr>
            <a:lvl3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3pPr>
            <a:lvl4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4pPr>
            <a:lvl5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9pPr>
          </a:lstStyle>
          <a:p>
            <a:pPr eaLnBrk="1" hangingPunct="1"/>
            <a:endParaRPr lang="en-US" altLang="en-US" sz="2160">
              <a:solidFill>
                <a:srgbClr val="FFFFFF"/>
              </a:solidFill>
              <a:cs typeface="Gill Sans" pitchFamily="-65" charset="0"/>
            </a:endParaRPr>
          </a:p>
        </p:txBody>
      </p:sp>
      <p:sp>
        <p:nvSpPr>
          <p:cNvPr id="113669" name="TextBox 5"/>
          <p:cNvSpPr txBox="1">
            <a:spLocks noChangeArrowheads="1"/>
          </p:cNvSpPr>
          <p:nvPr/>
        </p:nvSpPr>
        <p:spPr bwMode="auto">
          <a:xfrm>
            <a:off x="2900164" y="1483043"/>
            <a:ext cx="571611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800" dirty="0">
                <a:latin typeface="Arial" panose="020B0604020202020204" pitchFamily="34" charset="0"/>
                <a:cs typeface="Arial" panose="020B0604020202020204" pitchFamily="34" charset="0"/>
              </a:rPr>
              <a:t>How much can I get by &lt;date&gt;?</a:t>
            </a:r>
          </a:p>
        </p:txBody>
      </p:sp>
    </p:spTree>
    <p:extLst>
      <p:ext uri="{BB962C8B-B14F-4D97-AF65-F5344CB8AC3E}">
        <p14:creationId xmlns:p14="http://schemas.microsoft.com/office/powerpoint/2010/main" val="51183823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itle 1"/>
          <p:cNvSpPr>
            <a:spLocks noGrp="1"/>
          </p:cNvSpPr>
          <p:nvPr>
            <p:ph type="title"/>
          </p:nvPr>
        </p:nvSpPr>
        <p:spPr>
          <a:xfrm>
            <a:off x="2186940" y="226767"/>
            <a:ext cx="10972800" cy="249008"/>
          </a:xfrm>
        </p:spPr>
        <p:txBody>
          <a:bodyPr/>
          <a:lstStyle/>
          <a:p>
            <a:r>
              <a:rPr lang="en-US" altLang="en-US" b="0" dirty="0">
                <a:latin typeface="Arial" panose="020B0604020202020204" pitchFamily="34" charset="0"/>
              </a:rPr>
              <a:t>Fixed-date planning example</a:t>
            </a:r>
          </a:p>
        </p:txBody>
      </p:sp>
      <p:sp>
        <p:nvSpPr>
          <p:cNvPr id="5" name="Rectangle 4"/>
          <p:cNvSpPr>
            <a:spLocks noChangeArrowheads="1"/>
          </p:cNvSpPr>
          <p:nvPr/>
        </p:nvSpPr>
        <p:spPr bwMode="auto">
          <a:xfrm>
            <a:off x="2186940" y="1165860"/>
            <a:ext cx="2057400" cy="978694"/>
          </a:xfrm>
          <a:prstGeom prst="rect">
            <a:avLst/>
          </a:prstGeom>
          <a:gradFill rotWithShape="1">
            <a:gsLst>
              <a:gs pos="0">
                <a:srgbClr val="E8E8FA"/>
              </a:gs>
              <a:gs pos="64999">
                <a:srgbClr val="C3C3EF"/>
              </a:gs>
              <a:gs pos="100000">
                <a:srgbClr val="A8A8EA"/>
              </a:gs>
            </a:gsLst>
            <a:lin ang="5400000" scaled="1"/>
          </a:gradFill>
          <a:ln w="25400">
            <a:solidFill>
              <a:schemeClr val="tx1"/>
            </a:solidFill>
            <a:miter lim="800000"/>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latin typeface="Arial" panose="020B0604020202020204" pitchFamily="34" charset="0"/>
                <a:cs typeface="Arial" panose="020B0604020202020204" pitchFamily="34" charset="0"/>
              </a:rPr>
              <a:t>Desired release date</a:t>
            </a:r>
          </a:p>
        </p:txBody>
      </p:sp>
      <p:sp>
        <p:nvSpPr>
          <p:cNvPr id="7" name="Rectangle 6"/>
          <p:cNvSpPr>
            <a:spLocks noChangeArrowheads="1"/>
          </p:cNvSpPr>
          <p:nvPr/>
        </p:nvSpPr>
        <p:spPr bwMode="auto">
          <a:xfrm>
            <a:off x="2186940" y="2144555"/>
            <a:ext cx="2057400" cy="978693"/>
          </a:xfrm>
          <a:prstGeom prst="rect">
            <a:avLst/>
          </a:prstGeom>
          <a:gradFill rotWithShape="1">
            <a:gsLst>
              <a:gs pos="0">
                <a:srgbClr val="E8E8FA"/>
              </a:gs>
              <a:gs pos="64999">
                <a:srgbClr val="C3C3EF"/>
              </a:gs>
              <a:gs pos="100000">
                <a:srgbClr val="A8A8EA"/>
              </a:gs>
            </a:gsLst>
            <a:lin ang="5400000" scaled="1"/>
          </a:gradFill>
          <a:ln w="25400">
            <a:solidFill>
              <a:schemeClr val="tx1"/>
            </a:solidFill>
            <a:miter lim="800000"/>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latin typeface="Arial" panose="020B0604020202020204" pitchFamily="34" charset="0"/>
                <a:cs typeface="Arial" panose="020B0604020202020204" pitchFamily="34" charset="0"/>
              </a:rPr>
              <a:t>Today’s date</a:t>
            </a:r>
          </a:p>
        </p:txBody>
      </p:sp>
      <p:sp>
        <p:nvSpPr>
          <p:cNvPr id="8" name="Rectangle 7"/>
          <p:cNvSpPr>
            <a:spLocks noChangeArrowheads="1"/>
          </p:cNvSpPr>
          <p:nvPr/>
        </p:nvSpPr>
        <p:spPr bwMode="auto">
          <a:xfrm>
            <a:off x="2186940" y="3104675"/>
            <a:ext cx="2057400" cy="978693"/>
          </a:xfrm>
          <a:prstGeom prst="rect">
            <a:avLst/>
          </a:prstGeom>
          <a:gradFill rotWithShape="1">
            <a:gsLst>
              <a:gs pos="0">
                <a:srgbClr val="E8E8FA"/>
              </a:gs>
              <a:gs pos="64999">
                <a:srgbClr val="C3C3EF"/>
              </a:gs>
              <a:gs pos="100000">
                <a:srgbClr val="A8A8EA"/>
              </a:gs>
            </a:gsLst>
            <a:lin ang="5400000" scaled="1"/>
          </a:gradFill>
          <a:ln w="25400">
            <a:solidFill>
              <a:schemeClr val="tx1"/>
            </a:solidFill>
            <a:miter lim="800000"/>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latin typeface="Arial" panose="020B0604020202020204" pitchFamily="34" charset="0"/>
                <a:cs typeface="Arial" panose="020B0604020202020204" pitchFamily="34" charset="0"/>
              </a:rPr>
              <a:t>Number of sprints</a:t>
            </a:r>
          </a:p>
        </p:txBody>
      </p:sp>
      <p:sp>
        <p:nvSpPr>
          <p:cNvPr id="9" name="Rectangle 8"/>
          <p:cNvSpPr>
            <a:spLocks noChangeArrowheads="1"/>
          </p:cNvSpPr>
          <p:nvPr/>
        </p:nvSpPr>
        <p:spPr bwMode="auto">
          <a:xfrm>
            <a:off x="2186940" y="4064795"/>
            <a:ext cx="2057400" cy="978693"/>
          </a:xfrm>
          <a:prstGeom prst="rect">
            <a:avLst/>
          </a:prstGeom>
          <a:gradFill rotWithShape="1">
            <a:gsLst>
              <a:gs pos="0">
                <a:srgbClr val="E8E8FA"/>
              </a:gs>
              <a:gs pos="64999">
                <a:srgbClr val="C3C3EF"/>
              </a:gs>
              <a:gs pos="100000">
                <a:srgbClr val="A8A8EA"/>
              </a:gs>
            </a:gsLst>
            <a:lin ang="5400000" scaled="1"/>
          </a:gradFill>
          <a:ln w="25400">
            <a:solidFill>
              <a:schemeClr val="tx1"/>
            </a:solidFill>
            <a:miter lim="800000"/>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latin typeface="Arial" panose="020B0604020202020204" pitchFamily="34" charset="0"/>
                <a:cs typeface="Arial" panose="020B0604020202020204" pitchFamily="34" charset="0"/>
              </a:rPr>
              <a:t>Low velocity</a:t>
            </a:r>
          </a:p>
        </p:txBody>
      </p:sp>
      <p:sp>
        <p:nvSpPr>
          <p:cNvPr id="10" name="Rectangle 9"/>
          <p:cNvSpPr>
            <a:spLocks noChangeArrowheads="1"/>
          </p:cNvSpPr>
          <p:nvPr/>
        </p:nvSpPr>
        <p:spPr bwMode="auto">
          <a:xfrm>
            <a:off x="2186940" y="5024915"/>
            <a:ext cx="2057400" cy="978693"/>
          </a:xfrm>
          <a:prstGeom prst="rect">
            <a:avLst/>
          </a:prstGeom>
          <a:gradFill rotWithShape="1">
            <a:gsLst>
              <a:gs pos="0">
                <a:srgbClr val="E8E8FA"/>
              </a:gs>
              <a:gs pos="64999">
                <a:srgbClr val="C3C3EF"/>
              </a:gs>
              <a:gs pos="100000">
                <a:srgbClr val="A8A8EA"/>
              </a:gs>
            </a:gsLst>
            <a:lin ang="5400000" scaled="1"/>
          </a:gradFill>
          <a:ln w="25400">
            <a:solidFill>
              <a:schemeClr val="tx1"/>
            </a:solidFill>
            <a:miter lim="800000"/>
            <a:headEnd/>
            <a:tailEnd/>
          </a:ln>
          <a:effectLst>
            <a:outerShdw blurRad="40000" dist="20000" dir="5400000" rotWithShape="0">
              <a:srgbClr val="808080">
                <a:alpha val="37999"/>
              </a:srgbClr>
            </a:outerShdw>
          </a:effectLst>
        </p:spPr>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latin typeface="Arial" panose="020B0604020202020204" pitchFamily="34" charset="0"/>
                <a:cs typeface="Arial" panose="020B0604020202020204" pitchFamily="34" charset="0"/>
              </a:rPr>
              <a:t>High velocity</a:t>
            </a:r>
          </a:p>
        </p:txBody>
      </p:sp>
      <p:sp>
        <p:nvSpPr>
          <p:cNvPr id="11" name="Rectangle 10"/>
          <p:cNvSpPr/>
          <p:nvPr/>
        </p:nvSpPr>
        <p:spPr bwMode="auto">
          <a:xfrm>
            <a:off x="4244340" y="1165860"/>
            <a:ext cx="1783080" cy="978694"/>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latin typeface="Arial" panose="020B0604020202020204" pitchFamily="34" charset="0"/>
                <a:cs typeface="Arial" panose="020B0604020202020204" pitchFamily="34" charset="0"/>
              </a:rPr>
              <a:t>30 June</a:t>
            </a:r>
          </a:p>
        </p:txBody>
      </p:sp>
      <p:sp>
        <p:nvSpPr>
          <p:cNvPr id="12" name="Rectangle 11"/>
          <p:cNvSpPr/>
          <p:nvPr/>
        </p:nvSpPr>
        <p:spPr bwMode="auto">
          <a:xfrm>
            <a:off x="4244340" y="2144555"/>
            <a:ext cx="1783080" cy="978693"/>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latin typeface="Arial" panose="020B0604020202020204" pitchFamily="34" charset="0"/>
                <a:cs typeface="Arial" panose="020B0604020202020204" pitchFamily="34" charset="0"/>
              </a:rPr>
              <a:t>1 January</a:t>
            </a:r>
          </a:p>
        </p:txBody>
      </p:sp>
      <p:sp>
        <p:nvSpPr>
          <p:cNvPr id="13" name="Rectangle 12"/>
          <p:cNvSpPr/>
          <p:nvPr/>
        </p:nvSpPr>
        <p:spPr bwMode="auto">
          <a:xfrm>
            <a:off x="4244340" y="3104675"/>
            <a:ext cx="1783080" cy="978693"/>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latin typeface="Arial" panose="020B0604020202020204" pitchFamily="34" charset="0"/>
                <a:cs typeface="Arial" panose="020B0604020202020204" pitchFamily="34" charset="0"/>
              </a:rPr>
              <a:t>6 (monthly)</a:t>
            </a:r>
          </a:p>
        </p:txBody>
      </p:sp>
      <p:sp>
        <p:nvSpPr>
          <p:cNvPr id="14" name="Rectangle 13"/>
          <p:cNvSpPr/>
          <p:nvPr/>
        </p:nvSpPr>
        <p:spPr bwMode="auto">
          <a:xfrm>
            <a:off x="4244340" y="4064795"/>
            <a:ext cx="1783080" cy="978693"/>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latin typeface="Arial" panose="020B0604020202020204" pitchFamily="34" charset="0"/>
                <a:cs typeface="Arial" panose="020B0604020202020204" pitchFamily="34" charset="0"/>
              </a:rPr>
              <a:t>15</a:t>
            </a:r>
          </a:p>
        </p:txBody>
      </p:sp>
      <p:sp>
        <p:nvSpPr>
          <p:cNvPr id="15" name="Rectangle 14"/>
          <p:cNvSpPr/>
          <p:nvPr/>
        </p:nvSpPr>
        <p:spPr bwMode="auto">
          <a:xfrm>
            <a:off x="4244340" y="5024915"/>
            <a:ext cx="1783080" cy="978693"/>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latin typeface="Arial" panose="020B0604020202020204" pitchFamily="34" charset="0"/>
                <a:cs typeface="Arial" panose="020B0604020202020204" pitchFamily="34" charset="0"/>
              </a:rPr>
              <a:t>20</a:t>
            </a:r>
          </a:p>
        </p:txBody>
      </p:sp>
      <p:grpSp>
        <p:nvGrpSpPr>
          <p:cNvPr id="114701" name="Group 15"/>
          <p:cNvGrpSpPr>
            <a:grpSpLocks/>
          </p:cNvGrpSpPr>
          <p:nvPr/>
        </p:nvGrpSpPr>
        <p:grpSpPr bwMode="auto">
          <a:xfrm>
            <a:off x="8770620" y="1165860"/>
            <a:ext cx="1531620" cy="4846320"/>
            <a:chOff x="279400" y="1371600"/>
            <a:chExt cx="1701800" cy="5384800"/>
          </a:xfrm>
        </p:grpSpPr>
        <p:pic>
          <p:nvPicPr>
            <p:cNvPr id="114709" name="Picture 1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9400" y="13716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10" name="Picture 1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31800" y="15240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11" name="Picture 18"/>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4200" y="16764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12" name="Picture 1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9400" y="28194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13" name="Picture 2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31800" y="29718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14" name="Picture 2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4200" y="31242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15" name="Picture 2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9400" y="19812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16" name="Picture 2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31800" y="21336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17" name="Picture 2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4200" y="22860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18" name="Picture 2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36600" y="23622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19" name="Picture 2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89000" y="25146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20" name="Picture 2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9400" y="35814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21" name="Picture 28"/>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31800" y="37338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22" name="Picture 2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4200" y="38862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23" name="Picture 3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9400" y="42672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24" name="Picture 3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31800" y="44196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25" name="Picture 3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4200" y="45720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26" name="Picture 3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9400" y="48768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27"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31800" y="50292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28" name="Picture 3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4200" y="51816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29" name="Picture 3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36600" y="52578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30" name="Picture 3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9400" y="55626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31" name="Picture 38"/>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31800" y="57150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32" name="Picture 3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4200" y="58674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33" name="Picture 4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36600" y="5943600"/>
              <a:ext cx="10922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4702" name="TextBox 41"/>
          <p:cNvSpPr txBox="1">
            <a:spLocks noChangeArrowheads="1"/>
          </p:cNvSpPr>
          <p:nvPr/>
        </p:nvSpPr>
        <p:spPr bwMode="auto">
          <a:xfrm>
            <a:off x="6918960" y="1851660"/>
            <a:ext cx="1495922"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solidFill>
                  <a:srgbClr val="FF0000"/>
                </a:solidFill>
                <a:latin typeface="Arial" panose="020B0604020202020204" pitchFamily="34" charset="0"/>
                <a:cs typeface="Arial" panose="020B0604020202020204" pitchFamily="34" charset="0"/>
              </a:rPr>
              <a:t>Will have</a:t>
            </a:r>
          </a:p>
        </p:txBody>
      </p:sp>
      <p:sp>
        <p:nvSpPr>
          <p:cNvPr id="114703" name="TextBox 42"/>
          <p:cNvSpPr txBox="1">
            <a:spLocks noChangeArrowheads="1"/>
          </p:cNvSpPr>
          <p:nvPr/>
        </p:nvSpPr>
        <p:spPr bwMode="auto">
          <a:xfrm>
            <a:off x="6850381" y="3497580"/>
            <a:ext cx="1765227"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solidFill>
                  <a:srgbClr val="FF0000"/>
                </a:solidFill>
                <a:latin typeface="Arial" panose="020B0604020202020204" pitchFamily="34" charset="0"/>
                <a:cs typeface="Arial" panose="020B0604020202020204" pitchFamily="34" charset="0"/>
              </a:rPr>
              <a:t>Might have</a:t>
            </a:r>
          </a:p>
        </p:txBody>
      </p:sp>
      <p:sp>
        <p:nvSpPr>
          <p:cNvPr id="114704" name="TextBox 43"/>
          <p:cNvSpPr txBox="1">
            <a:spLocks noChangeArrowheads="1"/>
          </p:cNvSpPr>
          <p:nvPr/>
        </p:nvSpPr>
        <p:spPr bwMode="auto">
          <a:xfrm>
            <a:off x="6850380" y="4937760"/>
            <a:ext cx="1794658"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solidFill>
                  <a:srgbClr val="FF0000"/>
                </a:solidFill>
                <a:latin typeface="Arial" panose="020B0604020202020204" pitchFamily="34" charset="0"/>
                <a:cs typeface="Arial" panose="020B0604020202020204" pitchFamily="34" charset="0"/>
              </a:rPr>
              <a:t>Won’t have</a:t>
            </a:r>
          </a:p>
        </p:txBody>
      </p:sp>
      <p:sp>
        <p:nvSpPr>
          <p:cNvPr id="46" name="Left Arrow 45"/>
          <p:cNvSpPr>
            <a:spLocks noChangeArrowheads="1"/>
          </p:cNvSpPr>
          <p:nvPr/>
        </p:nvSpPr>
        <p:spPr bwMode="auto">
          <a:xfrm flipH="1">
            <a:off x="8009344" y="2948940"/>
            <a:ext cx="822960" cy="342900"/>
          </a:xfrm>
          <a:prstGeom prst="leftArrow">
            <a:avLst>
              <a:gd name="adj1" fmla="val 50000"/>
              <a:gd name="adj2" fmla="val 50000"/>
            </a:avLst>
          </a:prstGeom>
          <a:blipFill dpi="0" rotWithShape="0">
            <a:blip r:embed="rId3"/>
            <a:srcRect/>
            <a:tile tx="0" ty="0" sx="100000" sy="100000" flip="none" algn="tl"/>
          </a:blipFill>
          <a:ln w="25400">
            <a:solidFill>
              <a:srgbClr val="023D7F"/>
            </a:solidFill>
            <a:round/>
            <a:headEnd/>
            <a:tailEnd/>
          </a:ln>
          <a:effectLst>
            <a:outerShdw blurRad="114300" dist="63500" dir="2700000" algn="ctr" rotWithShape="0">
              <a:schemeClr val="bg2">
                <a:alpha val="29999"/>
              </a:schemeClr>
            </a:outerShdw>
          </a:effectLst>
        </p:spPr>
        <p:txBody>
          <a:bodyPr lIns="0" tIns="0" rIns="0" bIns="0" anchor="ctr"/>
          <a:lstStyle>
            <a:lvl1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2pPr>
            <a:lvl3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3pPr>
            <a:lvl4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4pPr>
            <a:lvl5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9pPr>
          </a:lstStyle>
          <a:p>
            <a:pPr eaLnBrk="1" hangingPunct="1"/>
            <a:endParaRPr lang="en-US" altLang="en-US" sz="2160">
              <a:solidFill>
                <a:srgbClr val="FFFFFF"/>
              </a:solidFill>
              <a:cs typeface="Gill Sans" pitchFamily="-65" charset="0"/>
            </a:endParaRPr>
          </a:p>
        </p:txBody>
      </p:sp>
      <p:sp>
        <p:nvSpPr>
          <p:cNvPr id="114706" name="TextBox 46"/>
          <p:cNvSpPr txBox="1">
            <a:spLocks noChangeArrowheads="1"/>
          </p:cNvSpPr>
          <p:nvPr/>
        </p:nvSpPr>
        <p:spPr bwMode="auto">
          <a:xfrm>
            <a:off x="6713220" y="2880360"/>
            <a:ext cx="1226618"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latin typeface="Arial" panose="020B0604020202020204" pitchFamily="34" charset="0"/>
                <a:cs typeface="Arial" panose="020B0604020202020204" pitchFamily="34" charset="0"/>
              </a:rPr>
              <a:t>6 × 15</a:t>
            </a:r>
          </a:p>
        </p:txBody>
      </p:sp>
      <p:sp>
        <p:nvSpPr>
          <p:cNvPr id="48" name="Left Arrow 47"/>
          <p:cNvSpPr>
            <a:spLocks noChangeArrowheads="1"/>
          </p:cNvSpPr>
          <p:nvPr/>
        </p:nvSpPr>
        <p:spPr bwMode="auto">
          <a:xfrm flipH="1">
            <a:off x="7937336" y="4251960"/>
            <a:ext cx="822960" cy="342900"/>
          </a:xfrm>
          <a:prstGeom prst="leftArrow">
            <a:avLst>
              <a:gd name="adj1" fmla="val 50000"/>
              <a:gd name="adj2" fmla="val 50000"/>
            </a:avLst>
          </a:prstGeom>
          <a:blipFill dpi="0" rotWithShape="0">
            <a:blip r:embed="rId3"/>
            <a:srcRect/>
            <a:tile tx="0" ty="0" sx="100000" sy="100000" flip="none" algn="tl"/>
          </a:blipFill>
          <a:ln w="25400">
            <a:solidFill>
              <a:srgbClr val="023D7F"/>
            </a:solidFill>
            <a:round/>
            <a:headEnd/>
            <a:tailEnd/>
          </a:ln>
          <a:effectLst>
            <a:outerShdw blurRad="114300" dist="63500" dir="2700000" algn="ctr" rotWithShape="0">
              <a:schemeClr val="bg2">
                <a:alpha val="29999"/>
              </a:schemeClr>
            </a:outerShdw>
          </a:effectLst>
        </p:spPr>
        <p:txBody>
          <a:bodyPr lIns="0" tIns="0" rIns="0" bIns="0" anchor="ctr"/>
          <a:lstStyle>
            <a:lvl1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2pPr>
            <a:lvl3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3pPr>
            <a:lvl4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4pPr>
            <a:lvl5pPr eaLnBrk="0" hangingPunct="0">
              <a:tabLst>
                <a:tab pos="1066800" algn="l"/>
              </a:tabLst>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tabLst>
                <a:tab pos="1066800" algn="l"/>
              </a:tabLst>
              <a:defRPr sz="3200">
                <a:solidFill>
                  <a:srgbClr val="000000"/>
                </a:solidFill>
                <a:latin typeface="Gill Sans" pitchFamily="-65" charset="0"/>
                <a:ea typeface="ヒラギノ角ゴ ProN W3" pitchFamily="-65" charset="-128"/>
                <a:sym typeface="Gill Sans" pitchFamily="-65" charset="0"/>
              </a:defRPr>
            </a:lvl9pPr>
          </a:lstStyle>
          <a:p>
            <a:pPr eaLnBrk="1" hangingPunct="1"/>
            <a:endParaRPr lang="en-US" altLang="en-US" sz="2160">
              <a:solidFill>
                <a:srgbClr val="FFFFFF"/>
              </a:solidFill>
              <a:cs typeface="Gill Sans" pitchFamily="-65" charset="0"/>
            </a:endParaRPr>
          </a:p>
        </p:txBody>
      </p:sp>
      <p:sp>
        <p:nvSpPr>
          <p:cNvPr id="114708" name="TextBox 48"/>
          <p:cNvSpPr txBox="1">
            <a:spLocks noChangeArrowheads="1"/>
          </p:cNvSpPr>
          <p:nvPr/>
        </p:nvSpPr>
        <p:spPr bwMode="auto">
          <a:xfrm>
            <a:off x="6713220" y="4183380"/>
            <a:ext cx="1226618"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r>
              <a:rPr lang="en-US" altLang="en-US" sz="2520">
                <a:latin typeface="Arial" panose="020B0604020202020204" pitchFamily="34" charset="0"/>
                <a:cs typeface="Arial" panose="020B0604020202020204" pitchFamily="34" charset="0"/>
              </a:rPr>
              <a:t>6 × 20</a:t>
            </a:r>
          </a:p>
        </p:txBody>
      </p:sp>
    </p:spTree>
    <p:extLst>
      <p:ext uri="{BB962C8B-B14F-4D97-AF65-F5344CB8AC3E}">
        <p14:creationId xmlns:p14="http://schemas.microsoft.com/office/powerpoint/2010/main" val="151787108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Title 1"/>
          <p:cNvSpPr>
            <a:spLocks noGrp="1"/>
          </p:cNvSpPr>
          <p:nvPr>
            <p:ph type="title"/>
          </p:nvPr>
        </p:nvSpPr>
        <p:spPr>
          <a:xfrm>
            <a:off x="2450619" y="348007"/>
            <a:ext cx="8747308" cy="249008"/>
          </a:xfrm>
        </p:spPr>
        <p:txBody>
          <a:bodyPr/>
          <a:lstStyle/>
          <a:p>
            <a:r>
              <a:rPr lang="en-US" altLang="en-US" sz="2000" b="0" dirty="0">
                <a:latin typeface="Arial" panose="020B0604020202020204" pitchFamily="34" charset="0"/>
              </a:rPr>
              <a:t>Three issues</a:t>
            </a:r>
          </a:p>
        </p:txBody>
      </p:sp>
      <p:sp>
        <p:nvSpPr>
          <p:cNvPr id="10" name="Rounded Rectangle 9"/>
          <p:cNvSpPr>
            <a:spLocks noChangeArrowheads="1"/>
          </p:cNvSpPr>
          <p:nvPr/>
        </p:nvSpPr>
        <p:spPr bwMode="auto">
          <a:xfrm>
            <a:off x="2941320" y="1508760"/>
            <a:ext cx="5098896" cy="514351"/>
          </a:xfrm>
          <a:prstGeom prst="roundRect">
            <a:avLst>
              <a:gd name="adj" fmla="val 16667"/>
            </a:avLst>
          </a:prstGeom>
          <a:gradFill rotWithShape="1">
            <a:gsLst>
              <a:gs pos="0">
                <a:srgbClr val="ECF0EC"/>
              </a:gs>
              <a:gs pos="64999">
                <a:srgbClr val="CCD8CE"/>
              </a:gs>
              <a:gs pos="100000">
                <a:srgbClr val="B6C8B8"/>
              </a:gs>
            </a:gsLst>
            <a:lin ang="5400000" scaled="1"/>
          </a:gradFill>
          <a:ln w="15875">
            <a:solidFill>
              <a:srgbClr val="0F4F1E"/>
            </a:solidFill>
            <a:round/>
            <a:headEnd/>
            <a:tailEnd/>
          </a:ln>
          <a:effectLst>
            <a:outerShdw blurRad="40000" dist="20000" dir="5400000" rotWithShape="0">
              <a:srgbClr val="808080">
                <a:alpha val="37999"/>
              </a:srgbClr>
            </a:outerShdw>
          </a:effectLst>
        </p:spPr>
        <p:txBody>
          <a:bodyPr anchor="ctr"/>
          <a:lstStyle>
            <a:lvl1pPr indent="282575"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r>
              <a:rPr lang="en-US" altLang="en-US" sz="2800" dirty="0">
                <a:solidFill>
                  <a:schemeClr val="tx1"/>
                </a:solidFill>
                <a:latin typeface="Arial" panose="020B0604020202020204" pitchFamily="34" charset="0"/>
                <a:cs typeface="Arial" panose="020B0604020202020204" pitchFamily="34" charset="0"/>
              </a:rPr>
              <a:t>Estimation in a common unit</a:t>
            </a:r>
          </a:p>
        </p:txBody>
      </p:sp>
      <p:sp>
        <p:nvSpPr>
          <p:cNvPr id="11" name="Rounded Rectangle 10"/>
          <p:cNvSpPr>
            <a:spLocks noChangeArrowheads="1"/>
          </p:cNvSpPr>
          <p:nvPr/>
        </p:nvSpPr>
        <p:spPr bwMode="auto">
          <a:xfrm>
            <a:off x="2941320" y="3017520"/>
            <a:ext cx="5026888" cy="565786"/>
          </a:xfrm>
          <a:prstGeom prst="roundRect">
            <a:avLst>
              <a:gd name="adj" fmla="val 16667"/>
            </a:avLst>
          </a:prstGeom>
          <a:gradFill rotWithShape="1">
            <a:gsLst>
              <a:gs pos="0">
                <a:srgbClr val="ECF0EC"/>
              </a:gs>
              <a:gs pos="64999">
                <a:srgbClr val="CCD8CE"/>
              </a:gs>
              <a:gs pos="100000">
                <a:srgbClr val="B6C8B8"/>
              </a:gs>
            </a:gsLst>
            <a:lin ang="5400000" scaled="1"/>
          </a:gradFill>
          <a:ln w="15875">
            <a:solidFill>
              <a:srgbClr val="0F4F1E"/>
            </a:solidFill>
            <a:round/>
            <a:headEnd/>
            <a:tailEnd/>
          </a:ln>
          <a:effectLst>
            <a:outerShdw blurRad="40000" dist="20000" dir="5400000" rotWithShape="0">
              <a:srgbClr val="808080">
                <a:alpha val="37999"/>
              </a:srgbClr>
            </a:outerShdw>
          </a:effectLst>
        </p:spPr>
        <p:txBody>
          <a:bodyPr anchor="ctr"/>
          <a:lstStyle>
            <a:lvl1pPr indent="282575"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r>
              <a:rPr lang="en-US" altLang="en-US" sz="2880" dirty="0">
                <a:solidFill>
                  <a:schemeClr val="tx1"/>
                </a:solidFill>
                <a:latin typeface="Arial" panose="020B0604020202020204" pitchFamily="34" charset="0"/>
                <a:cs typeface="Arial" panose="020B0604020202020204" pitchFamily="34" charset="0"/>
              </a:rPr>
              <a:t>Sprint planning</a:t>
            </a:r>
          </a:p>
        </p:txBody>
      </p:sp>
      <p:sp>
        <p:nvSpPr>
          <p:cNvPr id="12" name="Rounded Rectangle 11"/>
          <p:cNvSpPr>
            <a:spLocks noChangeArrowheads="1"/>
          </p:cNvSpPr>
          <p:nvPr/>
        </p:nvSpPr>
        <p:spPr bwMode="auto">
          <a:xfrm>
            <a:off x="2941320" y="4526280"/>
            <a:ext cx="5026888" cy="414888"/>
          </a:xfrm>
          <a:prstGeom prst="roundRect">
            <a:avLst>
              <a:gd name="adj" fmla="val 16667"/>
            </a:avLst>
          </a:prstGeom>
          <a:gradFill rotWithShape="1">
            <a:gsLst>
              <a:gs pos="0">
                <a:srgbClr val="ECF0EC"/>
              </a:gs>
              <a:gs pos="64999">
                <a:srgbClr val="CCD8CE"/>
              </a:gs>
              <a:gs pos="100000">
                <a:srgbClr val="B6C8B8"/>
              </a:gs>
            </a:gsLst>
            <a:lin ang="5400000" scaled="1"/>
          </a:gradFill>
          <a:ln w="15875">
            <a:solidFill>
              <a:srgbClr val="0F4F1E"/>
            </a:solidFill>
            <a:round/>
            <a:headEnd/>
            <a:tailEnd/>
          </a:ln>
          <a:effectLst>
            <a:outerShdw blurRad="40000" dist="20000" dir="5400000" rotWithShape="0">
              <a:srgbClr val="808080">
                <a:alpha val="37999"/>
              </a:srgbClr>
            </a:outerShdw>
          </a:effectLst>
        </p:spPr>
        <p:txBody>
          <a:bodyPr anchor="ctr"/>
          <a:lstStyle>
            <a:lvl1pPr indent="282575"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r>
              <a:rPr lang="en-US" altLang="en-US" sz="2880">
                <a:solidFill>
                  <a:schemeClr val="tx1"/>
                </a:solidFill>
                <a:latin typeface="Arial" panose="020B0604020202020204" pitchFamily="34" charset="0"/>
                <a:cs typeface="Arial" panose="020B0604020202020204" pitchFamily="34" charset="0"/>
              </a:rPr>
              <a:t>Dependencies</a:t>
            </a:r>
          </a:p>
        </p:txBody>
      </p:sp>
      <p:pic>
        <p:nvPicPr>
          <p:cNvPr id="116742"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61260" y="995839"/>
            <a:ext cx="948690"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6743" name="Picture 1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61260" y="2507457"/>
            <a:ext cx="925830"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6744" name="Picture 1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461260" y="4020503"/>
            <a:ext cx="925830"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8349586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Title 5"/>
          <p:cNvSpPr>
            <a:spLocks noGrp="1"/>
          </p:cNvSpPr>
          <p:nvPr>
            <p:ph type="title"/>
          </p:nvPr>
        </p:nvSpPr>
        <p:spPr>
          <a:xfrm>
            <a:off x="1559496" y="332656"/>
            <a:ext cx="10972800" cy="249008"/>
          </a:xfrm>
        </p:spPr>
        <p:txBody>
          <a:bodyPr/>
          <a:lstStyle/>
          <a:p>
            <a:r>
              <a:rPr lang="en-US" altLang="en-US" b="0" dirty="0">
                <a:latin typeface="Arial" panose="020B0604020202020204" pitchFamily="34" charset="0"/>
              </a:rPr>
              <a:t>Establish a common baseline</a:t>
            </a:r>
          </a:p>
        </p:txBody>
      </p:sp>
      <p:sp>
        <p:nvSpPr>
          <p:cNvPr id="117763" name="Content Placeholder 6"/>
          <p:cNvSpPr>
            <a:spLocks noGrp="1"/>
          </p:cNvSpPr>
          <p:nvPr>
            <p:ph idx="1"/>
          </p:nvPr>
        </p:nvSpPr>
        <p:spPr>
          <a:xfrm>
            <a:off x="1559496" y="1916833"/>
            <a:ext cx="8510736" cy="2664296"/>
          </a:xfrm>
        </p:spPr>
        <p:txBody>
          <a:bodyPr/>
          <a:lstStyle/>
          <a:p>
            <a:r>
              <a:rPr lang="en-US" altLang="en-US" sz="1800" dirty="0">
                <a:latin typeface="Arial" panose="020B0604020202020204" pitchFamily="34" charset="0"/>
              </a:rPr>
              <a:t>All teams should agree on story points or ideal days</a:t>
            </a:r>
          </a:p>
          <a:p>
            <a:r>
              <a:rPr lang="en-US" altLang="en-US" sz="1800" dirty="0">
                <a:latin typeface="Arial" panose="020B0604020202020204" pitchFamily="34" charset="0"/>
              </a:rPr>
              <a:t>Establish a common baseline</a:t>
            </a:r>
          </a:p>
          <a:p>
            <a:endParaRPr lang="en-US" altLang="en-US" sz="1800" dirty="0">
              <a:latin typeface="Arial" panose="020B0604020202020204" pitchFamily="34" charset="0"/>
            </a:endParaRPr>
          </a:p>
          <a:p>
            <a:pPr lvl="1"/>
            <a:r>
              <a:rPr lang="en-US" altLang="en-US" sz="1800" dirty="0">
                <a:latin typeface="Arial" panose="020B0604020202020204" pitchFamily="34" charset="0"/>
              </a:rPr>
              <a:t>Select a dozen or so user stories that were done recently or are on the product backlog</a:t>
            </a:r>
          </a:p>
          <a:p>
            <a:pPr lvl="1"/>
            <a:r>
              <a:rPr lang="en-US" altLang="en-US" sz="1800" dirty="0">
                <a:latin typeface="Arial" panose="020B0604020202020204" pitchFamily="34" charset="0"/>
              </a:rPr>
              <a:t>Estimate them </a:t>
            </a:r>
            <a:r>
              <a:rPr lang="en-US" altLang="en-US" sz="1800" dirty="0" err="1">
                <a:latin typeface="Arial" panose="020B0604020202020204" pitchFamily="34" charset="0"/>
              </a:rPr>
              <a:t>en</a:t>
            </a:r>
            <a:r>
              <a:rPr lang="en-US" altLang="en-US" sz="1800" dirty="0">
                <a:latin typeface="Arial" panose="020B0604020202020204" pitchFamily="34" charset="0"/>
              </a:rPr>
              <a:t> masse with Planning Poker</a:t>
            </a:r>
          </a:p>
        </p:txBody>
      </p:sp>
    </p:spTree>
    <p:extLst>
      <p:ext uri="{BB962C8B-B14F-4D97-AF65-F5344CB8AC3E}">
        <p14:creationId xmlns:p14="http://schemas.microsoft.com/office/powerpoint/2010/main" val="142993015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1"/>
          <p:cNvSpPr>
            <a:spLocks/>
          </p:cNvSpPr>
          <p:nvPr/>
        </p:nvSpPr>
        <p:spPr bwMode="auto">
          <a:xfrm>
            <a:off x="1786890" y="1771650"/>
            <a:ext cx="7189430" cy="3889598"/>
          </a:xfrm>
          <a:prstGeom prst="rect">
            <a:avLst/>
          </a:prstGeom>
          <a:blipFill dpi="0" rotWithShape="0">
            <a:blip r:embed="rId3"/>
            <a:srcRect/>
            <a:tile tx="0" ty="0" sx="100000" sy="100000" flip="none" algn="tl"/>
          </a:blipFill>
          <a:ln w="12700">
            <a:solidFill>
              <a:srgbClr val="8E8E8E"/>
            </a:solidFill>
            <a:miter lim="800000"/>
            <a:headEnd/>
            <a:tailEnd/>
          </a:ln>
          <a:effectLst>
            <a:outerShdw blurRad="76200" dist="50800" dir="21480060" algn="ctr" rotWithShape="0">
              <a:schemeClr val="bg2">
                <a:alpha val="39998"/>
              </a:schemeClr>
            </a:outerShdw>
          </a:effectLst>
        </p:spPr>
        <p:txBody>
          <a:bodyPr lIns="0" tIns="0" rIns="0" bIns="0"/>
          <a:lstStyle>
            <a:lvl1pPr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eaLnBrk="1" hangingPunct="1"/>
            <a:endParaRPr lang="en-US" altLang="en-US" sz="2880"/>
          </a:p>
        </p:txBody>
      </p:sp>
      <p:sp>
        <p:nvSpPr>
          <p:cNvPr id="118788" name="Rectangle 2"/>
          <p:cNvSpPr>
            <a:spLocks noGrp="1" noChangeArrowheads="1"/>
          </p:cNvSpPr>
          <p:nvPr>
            <p:ph type="title"/>
          </p:nvPr>
        </p:nvSpPr>
        <p:spPr>
          <a:xfrm>
            <a:off x="1786890" y="278831"/>
            <a:ext cx="10225136" cy="199636"/>
          </a:xfrm>
        </p:spPr>
        <p:txBody>
          <a:bodyPr anchor="t"/>
          <a:lstStyle/>
          <a:p>
            <a:pPr eaLnBrk="1" hangingPunct="1">
              <a:lnSpc>
                <a:spcPct val="70000"/>
              </a:lnSpc>
            </a:pPr>
            <a:r>
              <a:rPr lang="en-US" altLang="en-US" b="0" dirty="0">
                <a:latin typeface="Arial" panose="020B0604020202020204" pitchFamily="34" charset="0"/>
                <a:cs typeface="Arial" panose="020B0604020202020204" pitchFamily="34" charset="0"/>
              </a:rPr>
              <a:t>Be careful with cross-team comparisons</a:t>
            </a:r>
          </a:p>
        </p:txBody>
      </p:sp>
      <p:graphicFrame>
        <p:nvGraphicFramePr>
          <p:cNvPr id="118786" name="Object 2"/>
          <p:cNvGraphicFramePr>
            <a:graphicFrameLocks/>
          </p:cNvGraphicFramePr>
          <p:nvPr>
            <p:extLst>
              <p:ext uri="{D42A27DB-BD31-4B8C-83A1-F6EECF244321}">
                <p14:modId xmlns:p14="http://schemas.microsoft.com/office/powerpoint/2010/main" val="1638885188"/>
              </p:ext>
            </p:extLst>
          </p:nvPr>
        </p:nvGraphicFramePr>
        <p:xfrm>
          <a:off x="2034065" y="1680210"/>
          <a:ext cx="6553165" cy="3920356"/>
        </p:xfrm>
        <a:graphic>
          <a:graphicData uri="http://schemas.openxmlformats.org/presentationml/2006/ole">
            <mc:AlternateContent xmlns:mc="http://schemas.openxmlformats.org/markup-compatibility/2006">
              <mc:Choice xmlns:v="urn:schemas-microsoft-com:vml" Requires="v">
                <p:oleObj spid="_x0000_s26061" name="Chart" r:id="rId4" imgW="0" imgH="0" progId="MSGraph.Chart.8">
                  <p:embed/>
                </p:oleObj>
              </mc:Choice>
              <mc:Fallback>
                <p:oleObj name="Chart" r:id="rId4" imgW="0" imgH="0" progId="MSGraph.Chart.8">
                  <p:embed/>
                  <p:pic>
                    <p:nvPicPr>
                      <p:cNvPr id="118786" name="Object 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34065" y="1680210"/>
                        <a:ext cx="6553165" cy="3920356"/>
                      </a:xfrm>
                      <a:prstGeom prst="rect">
                        <a:avLst/>
                      </a:prstGeom>
                      <a:noFill/>
                      <a:ln>
                        <a:noFill/>
                      </a:ln>
                      <a:effectLst/>
                    </p:spPr>
                  </p:pic>
                </p:oleObj>
              </mc:Fallback>
            </mc:AlternateContent>
          </a:graphicData>
        </a:graphic>
      </p:graphicFrame>
      <p:grpSp>
        <p:nvGrpSpPr>
          <p:cNvPr id="2" name="Group 9"/>
          <p:cNvGrpSpPr>
            <a:grpSpLocks/>
          </p:cNvGrpSpPr>
          <p:nvPr/>
        </p:nvGrpSpPr>
        <p:grpSpPr bwMode="auto">
          <a:xfrm>
            <a:off x="2711624" y="1124744"/>
            <a:ext cx="2787784" cy="2132836"/>
            <a:chOff x="5740400" y="1828800"/>
            <a:chExt cx="4061600" cy="3200400"/>
          </a:xfrm>
        </p:grpSpPr>
        <p:pic>
          <p:nvPicPr>
            <p:cNvPr id="118790" name="Picture 7"/>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740400" y="1828800"/>
              <a:ext cx="4061600"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8791" name="TextBox 8"/>
            <p:cNvSpPr txBox="1">
              <a:spLocks noChangeArrowheads="1"/>
            </p:cNvSpPr>
            <p:nvPr/>
          </p:nvSpPr>
          <p:spPr bwMode="auto">
            <a:xfrm>
              <a:off x="5892830" y="1981201"/>
              <a:ext cx="3530572" cy="2078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38138" indent="-338138" eaLnBrk="0" hangingPunct="0">
                <a:defRPr sz="3200">
                  <a:solidFill>
                    <a:srgbClr val="000000"/>
                  </a:solidFill>
                  <a:latin typeface="Gill Sans" pitchFamily="-65" charset="0"/>
                  <a:ea typeface="ヒラギノ角ゴ ProN W3" pitchFamily="-65" charset="-128"/>
                  <a:sym typeface="Gill Sans" pitchFamily="-65" charset="0"/>
                </a:defRPr>
              </a:lvl1pPr>
              <a:lvl2pPr marL="37931725" indent="-37474525" eaLnBrk="0" hangingPunct="0">
                <a:defRPr sz="3200">
                  <a:solidFill>
                    <a:srgbClr val="000000"/>
                  </a:solidFill>
                  <a:latin typeface="Gill Sans" pitchFamily="-65" charset="0"/>
                  <a:ea typeface="ヒラギノ角ゴ ProN W3" pitchFamily="-65" charset="-128"/>
                  <a:sym typeface="Gill Sans" pitchFamily="-65" charset="0"/>
                </a:defRPr>
              </a:lvl2pPr>
              <a:lvl3pPr eaLnBrk="0" hangingPunct="0">
                <a:defRPr sz="3200">
                  <a:solidFill>
                    <a:srgbClr val="000000"/>
                  </a:solidFill>
                  <a:latin typeface="Gill Sans" pitchFamily="-65" charset="0"/>
                  <a:ea typeface="ヒラギノ角ゴ ProN W3" pitchFamily="-65" charset="-128"/>
                  <a:sym typeface="Gill Sans" pitchFamily="-65" charset="0"/>
                </a:defRPr>
              </a:lvl3pPr>
              <a:lvl4pPr eaLnBrk="0" hangingPunct="0">
                <a:defRPr sz="3200">
                  <a:solidFill>
                    <a:srgbClr val="000000"/>
                  </a:solidFill>
                  <a:latin typeface="Gill Sans" pitchFamily="-65" charset="0"/>
                  <a:ea typeface="ヒラギノ角ゴ ProN W3" pitchFamily="-65" charset="-128"/>
                  <a:sym typeface="Gill Sans" pitchFamily="-65" charset="0"/>
                </a:defRPr>
              </a:lvl4pPr>
              <a:lvl5pPr eaLnBrk="0" hangingPunct="0">
                <a:defRPr sz="3200">
                  <a:solidFill>
                    <a:srgbClr val="000000"/>
                  </a:solidFill>
                  <a:latin typeface="Gill Sans" pitchFamily="-65" charset="0"/>
                  <a:ea typeface="ヒラギノ角ゴ ProN W3" pitchFamily="-65" charset="-128"/>
                  <a:sym typeface="Gill Sans" pitchFamily="-65" charset="0"/>
                </a:defRPr>
              </a:lvl5pPr>
              <a:lvl6pPr marL="4572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6pPr>
              <a:lvl7pPr marL="9144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7pPr>
              <a:lvl8pPr marL="13716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8pPr>
              <a:lvl9pPr marL="1828800" eaLnBrk="0" fontAlgn="base" hangingPunct="0">
                <a:spcBef>
                  <a:spcPct val="0"/>
                </a:spcBef>
                <a:spcAft>
                  <a:spcPct val="0"/>
                </a:spcAft>
                <a:defRPr sz="3200">
                  <a:solidFill>
                    <a:srgbClr val="000000"/>
                  </a:solidFill>
                  <a:latin typeface="Gill Sans" pitchFamily="-65" charset="0"/>
                  <a:ea typeface="ヒラギノ角ゴ ProN W3" pitchFamily="-65" charset="-128"/>
                  <a:sym typeface="Gill Sans" pitchFamily="-65" charset="0"/>
                </a:defRPr>
              </a:lvl9pPr>
            </a:lstStyle>
            <a:p>
              <a:pPr algn="l" eaLnBrk="1" hangingPunct="1">
                <a:buFont typeface="Arial" panose="020B0604020202020204" pitchFamily="34" charset="0"/>
                <a:buChar char="•"/>
              </a:pPr>
              <a:r>
                <a:rPr lang="en-US" altLang="en-US" sz="1400" dirty="0">
                  <a:latin typeface="Arial" panose="020B0604020202020204" pitchFamily="34" charset="0"/>
                  <a:cs typeface="Arial" panose="020B0604020202020204" pitchFamily="34" charset="0"/>
                </a:rPr>
                <a:t>When did this firm start comparing velocity?</a:t>
              </a:r>
            </a:p>
            <a:p>
              <a:pPr marL="0" indent="0" algn="l" eaLnBrk="1" hangingPunct="1"/>
              <a:endParaRPr lang="en-US" altLang="en-US" sz="1400" dirty="0">
                <a:latin typeface="Arial" panose="020B0604020202020204" pitchFamily="34" charset="0"/>
                <a:cs typeface="Arial" panose="020B0604020202020204" pitchFamily="34" charset="0"/>
              </a:endParaRPr>
            </a:p>
            <a:p>
              <a:pPr algn="l" eaLnBrk="1" hangingPunct="1">
                <a:buFont typeface="Arial" panose="020B0604020202020204" pitchFamily="34" charset="0"/>
                <a:buChar char="•"/>
              </a:pPr>
              <a:r>
                <a:rPr lang="en-US" altLang="en-US" sz="1400" dirty="0">
                  <a:latin typeface="Arial" panose="020B0604020202020204" pitchFamily="34" charset="0"/>
                  <a:cs typeface="Arial" panose="020B0604020202020204" pitchFamily="34" charset="0"/>
                </a:rPr>
                <a:t>When did the yellow team figure out they were being compared?</a:t>
              </a:r>
            </a:p>
          </p:txBody>
        </p:sp>
      </p:grpSp>
    </p:spTree>
    <p:extLst>
      <p:ext uri="{BB962C8B-B14F-4D97-AF65-F5344CB8AC3E}">
        <p14:creationId xmlns:p14="http://schemas.microsoft.com/office/powerpoint/2010/main" val="187412186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7"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900" decel="100000" fill="hold"/>
                                        <p:tgtEl>
                                          <p:spTgt spid="2"/>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2"/>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IO_EK_DESIGN" val="2529"/>
  <p:tag name="MIO_VERSION_DESIGN" val="22.08.2016 13:30:56"/>
  <p:tag name="MIO_DBID_DESIGN" val="218709A9-2117-4AF1-A1EA-309C9A305E58"/>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3"/>
  <p:tag name="MIO_SHOW_DATE" val="False"/>
  <p:tag name="MIO_SHOW_FOOTER" val="True"/>
  <p:tag name="MIO_SHOW_PAGENUMBER" val="True"/>
  <p:tag name="MIO_AVOID_BLANK_LAYOUT" val="False"/>
  <p:tag name="MIO_NUMBER_OF_VALID_LAYOUTS" val="33"/>
  <p:tag name="MIO_MST_COLOR_1" val="0,0,0,Dunkel 1"/>
  <p:tag name="MIO_MST_COLOR_2" val="255,255,255,Hell 1"/>
  <p:tag name="MIO_MST_COLOR_3" val="235,60,150,Dunkel 2"/>
  <p:tag name="MIO_MST_COLOR_4" val="45,190,205,Hell 2"/>
  <p:tag name="MIO_MST_COLOR_5" val="80,50,145,Akzent 1"/>
  <p:tag name="MIO_MST_COLOR_6" val="15,105,175,Akzent 2"/>
  <p:tag name="MIO_MST_COLOR_7" val="165,205,80,Akzent 3"/>
  <p:tag name="MIO_MST_COLOR_8" val="255,200,50,Akzent 4"/>
  <p:tag name="MIO_MST_COLOR_9" val="235,60,150,Akzent 5"/>
  <p:tag name="MIO_MST_COLOR_10" val="20,155,95,Akzent 6"/>
  <p:tag name="MIO_MST_COLOR_11" val="80,50,145,"/>
  <p:tag name="MIO_MST_COLOR_12" val="80,50,145,"/>
  <p:tag name="MIO_HDS" val="True"/>
  <p:tag name="MIO_EK" val="4356"/>
  <p:tag name="MIO_EKGUID" val="d3966470-1aae-44cc-a28f-f6e6860199f5"/>
  <p:tag name="MIO_UPDATE" val="True"/>
  <p:tag name="MIO_VERSION" val="22.08.2016 13:50:41"/>
  <p:tag name="MIO_DBID" val="218709A9-2117-4AF1-A1EA-309C9A305E58"/>
  <p:tag name="MIO_LASTDOWNLOADED" val="08.11.2016 15:53:12"/>
  <p:tag name="MIO_OBJECTNAME" val="MilliporeSigma"/>
  <p:tag name="MIO_LASTEDITORNAME" val="Brigitte Schneid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lliporeSigma">
  <a:themeElements>
    <a:clrScheme name="Merck neu">
      <a:dk1>
        <a:srgbClr val="000000"/>
      </a:dk1>
      <a:lt1>
        <a:srgbClr val="FFFFFF"/>
      </a:lt1>
      <a:dk2>
        <a:srgbClr val="EB3C96"/>
      </a:dk2>
      <a:lt2>
        <a:srgbClr val="2DBECD"/>
      </a:lt2>
      <a:accent1>
        <a:srgbClr val="503291"/>
      </a:accent1>
      <a:accent2>
        <a:srgbClr val="0F69AF"/>
      </a:accent2>
      <a:accent3>
        <a:srgbClr val="A5CD50"/>
      </a:accent3>
      <a:accent4>
        <a:srgbClr val="FFC832"/>
      </a:accent4>
      <a:accent5>
        <a:srgbClr val="EB3C96"/>
      </a:accent5>
      <a:accent6>
        <a:srgbClr val="149B5F"/>
      </a:accent6>
      <a:hlink>
        <a:srgbClr val="503291"/>
      </a:hlink>
      <a:folHlink>
        <a:srgbClr val="503291"/>
      </a:folHlink>
    </a:clrScheme>
    <a:fontScheme name="Merck">
      <a:majorFont>
        <a:latin typeface="Verdana"/>
        <a:ea typeface=""/>
        <a:cs typeface=""/>
      </a:majorFont>
      <a:minorFont>
        <a:latin typeface="Verdana"/>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cap="flat" cmpd="sng" algn="ctr">
          <a:noFill/>
          <a:prstDash val="solid"/>
        </a:ln>
        <a:effectLst/>
      </a:spPr>
      <a:bodyPr rtlCol="0" anchor="ctr" anchorCtr="0"/>
      <a:lstStyle>
        <a:defPPr marL="0" indent="0" algn="ctr">
          <a:spcBef>
            <a:spcPts val="300"/>
          </a:spcBef>
          <a:spcAft>
            <a:spcPts val="300"/>
          </a:spcAft>
          <a:buClr>
            <a:schemeClr val="bg1"/>
          </a:buClr>
          <a:buSzPct val="100000"/>
          <a:buFont typeface="Arial" panose="020B0604020202020204" pitchFamily="34" charset="0"/>
          <a:buNone/>
          <a:defRPr sz="1600" kern="0" dirty="0" err="1" smtClean="0">
            <a:solidFill>
              <a:srgbClr val="FFFFFF"/>
            </a:solidFill>
            <a:latin typeface="Verdana"/>
          </a:defRPr>
        </a:defPPr>
      </a:lst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R="0" algn="l" defTabSz="914400" rtl="0" eaLnBrk="1" fontAlgn="auto" latinLnBrk="0" hangingPunct="1">
          <a:lnSpc>
            <a:spcPct val="100000"/>
          </a:lnSpc>
          <a:spcBef>
            <a:spcPts val="300"/>
          </a:spcBef>
          <a:spcAft>
            <a:spcPts val="300"/>
          </a:spcAft>
          <a:buClr>
            <a:schemeClr val="accent1"/>
          </a:buClr>
          <a:buSzTx/>
          <a:tabLst/>
          <a:defRPr kumimoji="0" sz="1600" b="0" i="0" u="none" strike="noStrike" kern="1200" cap="none" spc="0" normalizeH="0" baseline="0" noProof="0" dirty="0" err="1"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defPPr>
      </a:lstStyle>
    </a:txDef>
  </a:objectDefaults>
  <a:extraClrSchemeLst/>
  <a:custClrLst>
    <a:custClr name="Rich Purple">
      <a:srgbClr val="503291"/>
    </a:custClr>
    <a:custClr name="Rich Blue">
      <a:srgbClr val="0F69AF"/>
    </a:custClr>
    <a:custClr name="Rich Green">
      <a:srgbClr val="149B5F"/>
    </a:custClr>
    <a:custClr name="Rich Red">
      <a:srgbClr val="E61E50"/>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Vibrant Magenta">
      <a:srgbClr val="EB3C96"/>
    </a:custClr>
    <a:custClr name="Vibrant Cyan">
      <a:srgbClr val="2DBECD"/>
    </a:custClr>
    <a:custClr name="Vibrant Green">
      <a:srgbClr val="A5CD50"/>
    </a:custClr>
    <a:custClr name="Vibrant Yellow">
      <a:srgbClr val="FFC832"/>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Sensitive Pink">
      <a:srgbClr val="E1C3CD"/>
    </a:custClr>
    <a:custClr name="Sensitive Blue">
      <a:srgbClr val="96D7D2"/>
    </a:custClr>
    <a:custClr name="Sensitive Green">
      <a:srgbClr val="B4DC96"/>
    </a:custClr>
    <a:custClr name="Sensitive Yellow">
      <a:srgbClr val="FFDCB9"/>
    </a:custClr>
    <a:custClr name=" ">
      <a:srgbClr val="FFFFFF"/>
    </a:custClr>
    <a:custClr name=" ">
      <a:srgbClr val="FFFFFF"/>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Millipore Sigma.potx" id="{2F240EA9-D00C-4EDC-93A3-E4CF5E7E0D74}" vid="{F6B4CB24-28C0-408F-A174-C25F1F604268}"/>
    </a:ext>
  </a:extLst>
</a:theme>
</file>

<file path=ppt/theme/theme2.xml><?xml version="1.0" encoding="utf-8"?>
<a:theme xmlns:a="http://schemas.openxmlformats.org/drawingml/2006/main" name="Office Theme">
  <a:themeElements>
    <a:clrScheme name="Custom 1">
      <a:dk1>
        <a:srgbClr val="000000"/>
      </a:dk1>
      <a:lt1>
        <a:srgbClr val="FFFFFF"/>
      </a:lt1>
      <a:dk2>
        <a:srgbClr val="EB1E4F"/>
      </a:dk2>
      <a:lt2>
        <a:srgbClr val="28BECD"/>
      </a:lt2>
      <a:accent1>
        <a:srgbClr val="52328F"/>
      </a:accent1>
      <a:accent2>
        <a:srgbClr val="0068B0"/>
      </a:accent2>
      <a:accent3>
        <a:srgbClr val="A6CD4D"/>
      </a:accent3>
      <a:accent4>
        <a:srgbClr val="FFCA30"/>
      </a:accent4>
      <a:accent5>
        <a:srgbClr val="EB4296"/>
      </a:accent5>
      <a:accent6>
        <a:srgbClr val="00995C"/>
      </a:accent6>
      <a:hlink>
        <a:srgbClr val="52328F"/>
      </a:hlink>
      <a:folHlink>
        <a:srgbClr val="52328F"/>
      </a:folHlink>
    </a:clrScheme>
    <a:fontScheme name="Merck">
      <a:majorFont>
        <a:latin typeface="Verdana"/>
        <a:ea typeface=""/>
        <a:cs typeface=""/>
      </a:majorFont>
      <a:minorFont>
        <a:latin typeface="Verdana"/>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erck neu">
    <a:dk1>
      <a:srgbClr val="000000"/>
    </a:dk1>
    <a:lt1>
      <a:srgbClr val="FFFFFF"/>
    </a:lt1>
    <a:dk2>
      <a:srgbClr val="EB3C96"/>
    </a:dk2>
    <a:lt2>
      <a:srgbClr val="2DBECD"/>
    </a:lt2>
    <a:accent1>
      <a:srgbClr val="503291"/>
    </a:accent1>
    <a:accent2>
      <a:srgbClr val="0F69AF"/>
    </a:accent2>
    <a:accent3>
      <a:srgbClr val="A5CD50"/>
    </a:accent3>
    <a:accent4>
      <a:srgbClr val="FFC832"/>
    </a:accent4>
    <a:accent5>
      <a:srgbClr val="EB3C96"/>
    </a:accent5>
    <a:accent6>
      <a:srgbClr val="149B5F"/>
    </a:accent6>
    <a:hlink>
      <a:srgbClr val="503291"/>
    </a:hlink>
    <a:folHlink>
      <a:srgbClr val="503291"/>
    </a:folHlink>
  </a:clrScheme>
</a:themeOverride>
</file>

<file path=ppt/theme/themeOverride2.xml><?xml version="1.0" encoding="utf-8"?>
<a:themeOverride xmlns:a="http://schemas.openxmlformats.org/drawingml/2006/main">
  <a:clrScheme name="Merck neu">
    <a:dk1>
      <a:srgbClr val="000000"/>
    </a:dk1>
    <a:lt1>
      <a:srgbClr val="FFFFFF"/>
    </a:lt1>
    <a:dk2>
      <a:srgbClr val="EB3C96"/>
    </a:dk2>
    <a:lt2>
      <a:srgbClr val="2DBECD"/>
    </a:lt2>
    <a:accent1>
      <a:srgbClr val="503291"/>
    </a:accent1>
    <a:accent2>
      <a:srgbClr val="0F69AF"/>
    </a:accent2>
    <a:accent3>
      <a:srgbClr val="A5CD50"/>
    </a:accent3>
    <a:accent4>
      <a:srgbClr val="FFC832"/>
    </a:accent4>
    <a:accent5>
      <a:srgbClr val="EB3C96"/>
    </a:accent5>
    <a:accent6>
      <a:srgbClr val="149B5F"/>
    </a:accent6>
    <a:hlink>
      <a:srgbClr val="503291"/>
    </a:hlink>
    <a:folHlink>
      <a:srgbClr val="503291"/>
    </a:folHlink>
  </a:clrScheme>
</a:themeOverride>
</file>

<file path=docProps/app.xml><?xml version="1.0" encoding="utf-8"?>
<Properties xmlns="http://schemas.openxmlformats.org/officeDocument/2006/extended-properties" xmlns:vt="http://schemas.openxmlformats.org/officeDocument/2006/docPropsVTypes">
  <Template>TM04033919[[fn=Circuit]]</Template>
  <TotalTime>2038</TotalTime>
  <Words>5352</Words>
  <Application>Microsoft Office PowerPoint</Application>
  <PresentationFormat>Widescreen</PresentationFormat>
  <Paragraphs>1271</Paragraphs>
  <Slides>127</Slides>
  <Notes>23</Notes>
  <HiddenSlides>2</HiddenSlides>
  <MMClips>0</MMClips>
  <ScaleCrop>false</ScaleCrop>
  <HeadingPairs>
    <vt:vector size="8" baseType="variant">
      <vt:variant>
        <vt:lpstr>Fonts Used</vt:lpstr>
      </vt:variant>
      <vt:variant>
        <vt:i4>21</vt:i4>
      </vt:variant>
      <vt:variant>
        <vt:lpstr>Theme</vt:lpstr>
      </vt:variant>
      <vt:variant>
        <vt:i4>1</vt:i4>
      </vt:variant>
      <vt:variant>
        <vt:lpstr>Embedded OLE Servers</vt:lpstr>
      </vt:variant>
      <vt:variant>
        <vt:i4>3</vt:i4>
      </vt:variant>
      <vt:variant>
        <vt:lpstr>Slide Titles</vt:lpstr>
      </vt:variant>
      <vt:variant>
        <vt:i4>127</vt:i4>
      </vt:variant>
    </vt:vector>
  </HeadingPairs>
  <TitlesOfParts>
    <vt:vector size="152" baseType="lpstr">
      <vt:lpstr>ＭＳ Ｐゴシック</vt:lpstr>
      <vt:lpstr>Agency FB</vt:lpstr>
      <vt:lpstr>Arial</vt:lpstr>
      <vt:lpstr>Arial Rounded MT Bold</vt:lpstr>
      <vt:lpstr>Bauhaus 93</vt:lpstr>
      <vt:lpstr>Calibri</vt:lpstr>
      <vt:lpstr>Comic Sans MS</vt:lpstr>
      <vt:lpstr>Delicious</vt:lpstr>
      <vt:lpstr>Ebrima</vt:lpstr>
      <vt:lpstr>Franklin Gothic Book</vt:lpstr>
      <vt:lpstr>Gill Sans</vt:lpstr>
      <vt:lpstr>Lucida Grande</vt:lpstr>
      <vt:lpstr>Merck</vt:lpstr>
      <vt:lpstr>sofia-pro</vt:lpstr>
      <vt:lpstr>Symbol</vt:lpstr>
      <vt:lpstr>Times New Roman</vt:lpstr>
      <vt:lpstr>Verdana</vt:lpstr>
      <vt:lpstr>Wingdings</vt:lpstr>
      <vt:lpstr>Wingdings 2</vt:lpstr>
      <vt:lpstr>ヒラギノ角ゴ Pro W3</vt:lpstr>
      <vt:lpstr>ヒラギノ角ゴ ProN W3</vt:lpstr>
      <vt:lpstr>MilliporeSigma</vt:lpstr>
      <vt:lpstr>think-cell Slide</vt:lpstr>
      <vt:lpstr>Chart</vt:lpstr>
      <vt:lpstr>Acrobat Document</vt:lpstr>
      <vt:lpstr>Digitalization of E2E Bioprocess</vt:lpstr>
      <vt:lpstr>PowerPoint Presentation</vt:lpstr>
      <vt:lpstr>Agenda</vt:lpstr>
      <vt:lpstr>Values &amp; Principes</vt:lpstr>
      <vt:lpstr>PowerPoint Presentation</vt:lpstr>
      <vt:lpstr>What is Agile?</vt:lpstr>
      <vt:lpstr>PowerPoint Presentation</vt:lpstr>
      <vt:lpstr>Agile Manifesto – The twelve Principles</vt:lpstr>
      <vt:lpstr>Agile Values</vt:lpstr>
      <vt:lpstr>Agile /Scrum</vt:lpstr>
      <vt:lpstr>PowerPoint Presentation</vt:lpstr>
      <vt:lpstr>Project noise levels..</vt:lpstr>
      <vt:lpstr>Agile Critical Success Factors</vt:lpstr>
      <vt:lpstr>Key Agile Management Practices</vt:lpstr>
      <vt:lpstr>Key Agile Engineering Practices</vt:lpstr>
      <vt:lpstr>Concerns With Agile Adoption</vt:lpstr>
      <vt:lpstr>Myths And Misconceptions</vt:lpstr>
      <vt:lpstr>Factors Influencing Agile Adoption</vt:lpstr>
      <vt:lpstr>Key characteristics..</vt:lpstr>
      <vt:lpstr>What is Agile? - Infographic</vt:lpstr>
      <vt:lpstr>Agile Methodologies </vt:lpstr>
      <vt:lpstr>PowerPoint Presentation</vt:lpstr>
      <vt:lpstr>KANBAN System Taichii Ohno</vt:lpstr>
      <vt:lpstr>XP Core Practices</vt:lpstr>
      <vt:lpstr> Sequential VS Overlapping development </vt:lpstr>
      <vt:lpstr>GAMP®5 V Model</vt:lpstr>
      <vt:lpstr>Highest Priority – Early And Continuous Delivery Of Software</vt:lpstr>
      <vt:lpstr>Welcome Changing Requirements Even Late In Development</vt:lpstr>
      <vt:lpstr>Deliver Working Software Frequently</vt:lpstr>
      <vt:lpstr>Be Iterative &amp; Incremental</vt:lpstr>
      <vt:lpstr>SAFe Framework   The Big Picture</vt:lpstr>
      <vt:lpstr>PowerPoint Presentation</vt:lpstr>
      <vt:lpstr>PowerPoint Presentation</vt:lpstr>
      <vt:lpstr>The Backlog</vt:lpstr>
      <vt:lpstr>Product backlog Iceberg </vt:lpstr>
      <vt:lpstr>PowerPoint Presentation</vt:lpstr>
      <vt:lpstr>INVEST Principle</vt:lpstr>
      <vt:lpstr>INVEST contd….</vt:lpstr>
      <vt:lpstr>User Story Screen Shot </vt:lpstr>
      <vt:lpstr>Acceptance Criteria – An Example</vt:lpstr>
      <vt:lpstr>User Story Acceptance Criteria</vt:lpstr>
      <vt:lpstr>Managing the sprint backlog</vt:lpstr>
      <vt:lpstr>PowerPoint Presentation</vt:lpstr>
      <vt:lpstr>Scrum Roles &amp; Ways of Working</vt:lpstr>
      <vt:lpstr>Scrum framework</vt:lpstr>
      <vt:lpstr>Development Sequence in Small-Groups</vt:lpstr>
      <vt:lpstr>Road To Self Organization</vt:lpstr>
      <vt:lpstr>The Five Dysfunctions of a Team </vt:lpstr>
      <vt:lpstr>Waterfall vs. Agile Roles</vt:lpstr>
      <vt:lpstr>RACI Matrix</vt:lpstr>
      <vt:lpstr>PowerPoint Presentation</vt:lpstr>
      <vt:lpstr>PowerPoint Presentation</vt:lpstr>
      <vt:lpstr>PowerPoint Presentation</vt:lpstr>
      <vt:lpstr>How do these roles communicate?</vt:lpstr>
      <vt:lpstr>Scrum Ceremonies </vt:lpstr>
      <vt:lpstr>PowerPoint Presentation</vt:lpstr>
      <vt:lpstr>Ceremonies</vt:lpstr>
      <vt:lpstr>Scrum framework</vt:lpstr>
      <vt:lpstr>PowerPoint Presentation</vt:lpstr>
      <vt:lpstr>Sprint planning</vt:lpstr>
      <vt:lpstr>Key Meeting Parameters</vt:lpstr>
      <vt:lpstr>Everyone answers 3 questions</vt:lpstr>
      <vt:lpstr>The sprint review ( Show/Tell)</vt:lpstr>
      <vt:lpstr>Continuous Improvement..</vt:lpstr>
      <vt:lpstr>Artifacts</vt:lpstr>
      <vt:lpstr>Scrum framework</vt:lpstr>
      <vt:lpstr>The sprint goal</vt:lpstr>
      <vt:lpstr>PowerPoint Presentation</vt:lpstr>
      <vt:lpstr>PowerPoint Presentation</vt:lpstr>
      <vt:lpstr>PowerPoint Presentation</vt:lpstr>
      <vt:lpstr>Cumulative Release Burn Up Chart </vt:lpstr>
      <vt:lpstr>Estimation</vt:lpstr>
      <vt:lpstr>Estimation In Ideal Days</vt:lpstr>
      <vt:lpstr>Agile Estimation</vt:lpstr>
      <vt:lpstr>Relative Estimate</vt:lpstr>
      <vt:lpstr>Expert Opinion</vt:lpstr>
      <vt:lpstr>Analogy</vt:lpstr>
      <vt:lpstr>Estimate by analogy</vt:lpstr>
      <vt:lpstr>Triangulation</vt:lpstr>
      <vt:lpstr>Disaggregation</vt:lpstr>
      <vt:lpstr>Estimation Techniques</vt:lpstr>
      <vt:lpstr>Feature Point Estimation</vt:lpstr>
      <vt:lpstr>Dog Sizes</vt:lpstr>
      <vt:lpstr>PowerPoint Presentation</vt:lpstr>
      <vt:lpstr>PowerPoint Presentation</vt:lpstr>
      <vt:lpstr>Velocity &amp; Calculation</vt:lpstr>
      <vt:lpstr>Story points</vt:lpstr>
      <vt:lpstr>Comparing the approaches</vt:lpstr>
      <vt:lpstr>Use the right units</vt:lpstr>
      <vt:lpstr>Planning poker</vt:lpstr>
      <vt:lpstr>Planning poker—an example</vt:lpstr>
      <vt:lpstr>Release Planning</vt:lpstr>
      <vt:lpstr>Projections based on velocity</vt:lpstr>
      <vt:lpstr>Extrapolate from velocity</vt:lpstr>
      <vt:lpstr>Fixed-date planning</vt:lpstr>
      <vt:lpstr>Fixed-date planning example</vt:lpstr>
      <vt:lpstr>Three issues</vt:lpstr>
      <vt:lpstr>Establish a common baseline</vt:lpstr>
      <vt:lpstr>Be careful with cross-team comparisons</vt:lpstr>
      <vt:lpstr>Two Approaches to Sprint Planning</vt:lpstr>
      <vt:lpstr>PowerPoint Presentation</vt:lpstr>
      <vt:lpstr>Dependencies</vt:lpstr>
      <vt:lpstr>Buffer critical dependencies</vt:lpstr>
      <vt:lpstr>Rolling lookahead planning</vt:lpstr>
      <vt:lpstr>Calling it ‘Done’</vt:lpstr>
      <vt:lpstr>Definition of Done</vt:lpstr>
      <vt:lpstr>Definition of Done</vt:lpstr>
      <vt:lpstr>Column 1</vt:lpstr>
      <vt:lpstr>Column 2</vt:lpstr>
      <vt:lpstr>Column 2</vt:lpstr>
      <vt:lpstr>Column 3</vt:lpstr>
      <vt:lpstr>Column 4</vt:lpstr>
      <vt:lpstr>Column 5</vt:lpstr>
      <vt:lpstr>Testing in Agile</vt:lpstr>
      <vt:lpstr>What is Quality?</vt:lpstr>
      <vt:lpstr>Engineering Practices - TDD</vt:lpstr>
      <vt:lpstr>Agile Testing Success Factors</vt:lpstr>
      <vt:lpstr>Agile Testing Success Factors</vt:lpstr>
      <vt:lpstr>Traditional Approach - Waterfall</vt:lpstr>
      <vt:lpstr>Agile Approach</vt:lpstr>
      <vt:lpstr>Brian Marick’s Agile Testing Matrix</vt:lpstr>
      <vt:lpstr>   QA Activities</vt:lpstr>
      <vt:lpstr>What should we test?</vt:lpstr>
      <vt:lpstr>Types of Automated Tests</vt:lpstr>
      <vt:lpstr>PowerPoint Presentation</vt:lpstr>
      <vt:lpstr>Glossary of Term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hil Larkin</dc:creator>
  <cp:lastModifiedBy>Sudheer Ram</cp:lastModifiedBy>
  <cp:revision>462</cp:revision>
  <dcterms:created xsi:type="dcterms:W3CDTF">2016-08-22T11:50:37Z</dcterms:created>
  <dcterms:modified xsi:type="dcterms:W3CDTF">2016-12-01T13:35:04Z</dcterms:modified>
</cp:coreProperties>
</file>